
<file path=[Content_Types].xml><?xml version="1.0" encoding="utf-8"?>
<Types xmlns="http://schemas.openxmlformats.org/package/2006/content-types">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5.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3" r:id="rId5"/>
    <p:sldMasterId id="2147484234" r:id="rId6"/>
    <p:sldMasterId id="2147484253" r:id="rId7"/>
    <p:sldMasterId id="2147484272" r:id="rId8"/>
    <p:sldMasterId id="2147484299" r:id="rId9"/>
  </p:sldMasterIdLst>
  <p:notesMasterIdLst>
    <p:notesMasterId r:id="rId33"/>
  </p:notesMasterIdLst>
  <p:handoutMasterIdLst>
    <p:handoutMasterId r:id="rId34"/>
  </p:handoutMasterIdLst>
  <p:sldIdLst>
    <p:sldId id="1135" r:id="rId10"/>
    <p:sldId id="1151" r:id="rId11"/>
    <p:sldId id="1212" r:id="rId12"/>
    <p:sldId id="1213" r:id="rId13"/>
    <p:sldId id="1161" r:id="rId14"/>
    <p:sldId id="1162" r:id="rId15"/>
    <p:sldId id="1182" r:id="rId16"/>
    <p:sldId id="1184" r:id="rId17"/>
    <p:sldId id="1167" r:id="rId18"/>
    <p:sldId id="1185" r:id="rId19"/>
    <p:sldId id="1210" r:id="rId20"/>
    <p:sldId id="1216" r:id="rId21"/>
    <p:sldId id="1190" r:id="rId22"/>
    <p:sldId id="1198" r:id="rId23"/>
    <p:sldId id="1214" r:id="rId24"/>
    <p:sldId id="1211" r:id="rId25"/>
    <p:sldId id="1186" r:id="rId26"/>
    <p:sldId id="1201" r:id="rId27"/>
    <p:sldId id="1202" r:id="rId28"/>
    <p:sldId id="1219" r:id="rId29"/>
    <p:sldId id="1205" r:id="rId30"/>
    <p:sldId id="1220" r:id="rId31"/>
    <p:sldId id="1221" r:id="rId32"/>
  </p:sldIdLst>
  <p:sldSz cx="12436475" cy="6994525"/>
  <p:notesSz cx="6858000" cy="9144000"/>
  <p:embeddedFontLst>
    <p:embeddedFont>
      <p:font typeface="Calibri" panose="020F0502020204030204" pitchFamily="34" charset="0"/>
      <p:regular r:id="rId35"/>
      <p:bold r:id="rId36"/>
      <p:italic r:id="rId37"/>
      <p:boldItalic r:id="rId38"/>
    </p:embeddedFont>
    <p:embeddedFont>
      <p:font typeface="ＭＳ Ｐゴシック" panose="020B0600070205080204" pitchFamily="34" charset="-128"/>
      <p:regular r:id="rId39"/>
    </p:embeddedFont>
    <p:embeddedFont>
      <p:font typeface="Segoe" panose="020B0502040504020203" pitchFamily="34" charset="0"/>
      <p:regular r:id="rId40"/>
      <p:bold r:id="rId41"/>
      <p:italic r:id="rId42"/>
      <p:boldItalic r:id="rId43"/>
    </p:embeddedFont>
    <p:embeddedFont>
      <p:font typeface="Segoe UI Light" panose="020B0502040204020203" pitchFamily="34" charset="0"/>
      <p:regular r:id="rId44"/>
      <p:italic r:id="rId45"/>
    </p:embeddedFont>
    <p:embeddedFont>
      <p:font typeface="Segoe UI" panose="020B0502040204020203" pitchFamily="34" charset="0"/>
      <p:regular r:id="rId46"/>
      <p:bold r:id="rId47"/>
      <p:italic r:id="rId48"/>
      <p:boldItalic r:id="rId49"/>
    </p:embeddedFont>
    <p:embeddedFont>
      <p:font typeface="Segoe Light" panose="020B0302040504020203" pitchFamily="34" charset="0"/>
      <p:regular r:id="rId50"/>
      <p:italic r:id="rId51"/>
    </p:embeddedFont>
    <p:embeddedFont>
      <p:font typeface="Consolas" panose="020B0609020204030204" pitchFamily="49" charset="0"/>
      <p:regular r:id="rId52"/>
      <p:bold r:id="rId53"/>
      <p:italic r:id="rId54"/>
      <p:boldItalic r:id="rId55"/>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151"/>
            <p14:sldId id="1212"/>
            <p14:sldId id="1213"/>
            <p14:sldId id="1161"/>
            <p14:sldId id="1162"/>
            <p14:sldId id="1182"/>
            <p14:sldId id="1184"/>
            <p14:sldId id="1167"/>
            <p14:sldId id="1185"/>
            <p14:sldId id="1210"/>
            <p14:sldId id="1216"/>
            <p14:sldId id="1190"/>
            <p14:sldId id="1198"/>
            <p14:sldId id="1214"/>
            <p14:sldId id="1211"/>
            <p14:sldId id="1186"/>
            <p14:sldId id="1201"/>
            <p14:sldId id="1202"/>
            <p14:sldId id="1219"/>
            <p14:sldId id="1205"/>
            <p14:sldId id="1220"/>
            <p14:sldId id="1221"/>
          </p14:sldIdLst>
        </p14:section>
      </p14:sectionLst>
    </p:ext>
    <p:ext uri="{EFAFB233-063F-42B5-8137-9DF3F51BA10A}">
      <p15:sldGuideLst xmlns:p15="http://schemas.microsoft.com/office/powerpoint/2012/main">
        <p15:guide id="1" orient="horz" pos="2947" userDrawn="1">
          <p15:clr>
            <a:srgbClr val="A4A3A4"/>
          </p15:clr>
        </p15:guide>
        <p15:guide id="2" pos="389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E5FF"/>
    <a:srgbClr val="33CCCC"/>
    <a:srgbClr val="007233"/>
    <a:srgbClr val="FFFFFF"/>
    <a:srgbClr val="7FBA00"/>
    <a:srgbClr val="0072C6"/>
    <a:srgbClr val="B4009E"/>
    <a:srgbClr val="B0B186"/>
    <a:srgbClr val="FF66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84520" autoAdjust="0"/>
  </p:normalViewPr>
  <p:slideViewPr>
    <p:cSldViewPr snapToGrid="0">
      <p:cViewPr varScale="1">
        <p:scale>
          <a:sx n="111" d="100"/>
          <a:sy n="111" d="100"/>
        </p:scale>
        <p:origin x="504" y="96"/>
      </p:cViewPr>
      <p:guideLst>
        <p:guide orient="horz" pos="2947"/>
        <p:guide pos="38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5.fntdata"/><Relationship Id="rId21" Type="http://schemas.openxmlformats.org/officeDocument/2006/relationships/slide" Target="slides/slide12.xml"/><Relationship Id="rId34" Type="http://schemas.openxmlformats.org/officeDocument/2006/relationships/handoutMaster" Target="handoutMasters/handout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font" Target="fonts/font21.fntdata"/><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notesMaster" Target="notesMasters/notesMaster1.xml"/><Relationship Id="rId38" Type="http://schemas.openxmlformats.org/officeDocument/2006/relationships/font" Target="fonts/font4.fntdata"/><Relationship Id="rId46" Type="http://schemas.openxmlformats.org/officeDocument/2006/relationships/font" Target="fonts/font12.fntdata"/><Relationship Id="rId59"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font" Target="fonts/font7.fntdata"/><Relationship Id="rId54" Type="http://schemas.openxmlformats.org/officeDocument/2006/relationships/font" Target="fonts/font20.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font" Target="fonts/font19.fntdata"/><Relationship Id="rId58"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font" Target="fonts/font10.fntdata"/><Relationship Id="rId52" Type="http://schemas.openxmlformats.org/officeDocument/2006/relationships/font" Target="fonts/font18.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font" Target="fonts/font17.fntdata"/><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7/2013 11:34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7/2013 11:34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7/2013 11:34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0</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27/2013 11:35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2904106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125820CF-F27D-4205-A8B8-CA0C6FA0964C}"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41760694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204282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Ed 2013</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7/2013 11: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168571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
        <p:nvSpPr>
          <p:cNvPr id="10" name="Date Placeholder 9"/>
          <p:cNvSpPr>
            <a:spLocks noGrp="1"/>
          </p:cNvSpPr>
          <p:nvPr>
            <p:ph type="dt" idx="13"/>
          </p:nvPr>
        </p:nvSpPr>
        <p:spPr/>
        <p:txBody>
          <a:bodyPr/>
          <a:lstStyle/>
          <a:p>
            <a:fld id="{D86B6F6D-10A7-4370-A088-967AA50D8CFD}" type="datetime8">
              <a:rPr lang="en-US" smtClean="0"/>
              <a:t>6/27/2013 11:35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3286228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0</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7/2013 11:35 A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835588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7/2013 11:35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34655330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7/2013 11:35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9825300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solidFill>
                  <a:prstClr val="black"/>
                </a:solidFill>
              </a:rPr>
              <a:pPr/>
              <a:t>6/27/2013 11:35 AM</a:t>
            </a:fld>
            <a:endParaRPr lang="en-US" dirty="0">
              <a:solidFill>
                <a:prstClr val="black"/>
              </a:solidFill>
            </a:endParaRPr>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9604662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7/2013 11:34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07881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BA2963FC-9880-4ED8-88F9-4852F55792AE}"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084750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6002">
              <a:spcAft>
                <a:spcPts val="359"/>
              </a:spcAft>
            </a:pP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ystem Center Marketing</a:t>
            </a:r>
          </a:p>
        </p:txBody>
      </p:sp>
      <p:sp>
        <p:nvSpPr>
          <p:cNvPr id="5" name="Footer Placeholder 4"/>
          <p:cNvSpPr>
            <a:spLocks noGrp="1"/>
          </p:cNvSpPr>
          <p:nvPr>
            <p:ph type="ftr" sz="quarter" idx="11"/>
          </p:nvPr>
        </p:nvSpPr>
        <p:spPr/>
        <p:txBody>
          <a:bodyPr/>
          <a:lstStyle/>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66294"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224AE01-E607-472F-B330-D48EA6509D82}"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3622658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Date Placeholder 3"/>
          <p:cNvSpPr>
            <a:spLocks noGrp="1"/>
          </p:cNvSpPr>
          <p:nvPr>
            <p:ph type="dt" idx="10"/>
          </p:nvPr>
        </p:nvSpPr>
        <p:spPr/>
        <p:txBody>
          <a:bodyPr/>
          <a:lstStyle/>
          <a:p>
            <a:fld id="{49272687-C527-4AB5-B5CD-86B2F6D1CF8B}" type="datetime1">
              <a:rPr lang="en-US" smtClean="0">
                <a:solidFill>
                  <a:prstClr val="black"/>
                </a:solidFill>
              </a:rPr>
              <a:pPr/>
              <a:t>6/27/2013</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53495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Date Placeholder 3"/>
          <p:cNvSpPr>
            <a:spLocks noGrp="1"/>
          </p:cNvSpPr>
          <p:nvPr>
            <p:ph type="dt" idx="10"/>
          </p:nvPr>
        </p:nvSpPr>
        <p:spPr/>
        <p:txBody>
          <a:bodyPr/>
          <a:lstStyle/>
          <a:p>
            <a:fld id="{49272687-C527-4AB5-B5CD-86B2F6D1CF8B}" type="datetime1">
              <a:rPr lang="en-US" smtClean="0">
                <a:solidFill>
                  <a:prstClr val="black"/>
                </a:solidFill>
              </a:rPr>
              <a:pPr/>
              <a:t>6/27/2013</a:t>
            </a:fld>
            <a:endParaRPr lang="en-US">
              <a:solidFill>
                <a:prstClr val="black"/>
              </a:solidFill>
            </a:endParaRPr>
          </a:p>
        </p:txBody>
      </p:sp>
      <p:sp>
        <p:nvSpPr>
          <p:cNvPr id="5" name="Slide Number Placeholder 4"/>
          <p:cNvSpPr>
            <a:spLocks noGrp="1"/>
          </p:cNvSpPr>
          <p:nvPr>
            <p:ph type="sldNum" sz="quarter" idx="11"/>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6" name="Header Placeholder 5"/>
          <p:cNvSpPr>
            <a:spLocks noGrp="1"/>
          </p:cNvSpPr>
          <p:nvPr>
            <p:ph type="hdr" sz="quarter" idx="12"/>
          </p:nvPr>
        </p:nvSpPr>
        <p:spPr/>
        <p:txBody>
          <a:bodyPr/>
          <a:lstStyle/>
          <a:p>
            <a:r>
              <a:rPr lang="en-US" smtClean="0">
                <a:solidFill>
                  <a:prstClr val="black"/>
                </a:solidFill>
              </a:rPr>
              <a:t>Microsoft Office365</a:t>
            </a:r>
            <a:endParaRPr lang="en-US" dirty="0">
              <a:solidFill>
                <a:prstClr val="black"/>
              </a:solidFill>
            </a:endParaRPr>
          </a:p>
        </p:txBody>
      </p:sp>
      <p:sp>
        <p:nvSpPr>
          <p:cNvPr id="7" name="Footer Placeholder 6"/>
          <p:cNvSpPr>
            <a:spLocks noGrp="1"/>
          </p:cNvSpPr>
          <p:nvPr>
            <p:ph type="ftr" sz="quarter" idx="13"/>
          </p:nvPr>
        </p:nvSpPr>
        <p:spPr/>
        <p:txBody>
          <a:bodyPr/>
          <a:lstStyle/>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1775" defTabSz="914099" eaLnBrk="0" hangingPunct="0"/>
            <a:r>
              <a:rPr lang="en-US" sz="5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24869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7009847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27/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0982643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3484141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3.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3759326"/>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Blank Slide Blue">
    <p:bg>
      <p:bgPr>
        <a:solidFill>
          <a:srgbClr val="00188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852657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73060164"/>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solidFill>
                  <a:srgbClr val="FFFFFF"/>
                </a:solidFill>
                <a:latin typeface="+mj-lt"/>
              </a:defRPr>
            </a:lvl1pPr>
            <a:lvl2pPr marL="0" indent="0">
              <a:buNone/>
              <a:defRPr sz="2000" spc="-51" baseline="0">
                <a:solidFill>
                  <a:srgbClr val="FFFFFF"/>
                </a:solidFill>
              </a:defRPr>
            </a:lvl2pPr>
            <a:lvl3pPr marL="23638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060923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solidFill>
                  <a:srgbClr val="FFFFFF"/>
                </a:solidFill>
                <a:latin typeface="+mj-lt"/>
              </a:defRPr>
            </a:lvl1pPr>
            <a:lvl2pPr marL="0" indent="0">
              <a:buNone/>
              <a:defRPr sz="2000" spc="-51" baseline="0">
                <a:solidFill>
                  <a:srgbClr val="FFFFFF"/>
                </a:solidFill>
              </a:defRPr>
            </a:lvl2pPr>
            <a:lvl3pPr marL="23638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73127089"/>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3" cy="2757678"/>
          </a:xfrm>
        </p:spPr>
        <p:txBody>
          <a:bodyPr wrap="square">
            <a:spAutoFit/>
          </a:bodyPr>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2" y="1211264"/>
            <a:ext cx="5495487" cy="2812315"/>
          </a:xfrm>
        </p:spPr>
        <p:txBody>
          <a:bodyPr wrap="square">
            <a:spAutoFit/>
          </a:bodyPr>
          <a:lstStyle>
            <a:lvl1pPr marL="346487" indent="-346487">
              <a:spcBef>
                <a:spcPts val="1224"/>
              </a:spcBef>
              <a:buFont typeface="Wingdings" pitchFamily="2" charset="2"/>
              <a:buChar char=""/>
              <a:defRPr lang="en-US" sz="3999" kern="1200" spc="-71" baseline="0" dirty="0" smtClean="0">
                <a:solidFill>
                  <a:srgbClr val="FFFFFF"/>
                </a:solidFill>
                <a:latin typeface="+mj-lt"/>
                <a:ea typeface="+mn-ea"/>
                <a:cs typeface="+mn-cs"/>
              </a:defRPr>
            </a:lvl1pPr>
            <a:lvl2pPr marL="647640" indent="-349725">
              <a:defRPr lang="en-US" sz="2400" kern="1200" spc="-51" baseline="0" dirty="0" smtClean="0">
                <a:solidFill>
                  <a:srgbClr val="FFFFFF"/>
                </a:solidFill>
                <a:latin typeface="+mn-lt"/>
                <a:ea typeface="+mn-ea"/>
                <a:cs typeface="+mn-cs"/>
              </a:defRPr>
            </a:lvl2pPr>
            <a:lvl3pPr marL="880789" indent="-349725">
              <a:defRPr lang="en-US" sz="2000" kern="1200" spc="-51" baseline="0" dirty="0" smtClean="0">
                <a:solidFill>
                  <a:srgbClr val="FFFFFF"/>
                </a:solidFill>
                <a:latin typeface="+mn-lt"/>
                <a:ea typeface="+mn-ea"/>
                <a:cs typeface="+mn-cs"/>
              </a:defRPr>
            </a:lvl3pPr>
            <a:lvl4pPr marL="1049175" indent="-349725">
              <a:defRPr lang="en-US" sz="1800" kern="1200" spc="-51" baseline="0" dirty="0" smtClean="0">
                <a:solidFill>
                  <a:srgbClr val="FFFFFF"/>
                </a:solidFill>
                <a:latin typeface="+mn-lt"/>
                <a:ea typeface="+mn-ea"/>
                <a:cs typeface="+mn-cs"/>
              </a:defRPr>
            </a:lvl4pPr>
            <a:lvl5pPr marL="1230514" indent="-349725">
              <a:defRPr lang="en-US" sz="1800" kern="1200" spc="-51" baseline="0" dirty="0">
                <a:solidFill>
                  <a:srgbClr val="FFFFFF"/>
                </a:solidFill>
                <a:latin typeface="+mn-lt"/>
                <a:ea typeface="+mn-ea"/>
                <a:cs typeface="+mn-cs"/>
              </a:defRPr>
            </a:lvl5pPr>
          </a:lstStyle>
          <a:p>
            <a:pPr marL="297914" marR="0" lvl="0" indent="-297914" algn="l" defTabSz="9325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064" marR="0" lvl="1" indent="-233150"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450" marR="0" lvl="2"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789" marR="0" lvl="3" indent="-181339"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175" marR="0" lvl="4"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67311715"/>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751522"/>
          </a:xfrm>
        </p:spPr>
        <p:txBody>
          <a:bodyPr>
            <a:spAutoFit/>
          </a:bodyPr>
          <a:lstStyle>
            <a:lvl1pPr marL="0" indent="0">
              <a:spcBef>
                <a:spcPts val="1224"/>
              </a:spcBef>
              <a:buNone/>
              <a:defRPr sz="3999">
                <a:solidFill>
                  <a:srgbClr val="FFFFFF"/>
                </a:solidFill>
                <a:latin typeface="+mj-lt"/>
              </a:defRPr>
            </a:lvl1pPr>
            <a:lvl2pPr marL="0" indent="0">
              <a:buNone/>
              <a:defRPr sz="2000" spc="-51" baseline="0">
                <a:solidFill>
                  <a:srgbClr val="FFFFFF"/>
                </a:solidFill>
              </a:defRPr>
            </a:lvl2pPr>
            <a:lvl3pPr marL="23800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solidFill>
                  <a:srgbClr val="FFFFFF"/>
                </a:soli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solidFill>
                  <a:srgbClr val="FFFFFF"/>
                </a:soli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solidFill>
                  <a:srgbClr val="FFFFFF"/>
                </a:soli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52329544"/>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3999">
                <a:solidFill>
                  <a:srgbClr val="FFFFFF"/>
                </a:solidFill>
                <a:latin typeface="+mj-lt"/>
              </a:defRPr>
            </a:lvl1pPr>
            <a:lvl2pPr marL="0" indent="0">
              <a:buNone/>
              <a:defRPr sz="2000" spc="-51" baseline="0">
                <a:solidFill>
                  <a:srgbClr val="FFFFFF"/>
                </a:solidFill>
              </a:defRPr>
            </a:lvl2pPr>
            <a:lvl3pPr marL="238008" indent="0">
              <a:buNone/>
              <a:defRPr sz="2000" spc="-51" baseline="0">
                <a:solidFill>
                  <a:srgbClr val="FFFFFF"/>
                </a:solidFill>
              </a:defRPr>
            </a:lvl3pPr>
            <a:lvl4pPr marL="466300" indent="0">
              <a:buNone/>
              <a:defRPr sz="1800" spc="-51" baseline="0">
                <a:solidFill>
                  <a:srgbClr val="FFFFFF"/>
                </a:solidFill>
              </a:defRPr>
            </a:lvl4pPr>
            <a:lvl5pPr marL="707546" indent="0">
              <a:buNone/>
              <a:defRPr sz="1800" spc="-51" baseline="0">
                <a:solidFill>
                  <a:srgbClr val="FFFFFF"/>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solidFill>
                  <a:srgbClr val="FFFFFF"/>
                </a:soli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solidFill>
                  <a:srgbClr val="FFFFFF"/>
                </a:soli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solidFill>
                  <a:srgbClr val="FFFFFF"/>
                </a:soli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solidFill>
                  <a:srgbClr val="FFFFFF"/>
                </a:soli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54100018"/>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91608252"/>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1839104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2512996"/>
          </a:xfrm>
        </p:spPr>
        <p:txBody>
          <a:bodyPr>
            <a:spAutoFit/>
          </a:bodyPr>
          <a:lstStyle>
            <a:lvl1pPr marL="0" indent="0">
              <a:buNone/>
              <a:defRPr sz="3299">
                <a:solidFill>
                  <a:srgbClr val="FFFFFF"/>
                </a:solidFill>
                <a:latin typeface="Consolas" pitchFamily="49" charset="0"/>
                <a:cs typeface="Consolas" pitchFamily="49" charset="0"/>
              </a:defRPr>
            </a:lvl1pPr>
            <a:lvl2pPr marL="346487" indent="0">
              <a:buNone/>
              <a:defRPr>
                <a:solidFill>
                  <a:srgbClr val="FFFFFF"/>
                </a:solidFill>
                <a:latin typeface="Consolas" pitchFamily="49" charset="0"/>
                <a:cs typeface="Consolas" pitchFamily="49" charset="0"/>
              </a:defRPr>
            </a:lvl2pPr>
            <a:lvl3pPr marL="584494" indent="0">
              <a:buNone/>
              <a:defRPr>
                <a:solidFill>
                  <a:srgbClr val="FFFFFF"/>
                </a:solidFill>
                <a:latin typeface="Consolas" pitchFamily="49" charset="0"/>
                <a:cs typeface="Consolas" pitchFamily="49" charset="0"/>
              </a:defRPr>
            </a:lvl3pPr>
            <a:lvl4pPr marL="814406" indent="0">
              <a:buNone/>
              <a:defRPr>
                <a:solidFill>
                  <a:srgbClr val="FFFFFF"/>
                </a:solidFill>
                <a:latin typeface="Consolas" pitchFamily="49" charset="0"/>
                <a:cs typeface="Consolas" pitchFamily="49" charset="0"/>
              </a:defRPr>
            </a:lvl4pPr>
            <a:lvl5pPr marL="1050795" indent="0">
              <a:buNone/>
              <a:defRPr>
                <a:solidFill>
                  <a:srgbClr val="FFFFFF"/>
                </a:soli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386482"/>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4"/>
            <a:ext cx="11375536"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025937004"/>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189572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88558077"/>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386709863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661066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456121"/>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649454"/>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218138443"/>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953030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4411150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16133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0764095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4694741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7857935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47403421"/>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1508748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088060991"/>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70184703"/>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176063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1470553"/>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283523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400518"/>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816549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19094714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880284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0022809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03516686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9288140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00177178"/>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664506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866554767"/>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05119008"/>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8226358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7383980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1195203"/>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603498544"/>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6850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1428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2614457584"/>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4123323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5121"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5121"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2157157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666715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638" y="3040064"/>
            <a:ext cx="11378776" cy="1195712"/>
          </a:xfrm>
        </p:spPr>
        <p:txBody>
          <a:bodyPr anchor="b" anchorCtr="0"/>
          <a:lstStyle>
            <a:lvl1pPr>
              <a:defRPr sz="7198" spc="-153" baseline="0">
                <a:gradFill>
                  <a:gsLst>
                    <a:gs pos="25833">
                      <a:schemeClr val="tx1"/>
                    </a:gs>
                    <a:gs pos="36000">
                      <a:schemeClr val="tx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8" y="4868863"/>
            <a:ext cx="11378776" cy="738664"/>
          </a:xfrm>
        </p:spPr>
        <p:txBody>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3317928164"/>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Slide_Option 3">
    <p:spTree>
      <p:nvGrpSpPr>
        <p:cNvPr id="1" name=""/>
        <p:cNvGrpSpPr/>
        <p:nvPr/>
      </p:nvGrpSpPr>
      <p:grpSpPr>
        <a:xfrm>
          <a:off x="0" y="0"/>
          <a:ext cx="0" cy="0"/>
          <a:chOff x="0" y="0"/>
          <a:chExt cx="0" cy="0"/>
        </a:xfrm>
      </p:grpSpPr>
      <p:sp>
        <p:nvSpPr>
          <p:cNvPr id="2" name="Title 1"/>
          <p:cNvSpPr>
            <a:spLocks noGrp="1"/>
          </p:cNvSpPr>
          <p:nvPr>
            <p:ph type="title"/>
          </p:nvPr>
        </p:nvSpPr>
        <p:spPr>
          <a:xfrm>
            <a:off x="274638" y="3040599"/>
            <a:ext cx="11378776" cy="1195712"/>
          </a:xfrm>
        </p:spPr>
        <p:txBody>
          <a:bodyPr anchor="b" anchorCtr="0"/>
          <a:lstStyle>
            <a:lvl1pPr>
              <a:defRPr sz="7198" spc="-153" baseline="0">
                <a:gradFill>
                  <a:gsLst>
                    <a:gs pos="1250">
                      <a:schemeClr val="accent1"/>
                    </a:gs>
                    <a:gs pos="100000">
                      <a:schemeClr val="accent1"/>
                    </a:gs>
                  </a:gsLst>
                  <a:lin ang="5400000" scaled="0"/>
                </a:gradFill>
              </a:defRPr>
            </a:lvl1pPr>
          </a:lstStyle>
          <a:p>
            <a:r>
              <a:rPr lang="en-US" smtClean="0"/>
              <a:t>Click to edit Master title style</a:t>
            </a:r>
            <a:endParaRPr lang="en-US" dirty="0"/>
          </a:p>
        </p:txBody>
      </p:sp>
      <p:sp>
        <p:nvSpPr>
          <p:cNvPr id="5" name="Text Placeholder 4"/>
          <p:cNvSpPr>
            <a:spLocks noGrp="1"/>
          </p:cNvSpPr>
          <p:nvPr>
            <p:ph type="body" sz="quarter" idx="12"/>
          </p:nvPr>
        </p:nvSpPr>
        <p:spPr>
          <a:xfrm>
            <a:off x="274637" y="4868863"/>
            <a:ext cx="11378776" cy="738664"/>
          </a:xfrm>
        </p:spPr>
        <p:txBody>
          <a:bodyPr/>
          <a:lstStyle>
            <a:lvl1pPr marL="0" indent="0">
              <a:spcBef>
                <a:spcPts val="0"/>
              </a:spcBef>
              <a:buNone/>
              <a:defRPr sz="3199" spc="-71" baseline="0">
                <a:gradFill>
                  <a:gsLst>
                    <a:gs pos="1250">
                      <a:schemeClr val="accent1"/>
                    </a:gs>
                    <a:gs pos="100000">
                      <a:schemeClr val="accent1"/>
                    </a:gs>
                  </a:gsLst>
                  <a:lin ang="5400000" scaled="0"/>
                </a:gradFill>
                <a:latin typeface="+mj-lt"/>
              </a:defRPr>
            </a:lvl1pPr>
          </a:lstStyle>
          <a:p>
            <a:pPr lvl="0"/>
            <a:r>
              <a:rPr lang="en-US" smtClean="0"/>
              <a:t>Click to edit Master text styles</a:t>
            </a:r>
          </a:p>
        </p:txBody>
      </p:sp>
    </p:spTree>
    <p:extLst>
      <p:ext uri="{BB962C8B-B14F-4D97-AF65-F5344CB8AC3E}">
        <p14:creationId xmlns:p14="http://schemas.microsoft.com/office/powerpoint/2010/main" val="1294141537"/>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3"/>
            <a:ext cx="11375536" cy="932563"/>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11264"/>
            <a:ext cx="11375536" cy="2237536"/>
          </a:xfrm>
          <a:prstGeom prst="rect">
            <a:avLst/>
          </a:prstGeom>
        </p:spPr>
        <p:txBody>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71025697"/>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1264"/>
            <a:ext cx="11375536" cy="2135969"/>
          </a:xfrm>
          <a:prstGeom prst="rect">
            <a:avLst/>
          </a:prstGeom>
        </p:spPr>
        <p:txBody>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12419237"/>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74638" y="1211264"/>
            <a:ext cx="11375536" cy="2135969"/>
          </a:xfrm>
          <a:prstGeom prst="rect">
            <a:avLst/>
          </a:prstGeom>
        </p:spPr>
        <p:txBody>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dirty="0"/>
          </a:p>
        </p:txBody>
      </p:sp>
      <p:sp>
        <p:nvSpPr>
          <p:cNvPr id="4" name="Slide Number Placeholder 2"/>
          <p:cNvSpPr>
            <a:spLocks noGrp="1"/>
          </p:cNvSpPr>
          <p:nvPr>
            <p:ph type="sldNum" sz="quarter" idx="11"/>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33233851"/>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1264"/>
            <a:ext cx="5477313" cy="2757678"/>
          </a:xfrm>
        </p:spPr>
        <p:txBody>
          <a:bodyPr wrap="square"/>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5751952" y="1211264"/>
            <a:ext cx="5495487" cy="2757678"/>
          </a:xfrm>
        </p:spPr>
        <p:txBody>
          <a:bodyPr wrap="square"/>
          <a:lstStyle>
            <a:lvl1pPr marL="346487" indent="-346487">
              <a:spcBef>
                <a:spcPts val="1224"/>
              </a:spcBef>
              <a:buFont typeface="Wingdings" pitchFamily="2" charset="2"/>
              <a:buChar char=""/>
              <a:defRPr lang="en-US" sz="3999" kern="1200" spc="-71" baseline="0" dirty="0" smtClean="0">
                <a:gradFill>
                  <a:gsLst>
                    <a:gs pos="1250">
                      <a:schemeClr val="tx1"/>
                    </a:gs>
                    <a:gs pos="100000">
                      <a:schemeClr val="tx1"/>
                    </a:gs>
                  </a:gsLst>
                  <a:lin ang="5400000" scaled="0"/>
                </a:gradFill>
                <a:latin typeface="+mj-lt"/>
                <a:ea typeface="+mn-ea"/>
                <a:cs typeface="+mn-cs"/>
              </a:defRPr>
            </a:lvl1pPr>
            <a:lvl2pPr marL="647640" indent="-349725">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789" indent="-349725">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175" indent="-349725">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514" indent="-349725">
              <a:defRPr lang="en-US" sz="1800" kern="1200" spc="-51"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2"/>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63815828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74638" y="1211264"/>
            <a:ext cx="5486400" cy="2751522"/>
          </a:xfrm>
        </p:spPr>
        <p:txBody>
          <a:bodyPr/>
          <a:lstStyle>
            <a:lvl1pPr marL="0" indent="0">
              <a:spcBef>
                <a:spcPts val="1224"/>
              </a:spcBef>
              <a:buNone/>
              <a:defRPr sz="3999">
                <a:gradFill>
                  <a:gsLst>
                    <a:gs pos="100000">
                      <a:schemeClr val="tx2"/>
                    </a:gs>
                    <a:gs pos="0">
                      <a:schemeClr val="tx2"/>
                    </a:gs>
                  </a:gsLst>
                  <a:lin ang="5400000" scaled="0"/>
                </a:gradFill>
                <a:latin typeface="+mj-lt"/>
              </a:defRPr>
            </a:lvl1pPr>
            <a:lvl2pPr marL="0" indent="0">
              <a:buNone/>
              <a:defRPr sz="2000" spc="-51" baseline="0"/>
            </a:lvl2pPr>
            <a:lvl3pPr marL="238008" indent="0">
              <a:buNone/>
              <a:defRPr sz="2000" spc="-51" baseline="0"/>
            </a:lvl3pPr>
            <a:lvl4pPr marL="466300" indent="0">
              <a:buNone/>
              <a:defRPr sz="1800" spc="-51" baseline="0"/>
            </a:lvl4pPr>
            <a:lvl5pPr marL="707546" indent="0">
              <a:buNone/>
              <a:defRPr sz="1800" spc="-51" baseline="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5761038" y="1211264"/>
            <a:ext cx="5504574" cy="2757678"/>
          </a:xfrm>
        </p:spPr>
        <p:txBody>
          <a:bodyPr/>
          <a:lstStyle>
            <a:lvl1pPr marL="0" indent="0">
              <a:spcBef>
                <a:spcPts val="1224"/>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3"/>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8059718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8" y="292082"/>
            <a:ext cx="11375536" cy="946413"/>
          </a:xfrm>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274638" y="1211263"/>
            <a:ext cx="5486400" cy="2689967"/>
          </a:xfrm>
        </p:spPr>
        <p:txBody>
          <a:bodyPr/>
          <a:lstStyle>
            <a:lvl1pPr marL="0" indent="0">
              <a:spcBef>
                <a:spcPts val="1224"/>
              </a:spcBef>
              <a:buNone/>
              <a:defRPr sz="3999">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08" indent="0">
              <a:buNone/>
              <a:defRPr sz="2000" spc="-51" baseline="0">
                <a:gradFill>
                  <a:gsLst>
                    <a:gs pos="1000">
                      <a:schemeClr val="tx1"/>
                    </a:gs>
                    <a:gs pos="98000">
                      <a:schemeClr val="tx1"/>
                    </a:gs>
                  </a:gsLst>
                  <a:lin ang="5400000" scaled="0"/>
                </a:gradFill>
              </a:defRPr>
            </a:lvl3pPr>
            <a:lvl4pPr marL="466300" indent="0">
              <a:buNone/>
              <a:defRPr sz="1800" spc="-51" baseline="0">
                <a:gradFill>
                  <a:gsLst>
                    <a:gs pos="1000">
                      <a:schemeClr val="tx1"/>
                    </a:gs>
                    <a:gs pos="98000">
                      <a:schemeClr val="tx1"/>
                    </a:gs>
                  </a:gsLst>
                  <a:lin ang="5400000" scaled="0"/>
                </a:gradFill>
              </a:defRPr>
            </a:lvl4pPr>
            <a:lvl5pPr marL="707546" indent="0">
              <a:buNone/>
              <a:defRPr sz="1800" spc="-51" baseline="0">
                <a:gradFill>
                  <a:gsLst>
                    <a:gs pos="1000">
                      <a:schemeClr val="tx1"/>
                    </a:gs>
                    <a:gs pos="98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5761038" y="1211263"/>
            <a:ext cx="5504574" cy="2689967"/>
          </a:xfrm>
        </p:spPr>
        <p:txBody>
          <a:bodyPr/>
          <a:lstStyle>
            <a:lvl1pPr marL="0" indent="0">
              <a:spcBef>
                <a:spcPts val="1224"/>
              </a:spcBef>
              <a:buNone/>
              <a:defRPr lang="en-US" sz="3999"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2"/>
          <p:cNvSpPr>
            <a:spLocks noGrp="1"/>
          </p:cNvSpPr>
          <p:nvPr>
            <p:ph type="sldNum" sz="quarter" idx="13"/>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8888919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59573125"/>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a:lvl1pPr>
          </a:lstStyle>
          <a:p>
            <a:fld id="{132ECEE4-5074-4A3A-9739-09F4720A6B1D}" type="slidenum">
              <a:rPr smtClean="0">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87612884"/>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274638" y="1211264"/>
            <a:ext cx="11378776" cy="2512996"/>
          </a:xfrm>
        </p:spPr>
        <p:txBody>
          <a:bodyPr/>
          <a:lstStyle>
            <a:lvl1pPr marL="0" indent="0">
              <a:buNone/>
              <a:defRPr sz="3299">
                <a:gradFill>
                  <a:gsLst>
                    <a:gs pos="1250">
                      <a:schemeClr val="tx1"/>
                    </a:gs>
                    <a:gs pos="100000">
                      <a:schemeClr val="tx1"/>
                    </a:gs>
                  </a:gsLst>
                  <a:lin ang="5400000" scaled="0"/>
                </a:gradFill>
                <a:latin typeface="Consolas" pitchFamily="49" charset="0"/>
                <a:cs typeface="Consolas" pitchFamily="49" charset="0"/>
              </a:defRPr>
            </a:lvl1pPr>
            <a:lvl2pPr marL="346487" indent="0">
              <a:buNone/>
              <a:defRPr>
                <a:gradFill>
                  <a:gsLst>
                    <a:gs pos="1250">
                      <a:schemeClr val="tx1"/>
                    </a:gs>
                    <a:gs pos="100000">
                      <a:schemeClr val="tx1"/>
                    </a:gs>
                  </a:gsLst>
                  <a:lin ang="5400000" scaled="0"/>
                </a:gradFill>
                <a:latin typeface="Consolas" pitchFamily="49" charset="0"/>
                <a:cs typeface="Consolas" pitchFamily="49" charset="0"/>
              </a:defRPr>
            </a:lvl2pPr>
            <a:lvl3pPr marL="584494" indent="0">
              <a:buNone/>
              <a:defRPr>
                <a:gradFill>
                  <a:gsLst>
                    <a:gs pos="1250">
                      <a:schemeClr val="tx1"/>
                    </a:gs>
                    <a:gs pos="100000">
                      <a:schemeClr val="tx1"/>
                    </a:gs>
                  </a:gsLst>
                  <a:lin ang="5400000" scaled="0"/>
                </a:gradFill>
                <a:latin typeface="Consolas" pitchFamily="49" charset="0"/>
                <a:cs typeface="Consolas" pitchFamily="49" charset="0"/>
              </a:defRPr>
            </a:lvl3pPr>
            <a:lvl4pPr marL="814406" indent="0">
              <a:buNone/>
              <a:defRPr>
                <a:gradFill>
                  <a:gsLst>
                    <a:gs pos="1250">
                      <a:schemeClr val="tx1"/>
                    </a:gs>
                    <a:gs pos="100000">
                      <a:schemeClr val="tx1"/>
                    </a:gs>
                  </a:gsLst>
                  <a:lin ang="5400000" scaled="0"/>
                </a:gradFill>
                <a:latin typeface="Consolas" pitchFamily="49" charset="0"/>
                <a:cs typeface="Consolas" pitchFamily="49" charset="0"/>
              </a:defRPr>
            </a:lvl4pPr>
            <a:lvl5pPr marL="10507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259508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274638" y="1211264"/>
            <a:ext cx="11375536" cy="2554545"/>
          </a:xfrm>
          <a:prstGeom prst="rect">
            <a:avLst/>
          </a:prstGeom>
        </p:spPr>
        <p:txBody>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3978084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94031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738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28621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lIns="182880" tIns="45720" rIns="182880" bIns="45720">
            <a:noAutofit/>
          </a:bodyPr>
          <a:lstStyle>
            <a:lvl1pPr>
              <a:defRPr lang="en-US" dirty="0"/>
            </a:lvl1pPr>
          </a:lstStyle>
          <a:p>
            <a:pPr lvl="0"/>
            <a:r>
              <a:rPr lang="en-US" smtClean="0"/>
              <a:t>Click to edit Master title style</a:t>
            </a:r>
            <a:endParaRPr lang="en-US" dirty="0"/>
          </a:p>
        </p:txBody>
      </p:sp>
    </p:spTree>
    <p:extLst>
      <p:ext uri="{BB962C8B-B14F-4D97-AF65-F5344CB8AC3E}">
        <p14:creationId xmlns:p14="http://schemas.microsoft.com/office/powerpoint/2010/main" val="3333392721"/>
      </p:ext>
    </p:extLst>
  </p:cSld>
  <p:clrMapOvr>
    <a:masterClrMapping/>
  </p:clrMapOvr>
  <p:transition spd="med">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23183" y="1803681"/>
            <a:ext cx="11456577" cy="2786941"/>
          </a:xfrm>
        </p:spPr>
        <p:txBody>
          <a:bodyPr/>
          <a:lstStyle>
            <a:lvl1pPr marL="0" indent="0">
              <a:buNone/>
              <a:defRPr lang="en-US" sz="8973"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
        <p:nvSpPr>
          <p:cNvPr id="4" name="Text Placeholder 8"/>
          <p:cNvSpPr>
            <a:spLocks noGrp="1"/>
          </p:cNvSpPr>
          <p:nvPr>
            <p:ph type="body" sz="quarter" idx="11"/>
          </p:nvPr>
        </p:nvSpPr>
        <p:spPr>
          <a:xfrm>
            <a:off x="523181" y="3283252"/>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5371388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9363554"/>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268652284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2531656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4983398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6491180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35774584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189207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4361363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3301325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05551916"/>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20888597"/>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1055175"/>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84533568"/>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3575511"/>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4694522"/>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279122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9287111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5367265"/>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5244885"/>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9217548"/>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600433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11813545"/>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5252012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4317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heme" Target="../theme/theme3.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theme" Target="../theme/theme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theme" Target="../theme/theme5.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209" r:id="rId23"/>
    <p:sldLayoutId id="2147484210" r:id="rId24"/>
    <p:sldLayoutId id="2147484298"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444998484"/>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017013659"/>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2100"/>
            <a:ext cx="11376025" cy="946150"/>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464" y="1211263"/>
            <a:ext cx="11379200" cy="2609850"/>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663" y="6572251"/>
            <a:ext cx="511175" cy="125413"/>
          </a:xfrm>
          <a:prstGeom prst="rect">
            <a:avLst/>
          </a:prstGeom>
          <a:noFill/>
        </p:spPr>
        <p:txBody>
          <a:bodyPr wrap="square" lIns="0" tIns="0" rIns="182880" bIns="0" rtlCol="0" anchor="b" anchorCtr="0">
            <a:spAutoFit/>
          </a:bodyPr>
          <a:lstStyle>
            <a:lvl1pPr algn="r" defTabSz="932563" eaLnBrk="1" fontAlgn="auto" hangingPunct="1">
              <a:lnSpc>
                <a:spcPct val="90000"/>
              </a:lnSpc>
              <a:spcBef>
                <a:spcPts val="0"/>
              </a:spcBef>
              <a:spcAft>
                <a:spcPts val="0"/>
              </a:spcAft>
              <a:defRPr lang="en-US" sz="900" spc="-20" baseline="0" smtClean="0">
                <a:gradFill>
                  <a:gsLst>
                    <a:gs pos="0">
                      <a:schemeClr val="tx1"/>
                    </a:gs>
                    <a:gs pos="100000">
                      <a:schemeClr val="tx1"/>
                    </a:gs>
                  </a:gsLst>
                  <a:lin ang="5400000" scaled="0"/>
                </a:gradFill>
                <a:latin typeface="+mn-lt"/>
              </a:defRPr>
            </a:lvl1pPr>
          </a:lstStyle>
          <a:p>
            <a:fld id="{132ECEE4-5074-4A3A-9739-09F4720A6B1D}" type="slidenum">
              <a:rPr>
                <a:gradFill>
                  <a:gsLst>
                    <a:gs pos="0">
                      <a:srgbClr val="505050"/>
                    </a:gs>
                    <a:gs pos="100000">
                      <a:srgbClr val="505050"/>
                    </a:gs>
                  </a:gsLst>
                  <a:lin ang="5400000" scaled="0"/>
                </a:gradFill>
              </a:rPr>
              <a:pPr/>
              <a:t>‹#›</a:t>
            </a:fld>
            <a:endParaRPr>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61321294"/>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 id="2147484259" r:id="rId6"/>
    <p:sldLayoutId id="2147484260" r:id="rId7"/>
    <p:sldLayoutId id="2147484261" r:id="rId8"/>
    <p:sldLayoutId id="2147484262" r:id="rId9"/>
    <p:sldLayoutId id="2147484263" r:id="rId10"/>
    <p:sldLayoutId id="2147484264" r:id="rId11"/>
    <p:sldLayoutId id="2147484265" r:id="rId12"/>
    <p:sldLayoutId id="2147484266" r:id="rId13"/>
    <p:sldLayoutId id="2147484267" r:id="rId14"/>
    <p:sldLayoutId id="2147484268" r:id="rId15"/>
    <p:sldLayoutId id="2147484269" r:id="rId16"/>
    <p:sldLayoutId id="2147484270" r:id="rId17"/>
    <p:sldLayoutId id="2147484271" r:id="rId18"/>
  </p:sldLayoutIdLst>
  <p:transition>
    <p:fade/>
  </p:transition>
  <p:timing>
    <p:tnLst>
      <p:par>
        <p:cTn id="1" dur="indefinite" restart="never" nodeType="tmRoot"/>
      </p:par>
    </p:tnLst>
  </p:timing>
  <p:txStyles>
    <p:titleStyle>
      <a:lvl1pPr algn="l" defTabSz="931684" rtl="0" eaLnBrk="1" fontAlgn="base" hangingPunct="1">
        <a:lnSpc>
          <a:spcPct val="90000"/>
        </a:lnSpc>
        <a:spcBef>
          <a:spcPct val="0"/>
        </a:spcBef>
        <a:spcAft>
          <a:spcPct val="0"/>
        </a:spcAft>
        <a:defRPr lang="en-US" sz="5399" kern="1200" spc="-102" dirty="0">
          <a:ln w="3175">
            <a:noFill/>
          </a:ln>
          <a:gradFill>
            <a:gsLst>
              <a:gs pos="1250">
                <a:schemeClr val="tx2"/>
              </a:gs>
              <a:gs pos="100000">
                <a:schemeClr val="tx2"/>
              </a:gs>
            </a:gsLst>
            <a:lin ang="5400000" scaled="0"/>
          </a:gradFill>
          <a:latin typeface="+mj-lt"/>
          <a:ea typeface="+mn-ea"/>
          <a:cs typeface="Arial" charset="0"/>
        </a:defRPr>
      </a:lvl1pPr>
      <a:lvl2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2pPr>
      <a:lvl3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3pPr>
      <a:lvl4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4pPr>
      <a:lvl5pPr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5pPr>
      <a:lvl6pPr marL="457112"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6pPr>
      <a:lvl7pPr marL="914224"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7pPr>
      <a:lvl8pPr marL="1371336"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8pPr>
      <a:lvl9pPr marL="1828449" algn="l" defTabSz="931684" rtl="0" eaLnBrk="1" fontAlgn="base" hangingPunct="1">
        <a:lnSpc>
          <a:spcPct val="90000"/>
        </a:lnSpc>
        <a:spcBef>
          <a:spcPct val="0"/>
        </a:spcBef>
        <a:spcAft>
          <a:spcPct val="0"/>
        </a:spcAft>
        <a:defRPr sz="5399">
          <a:solidFill>
            <a:schemeClr val="tx1"/>
          </a:solidFill>
          <a:latin typeface="Segoe UI Light" panose="020B0502040204020203" pitchFamily="34" charset="0"/>
          <a:cs typeface="Arial" panose="020B0604020202020204" pitchFamily="34" charset="0"/>
        </a:defRPr>
      </a:lvl9pPr>
    </p:titleStyle>
    <p:bodyStyle>
      <a:lvl1pPr marL="346008" indent="-346008" algn="l" defTabSz="931684" rtl="0" eaLnBrk="1" fontAlgn="base" hangingPunct="1">
        <a:lnSpc>
          <a:spcPct val="90000"/>
        </a:lnSpc>
        <a:spcBef>
          <a:spcPct val="20000"/>
        </a:spcBef>
        <a:spcAft>
          <a:spcPct val="0"/>
        </a:spcAft>
        <a:buSzPct val="90000"/>
        <a:buFont typeface="Arial" panose="020B0604020202020204" pitchFamily="34" charset="0"/>
        <a:buChar char="•"/>
        <a:defRPr sz="3999" kern="1200" spc="-71">
          <a:gradFill>
            <a:gsLst>
              <a:gs pos="1250">
                <a:schemeClr val="tx1"/>
              </a:gs>
              <a:gs pos="100000">
                <a:schemeClr val="tx1"/>
              </a:gs>
            </a:gsLst>
            <a:lin ang="5400000" scaled="0"/>
          </a:gradFill>
          <a:latin typeface="+mj-lt"/>
          <a:ea typeface="+mn-ea"/>
          <a:cs typeface="+mn-cs"/>
        </a:defRPr>
      </a:lvl1pPr>
      <a:lvl2pPr marL="584088" indent="-236492" algn="l" defTabSz="931684" rtl="0" eaLnBrk="1" fontAlgn="base" hangingPunct="1">
        <a:lnSpc>
          <a:spcPct val="90000"/>
        </a:lnSpc>
        <a:spcBef>
          <a:spcPct val="20000"/>
        </a:spcBef>
        <a:spcAft>
          <a:spcPct val="0"/>
        </a:spcAft>
        <a:buSzPct val="90000"/>
        <a:buFont typeface="Wingdings" panose="05000000000000000000" pitchFamily="2" charset="2"/>
        <a:buChar char=""/>
        <a:defRPr sz="2800" kern="1200">
          <a:gradFill>
            <a:gsLst>
              <a:gs pos="1250">
                <a:schemeClr val="tx1"/>
              </a:gs>
              <a:gs pos="100000">
                <a:schemeClr val="tx1"/>
              </a:gs>
            </a:gsLst>
            <a:lin ang="5400000" scaled="0"/>
          </a:gradFill>
          <a:latin typeface="+mn-lt"/>
          <a:ea typeface="+mn-ea"/>
          <a:cs typeface="+mn-cs"/>
        </a:defRPr>
      </a:lvl2pPr>
      <a:lvl3pPr marL="814232" indent="-228557" algn="l" defTabSz="931684" rtl="0" eaLnBrk="1" fontAlgn="base" hangingPunct="1">
        <a:lnSpc>
          <a:spcPct val="90000"/>
        </a:lnSpc>
        <a:spcBef>
          <a:spcPct val="20000"/>
        </a:spcBef>
        <a:spcAft>
          <a:spcPct val="0"/>
        </a:spcAft>
        <a:buSzPct val="90000"/>
        <a:buFont typeface="Wingdings" panose="05000000000000000000" pitchFamily="2" charset="2"/>
        <a:buChar char=""/>
        <a:tabLst>
          <a:tab pos="814232" algn="l"/>
        </a:tabLst>
        <a:defRPr sz="2800" kern="1200">
          <a:gradFill>
            <a:gsLst>
              <a:gs pos="1250">
                <a:schemeClr val="tx1"/>
              </a:gs>
              <a:gs pos="100000">
                <a:schemeClr val="tx1"/>
              </a:gs>
            </a:gsLst>
            <a:lin ang="5400000" scaled="0"/>
          </a:gradFill>
          <a:latin typeface="+mn-lt"/>
          <a:ea typeface="+mn-ea"/>
          <a:cs typeface="+mn-cs"/>
        </a:defRPr>
      </a:lvl3pPr>
      <a:lvl4pPr marL="1050723" indent="-234904" algn="l" defTabSz="931684" rtl="0" eaLnBrk="1" fontAlgn="base" hangingPunct="1">
        <a:lnSpc>
          <a:spcPct val="90000"/>
        </a:lnSpc>
        <a:spcBef>
          <a:spcPct val="20000"/>
        </a:spcBef>
        <a:spcAft>
          <a:spcPct val="0"/>
        </a:spcAft>
        <a:buSzPct val="90000"/>
        <a:buFont typeface="Wingdings" panose="05000000000000000000" pitchFamily="2" charset="2"/>
        <a:buChar char=""/>
        <a:defRPr sz="2400" kern="1200">
          <a:gradFill>
            <a:gsLst>
              <a:gs pos="1250">
                <a:schemeClr val="tx1"/>
              </a:gs>
              <a:gs pos="100000">
                <a:schemeClr val="tx1"/>
              </a:gs>
            </a:gsLst>
            <a:lin ang="5400000" scaled="0"/>
          </a:gradFill>
          <a:latin typeface="+mn-lt"/>
          <a:ea typeface="+mn-ea"/>
          <a:cs typeface="+mn-cs"/>
        </a:defRPr>
      </a:lvl4pPr>
      <a:lvl5pPr marL="1279279" indent="-228557" algn="l" defTabSz="931684" rtl="0" eaLnBrk="1" fontAlgn="base" hangingPunct="1">
        <a:lnSpc>
          <a:spcPct val="90000"/>
        </a:lnSpc>
        <a:spcBef>
          <a:spcPct val="20000"/>
        </a:spcBef>
        <a:spcAft>
          <a:spcPct val="0"/>
        </a:spcAft>
        <a:buSzPct val="90000"/>
        <a:buFont typeface="Wingdings" panose="05000000000000000000" pitchFamily="2" charset="2"/>
        <a:buChar char=""/>
        <a:tabLst>
          <a:tab pos="1279279" algn="l"/>
        </a:tabLst>
        <a:defRPr sz="2400" kern="120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6570121"/>
      </p:ext>
    </p:extLst>
  </p:cSld>
  <p:clrMap bg1="dk1" tx1="lt1" bg2="dk2" tx2="lt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 id="2147484280" r:id="rId8"/>
    <p:sldLayoutId id="2147484281" r:id="rId9"/>
    <p:sldLayoutId id="2147484282" r:id="rId10"/>
    <p:sldLayoutId id="2147484283" r:id="rId11"/>
    <p:sldLayoutId id="2147484284" r:id="rId12"/>
    <p:sldLayoutId id="2147484285" r:id="rId13"/>
    <p:sldLayoutId id="2147484286" r:id="rId14"/>
    <p:sldLayoutId id="2147484287" r:id="rId15"/>
    <p:sldLayoutId id="2147484288" r:id="rId16"/>
    <p:sldLayoutId id="2147484289" r:id="rId17"/>
    <p:sldLayoutId id="2147484290" r:id="rId18"/>
    <p:sldLayoutId id="2147484291" r:id="rId19"/>
    <p:sldLayoutId id="2147484292" r:id="rId20"/>
    <p:sldLayoutId id="2147484293" r:id="rId21"/>
    <p:sldLayoutId id="2147484294" r:id="rId22"/>
    <p:sldLayoutId id="2147484295" r:id="rId23"/>
    <p:sldLayoutId id="2147484296" r:id="rId24"/>
    <p:sldLayoutId id="2147484297" r:id="rId2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442359"/>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0531"/>
            <a:ext cx="511664" cy="127131"/>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932563">
              <a:lnSpc>
                <a:spcPct val="90000"/>
              </a:lnSpc>
            </a:pPr>
            <a:fld id="{1BC86A1F-E589-44B2-A543-2EC98F5547A7}" type="slidenum">
              <a:rPr lang="en-US" smtClean="0">
                <a:gradFill>
                  <a:gsLst>
                    <a:gs pos="0">
                      <a:srgbClr val="505050"/>
                    </a:gs>
                    <a:gs pos="100000">
                      <a:srgbClr val="505050"/>
                    </a:gs>
                  </a:gsLst>
                  <a:lin ang="5400000" scaled="0"/>
                </a:gradFill>
              </a:rPr>
              <a:pPr defTabSz="93256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808972178"/>
      </p:ext>
    </p:extLst>
  </p:cSld>
  <p:clrMap bg1="lt1" tx1="dk1" bg2="lt2" tx2="dk2" accent1="accent1" accent2="accent2" accent3="accent3" accent4="accent4" accent5="accent5" accent6="accent6" hlink="hlink" folHlink="folHlink"/>
  <p:sldLayoutIdLst>
    <p:sldLayoutId id="2147484300" r:id="rId1"/>
    <p:sldLayoutId id="2147484301" r:id="rId2"/>
    <p:sldLayoutId id="2147484302" r:id="rId3"/>
    <p:sldLayoutId id="2147484303" r:id="rId4"/>
    <p:sldLayoutId id="2147484304" r:id="rId5"/>
    <p:sldLayoutId id="2147484305" r:id="rId6"/>
    <p:sldLayoutId id="2147484306" r:id="rId7"/>
    <p:sldLayoutId id="2147484307" r:id="rId8"/>
    <p:sldLayoutId id="2147484308" r:id="rId9"/>
    <p:sldLayoutId id="2147484309" r:id="rId10"/>
    <p:sldLayoutId id="2147484310" r:id="rId11"/>
    <p:sldLayoutId id="2147484311" r:id="rId12"/>
    <p:sldLayoutId id="2147484312" r:id="rId13"/>
  </p:sldLayoutIdLst>
  <p:transition>
    <p:fade/>
  </p:transition>
  <p:timing>
    <p:tnLst>
      <p:par>
        <p:cTn id="1" dur="indefinite" restart="never" nodeType="tmRoot"/>
      </p:par>
    </p:tnLst>
  </p:timing>
  <p:hf hdr="0" dt="0"/>
  <p:txStyles>
    <p:titleStyle>
      <a:lvl1pPr algn="l" defTabSz="932563" rtl="0" eaLnBrk="1" latinLnBrk="0" hangingPunct="1">
        <a:lnSpc>
          <a:spcPct val="90000"/>
        </a:lnSpc>
        <a:spcBef>
          <a:spcPct val="0"/>
        </a:spcBef>
        <a:buNone/>
        <a:defRPr lang="en-US" sz="5399" b="0" kern="1200" cap="none" spc="-102" baseline="0" dirty="0" smtClean="0">
          <a:ln w="3175">
            <a:noFill/>
          </a:ln>
          <a:solidFill>
            <a:srgbClr val="FFFFFF"/>
          </a:soli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solidFill>
            <a:srgbClr val="FFFFFF"/>
          </a:soli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solidFill>
            <a:srgbClr val="FFFFFF"/>
          </a:soli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solidFill>
            <a:srgbClr val="FFFFFF"/>
          </a:soli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solidFill>
            <a:srgbClr val="FFFFFF"/>
          </a:soli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solidFill>
            <a:srgbClr val="FFFFFF"/>
          </a:soli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18.png"/><Relationship Id="rId2" Type="http://schemas.openxmlformats.org/officeDocument/2006/relationships/image" Target="../media/image21.png"/><Relationship Id="rId1" Type="http://schemas.openxmlformats.org/officeDocument/2006/relationships/slideLayout" Target="../slideLayouts/slideLayout16.xml"/><Relationship Id="rId6" Type="http://schemas.microsoft.com/office/2007/relationships/hdphoto" Target="NUL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3.wdp"/><Relationship Id="rId3" Type="http://schemas.openxmlformats.org/officeDocument/2006/relationships/notesSlide" Target="../notesSlides/notesSlide11.xml"/><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10.png"/><Relationship Id="rId10" Type="http://schemas.openxmlformats.org/officeDocument/2006/relationships/image" Target="../media/image30.png"/><Relationship Id="rId4" Type="http://schemas.openxmlformats.org/officeDocument/2006/relationships/image" Target="../media/image25.emf"/><Relationship Id="rId9" Type="http://schemas.openxmlformats.org/officeDocument/2006/relationships/image" Target="../media/image29.png"/><Relationship Id="rId14" Type="http://schemas.openxmlformats.org/officeDocument/2006/relationships/image" Target="../media/image33.w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4.png"/><Relationship Id="rId1" Type="http://schemas.openxmlformats.org/officeDocument/2006/relationships/slideLayout" Target="../slideLayouts/slideLayout12.xml"/><Relationship Id="rId6" Type="http://schemas.openxmlformats.org/officeDocument/2006/relationships/image" Target="../media/image18.png"/><Relationship Id="rId5" Type="http://schemas.microsoft.com/office/2007/relationships/hdphoto" Target="../media/hdphoto2.wdp"/><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8.png"/><Relationship Id="rId3" Type="http://schemas.openxmlformats.org/officeDocument/2006/relationships/tags" Target="../tags/tag6.xml"/><Relationship Id="rId7" Type="http://schemas.openxmlformats.org/officeDocument/2006/relationships/image" Target="../media/image10.png"/><Relationship Id="rId12" Type="http://schemas.openxmlformats.org/officeDocument/2006/relationships/image" Target="../media/image3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5.emf"/><Relationship Id="rId11" Type="http://schemas.openxmlformats.org/officeDocument/2006/relationships/image" Target="../media/image36.png"/><Relationship Id="rId5" Type="http://schemas.openxmlformats.org/officeDocument/2006/relationships/notesSlide" Target="../notesSlides/notesSlide12.xml"/><Relationship Id="rId15" Type="http://schemas.microsoft.com/office/2007/relationships/hdphoto" Target="../media/hdphoto5.wdp"/><Relationship Id="rId10" Type="http://schemas.openxmlformats.org/officeDocument/2006/relationships/image" Target="../media/image35.png"/><Relationship Id="rId4" Type="http://schemas.openxmlformats.org/officeDocument/2006/relationships/slideLayout" Target="../slideLayouts/slideLayout16.xml"/><Relationship Id="rId9" Type="http://schemas.openxmlformats.org/officeDocument/2006/relationships/image" Target="../media/image18.png"/><Relationship Id="rId1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1.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16.xml"/><Relationship Id="rId5" Type="http://schemas.openxmlformats.org/officeDocument/2006/relationships/image" Target="../media/image44.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49.xml"/><Relationship Id="rId1" Type="http://schemas.openxmlformats.org/officeDocument/2006/relationships/tags" Target="../tags/tag1.xml"/><Relationship Id="rId6" Type="http://schemas.openxmlformats.org/officeDocument/2006/relationships/image" Target="../media/image17.png"/><Relationship Id="rId11" Type="http://schemas.microsoft.com/office/2007/relationships/hdphoto" Target="../media/hdphoto1.wdp"/><Relationship Id="rId5" Type="http://schemas.openxmlformats.org/officeDocument/2006/relationships/image" Target="../media/image10.png"/><Relationship Id="rId10" Type="http://schemas.openxmlformats.org/officeDocument/2006/relationships/image" Target="../media/image21.png"/><Relationship Id="rId4" Type="http://schemas.openxmlformats.org/officeDocument/2006/relationships/image" Target="../media/image16.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8.xml"/><Relationship Id="rId7" Type="http://schemas.openxmlformats.org/officeDocument/2006/relationships/image" Target="../media/image20.png"/><Relationship Id="rId2" Type="http://schemas.openxmlformats.org/officeDocument/2006/relationships/slideLayout" Target="../slideLayouts/slideLayout49.xml"/><Relationship Id="rId1" Type="http://schemas.openxmlformats.org/officeDocument/2006/relationships/tags" Target="../tags/tag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Workplace Join, working from anywhere</a:t>
            </a:r>
            <a:endParaRPr lang="en-US" dirty="0"/>
          </a:p>
        </p:txBody>
      </p:sp>
    </p:spTree>
    <p:extLst>
      <p:ext uri="{BB962C8B-B14F-4D97-AF65-F5344CB8AC3E}">
        <p14:creationId xmlns:p14="http://schemas.microsoft.com/office/powerpoint/2010/main" val="2650579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mo Environment</a:t>
            </a:r>
            <a:endParaRPr lang="en-US" dirty="0"/>
          </a:p>
        </p:txBody>
      </p:sp>
      <p:grpSp>
        <p:nvGrpSpPr>
          <p:cNvPr id="8" name="Group 7"/>
          <p:cNvGrpSpPr>
            <a:grpSpLocks noChangeAspect="1"/>
          </p:cNvGrpSpPr>
          <p:nvPr/>
        </p:nvGrpSpPr>
        <p:grpSpPr>
          <a:xfrm>
            <a:off x="6807825" y="2970051"/>
            <a:ext cx="1237190" cy="1362182"/>
            <a:chOff x="8956177" y="3970371"/>
            <a:chExt cx="1215849" cy="1338684"/>
          </a:xfrm>
          <a:solidFill>
            <a:schemeClr val="bg2">
              <a:lumMod val="10000"/>
              <a:lumOff val="90000"/>
            </a:schemeClr>
          </a:solidFill>
        </p:grpSpPr>
        <p:sp>
          <p:nvSpPr>
            <p:cNvPr id="9" name="Rectangle 8"/>
            <p:cNvSpPr>
              <a:spLocks noChangeAspect="1"/>
            </p:cNvSpPr>
            <p:nvPr/>
          </p:nvSpPr>
          <p:spPr>
            <a:xfrm>
              <a:off x="8956177" y="4938784"/>
              <a:ext cx="1215849" cy="370271"/>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WhoAmI</a:t>
              </a:r>
              <a:endParaRPr lang="en-US" sz="1224" dirty="0" smtClean="0">
                <a:ln>
                  <a:solidFill>
                    <a:srgbClr val="FFFFFF">
                      <a:alpha val="0"/>
                    </a:srgbClr>
                  </a:solidFill>
                </a:ln>
                <a:solidFill>
                  <a:schemeClr val="tx2">
                    <a:lumMod val="40000"/>
                    <a:lumOff val="60000"/>
                  </a:schemeClr>
                </a:solidFill>
                <a:latin typeface="Segoe"/>
              </a:endParaRPr>
            </a:p>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Claims based)</a:t>
              </a:r>
            </a:p>
          </p:txBody>
        </p:sp>
        <p:sp>
          <p:nvSpPr>
            <p:cNvPr id="10" name="Freeform 31"/>
            <p:cNvSpPr>
              <a:spLocks noEditPoints="1"/>
            </p:cNvSpPr>
            <p:nvPr/>
          </p:nvSpPr>
          <p:spPr bwMode="auto">
            <a:xfrm>
              <a:off x="9086850" y="3970371"/>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 name="Freeform 107"/>
          <p:cNvSpPr>
            <a:spLocks noEditPoints="1"/>
          </p:cNvSpPr>
          <p:nvPr/>
        </p:nvSpPr>
        <p:spPr bwMode="auto">
          <a:xfrm>
            <a:off x="1501304" y="3523348"/>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14"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1621083" y="3579867"/>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19"/>
          <p:cNvSpPr/>
          <p:nvPr/>
        </p:nvSpPr>
        <p:spPr bwMode="auto">
          <a:xfrm>
            <a:off x="5148018" y="3040063"/>
            <a:ext cx="494943" cy="2882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D FS</a:t>
            </a:r>
          </a:p>
        </p:txBody>
      </p:sp>
      <p:sp>
        <p:nvSpPr>
          <p:cNvPr id="21" name="Rectangle 20"/>
          <p:cNvSpPr/>
          <p:nvPr/>
        </p:nvSpPr>
        <p:spPr bwMode="auto">
          <a:xfrm>
            <a:off x="3038007" y="3040063"/>
            <a:ext cx="494943" cy="288285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Web application proxy</a:t>
            </a:r>
          </a:p>
        </p:txBody>
      </p:sp>
      <p:grpSp>
        <p:nvGrpSpPr>
          <p:cNvPr id="23" name="Group 22"/>
          <p:cNvGrpSpPr>
            <a:grpSpLocks noChangeAspect="1"/>
          </p:cNvGrpSpPr>
          <p:nvPr/>
        </p:nvGrpSpPr>
        <p:grpSpPr>
          <a:xfrm>
            <a:off x="8509860" y="2934348"/>
            <a:ext cx="1237190" cy="1362184"/>
            <a:chOff x="8956177" y="3970370"/>
            <a:chExt cx="1215849" cy="1338686"/>
          </a:xfrm>
          <a:solidFill>
            <a:schemeClr val="bg2">
              <a:lumMod val="10000"/>
              <a:lumOff val="90000"/>
            </a:schemeClr>
          </a:solidFill>
        </p:grpSpPr>
        <p:sp>
          <p:nvSpPr>
            <p:cNvPr id="24" name="Rectangle 23"/>
            <p:cNvSpPr>
              <a:spLocks noChangeAspect="1"/>
            </p:cNvSpPr>
            <p:nvPr/>
          </p:nvSpPr>
          <p:spPr>
            <a:xfrm>
              <a:off x="8956177" y="4938785"/>
              <a:ext cx="1215849" cy="370271"/>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eb app</a:t>
              </a:r>
            </a:p>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indows </a:t>
              </a:r>
              <a:r>
                <a:rPr lang="en-US" sz="1224" dirty="0" err="1" smtClean="0">
                  <a:ln>
                    <a:solidFill>
                      <a:srgbClr val="FFFFFF">
                        <a:alpha val="0"/>
                      </a:srgbClr>
                    </a:solidFill>
                  </a:ln>
                  <a:solidFill>
                    <a:schemeClr val="tx2">
                      <a:lumMod val="40000"/>
                      <a:lumOff val="60000"/>
                    </a:schemeClr>
                  </a:solidFill>
                  <a:latin typeface="Segoe"/>
                </a:rPr>
                <a:t>auth</a:t>
              </a:r>
              <a:r>
                <a:rPr lang="en-US" sz="1224" dirty="0" smtClean="0">
                  <a:ln>
                    <a:solidFill>
                      <a:srgbClr val="FFFFFF">
                        <a:alpha val="0"/>
                      </a:srgbClr>
                    </a:solidFill>
                  </a:ln>
                  <a:solidFill>
                    <a:schemeClr val="tx2">
                      <a:lumMod val="40000"/>
                      <a:lumOff val="60000"/>
                    </a:schemeClr>
                  </a:solidFill>
                  <a:latin typeface="Segoe"/>
                </a:rPr>
                <a:t>)</a:t>
              </a:r>
              <a:endParaRPr lang="en-US" sz="1224" dirty="0">
                <a:ln>
                  <a:solidFill>
                    <a:srgbClr val="FFFFFF">
                      <a:alpha val="0"/>
                    </a:srgbClr>
                  </a:solidFill>
                </a:ln>
                <a:solidFill>
                  <a:schemeClr val="tx2">
                    <a:lumMod val="40000"/>
                    <a:lumOff val="60000"/>
                  </a:schemeClr>
                </a:solidFill>
                <a:latin typeface="Segoe"/>
              </a:endParaRPr>
            </a:p>
          </p:txBody>
        </p:sp>
        <p:sp>
          <p:nvSpPr>
            <p:cNvPr id="2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a:grpSpLocks noChangeAspect="1"/>
          </p:cNvGrpSpPr>
          <p:nvPr/>
        </p:nvGrpSpPr>
        <p:grpSpPr>
          <a:xfrm>
            <a:off x="5287109" y="4939186"/>
            <a:ext cx="1237190" cy="1509539"/>
            <a:chOff x="8956177" y="3970370"/>
            <a:chExt cx="1215849" cy="1483501"/>
          </a:xfrm>
          <a:solidFill>
            <a:schemeClr val="bg2">
              <a:lumMod val="10000"/>
              <a:lumOff val="90000"/>
            </a:schemeClr>
          </a:solidFill>
        </p:grpSpPr>
        <p:sp>
          <p:nvSpPr>
            <p:cNvPr id="6" name="Rectangle 5"/>
            <p:cNvSpPr>
              <a:spLocks noChangeAspect="1"/>
            </p:cNvSpPr>
            <p:nvPr/>
          </p:nvSpPr>
          <p:spPr>
            <a:xfrm>
              <a:off x="8956177" y="4898465"/>
              <a:ext cx="1215849" cy="555406"/>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Device registration service</a:t>
              </a:r>
              <a:endParaRPr lang="en-US" sz="1224" dirty="0">
                <a:ln>
                  <a:solidFill>
                    <a:srgbClr val="FFFFFF">
                      <a:alpha val="0"/>
                    </a:srgbClr>
                  </a:solidFill>
                </a:ln>
                <a:solidFill>
                  <a:schemeClr val="tx2">
                    <a:lumMod val="40000"/>
                    <a:lumOff val="60000"/>
                  </a:schemeClr>
                </a:solidFill>
                <a:latin typeface="Segoe"/>
              </a:endParaRPr>
            </a:p>
          </p:txBody>
        </p:sp>
        <p:sp>
          <p:nvSpPr>
            <p:cNvPr id="7"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 name="Group 2"/>
          <p:cNvGrpSpPr/>
          <p:nvPr/>
        </p:nvGrpSpPr>
        <p:grpSpPr>
          <a:xfrm>
            <a:off x="4058141" y="2615879"/>
            <a:ext cx="629606" cy="3755499"/>
            <a:chOff x="4058141" y="2615879"/>
            <a:chExt cx="629606" cy="3755499"/>
          </a:xfrm>
        </p:grpSpPr>
        <p:pic>
          <p:nvPicPr>
            <p:cNvPr id="28" name="Picture 27"/>
            <p:cNvPicPr>
              <a:picLocks noChangeAspect="1"/>
            </p:cNvPicPr>
            <p:nvPr/>
          </p:nvPicPr>
          <p:blipFill rotWithShape="1">
            <a:blip r:embed="rId4"/>
            <a:srcRect t="46135" r="1520" b="3023"/>
            <a:stretch/>
          </p:blipFill>
          <p:spPr>
            <a:xfrm rot="16200000">
              <a:off x="3625172" y="3053422"/>
              <a:ext cx="1500118" cy="625032"/>
            </a:xfrm>
            <a:prstGeom prst="rect">
              <a:avLst/>
            </a:prstGeom>
          </p:spPr>
        </p:pic>
        <p:pic>
          <p:nvPicPr>
            <p:cNvPr id="30" name="Picture 29"/>
            <p:cNvPicPr>
              <a:picLocks noChangeAspect="1"/>
            </p:cNvPicPr>
            <p:nvPr/>
          </p:nvPicPr>
          <p:blipFill rotWithShape="1">
            <a:blip r:embed="rId4"/>
            <a:srcRect t="46135" r="1520" b="3023"/>
            <a:stretch/>
          </p:blipFill>
          <p:spPr>
            <a:xfrm rot="16200000">
              <a:off x="3620598" y="4180776"/>
              <a:ext cx="1500118" cy="625032"/>
            </a:xfrm>
            <a:prstGeom prst="rect">
              <a:avLst/>
            </a:prstGeom>
          </p:spPr>
        </p:pic>
        <p:pic>
          <p:nvPicPr>
            <p:cNvPr id="31" name="Picture 30"/>
            <p:cNvPicPr>
              <a:picLocks noChangeAspect="1"/>
            </p:cNvPicPr>
            <p:nvPr/>
          </p:nvPicPr>
          <p:blipFill rotWithShape="1">
            <a:blip r:embed="rId4"/>
            <a:srcRect t="46135" r="1520" b="3023"/>
            <a:stretch/>
          </p:blipFill>
          <p:spPr>
            <a:xfrm rot="16200000">
              <a:off x="3621587" y="5308803"/>
              <a:ext cx="1500118" cy="625032"/>
            </a:xfrm>
            <a:prstGeom prst="rect">
              <a:avLst/>
            </a:prstGeom>
          </p:spPr>
        </p:pic>
      </p:grpSp>
      <p:sp>
        <p:nvSpPr>
          <p:cNvPr id="19" name="Rectangle 18"/>
          <p:cNvSpPr/>
          <p:nvPr/>
        </p:nvSpPr>
        <p:spPr bwMode="auto">
          <a:xfrm>
            <a:off x="4063512" y="2845009"/>
            <a:ext cx="633189" cy="3344729"/>
          </a:xfrm>
          <a:prstGeom prst="rect">
            <a:avLst/>
          </a:prstGeom>
          <a:solidFill>
            <a:schemeClr val="accent1">
              <a:alpha val="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Firewall</a:t>
            </a:r>
          </a:p>
        </p:txBody>
      </p:sp>
      <p:grpSp>
        <p:nvGrpSpPr>
          <p:cNvPr id="32" name="Group 31"/>
          <p:cNvGrpSpPr/>
          <p:nvPr/>
        </p:nvGrpSpPr>
        <p:grpSpPr>
          <a:xfrm>
            <a:off x="1583591" y="4700644"/>
            <a:ext cx="703706" cy="829735"/>
            <a:chOff x="8589727" y="4850409"/>
            <a:chExt cx="703706" cy="829735"/>
          </a:xfrm>
        </p:grpSpPr>
        <p:sp>
          <p:nvSpPr>
            <p:cNvPr id="33" name="Rectangle 32"/>
            <p:cNvSpPr/>
            <p:nvPr/>
          </p:nvSpPr>
          <p:spPr bwMode="auto">
            <a:xfrm>
              <a:off x="8678068" y="4941391"/>
              <a:ext cx="527024" cy="63188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Rounded Rectangle 2"/>
            <p:cNvSpPr/>
            <p:nvPr/>
          </p:nvSpPr>
          <p:spPr bwMode="auto">
            <a:xfrm>
              <a:off x="8589727" y="4850409"/>
              <a:ext cx="703706" cy="829735"/>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tx1">
                <a:alpha val="81000"/>
              </a:schemeClr>
            </a:solidFill>
            <a:ln w="117475">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anchor="ctr"/>
            <a:lstStyle/>
            <a:p>
              <a:pPr algn="ctr"/>
              <a:endParaRPr lang="en-US">
                <a:solidFill>
                  <a:srgbClr val="FFFFFF"/>
                </a:solidFill>
                <a:ea typeface="ＭＳ Ｐゴシック" pitchFamily="-103" charset="-128"/>
              </a:endParaRPr>
            </a:p>
          </p:txBody>
        </p:sp>
        <p:pic>
          <p:nvPicPr>
            <p:cNvPr id="35" name="Picture 2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46000"/>
                      </a14:imgEffect>
                    </a14:imgLayer>
                  </a14:imgProps>
                </a:ext>
              </a:extLst>
            </a:blip>
            <a:srcRect/>
            <a:stretch>
              <a:fillRect/>
            </a:stretch>
          </p:blipFill>
          <p:spPr bwMode="auto">
            <a:xfrm>
              <a:off x="8766409" y="5131849"/>
              <a:ext cx="323179" cy="200079"/>
            </a:xfrm>
            <a:prstGeom prst="rect">
              <a:avLst/>
            </a:prstGeom>
            <a:noFill/>
            <a:ln w="9525">
              <a:noFill/>
              <a:miter lim="800000"/>
              <a:headEnd/>
              <a:tailEnd/>
            </a:ln>
          </p:spPr>
        </p:pic>
      </p:grpSp>
      <p:sp>
        <p:nvSpPr>
          <p:cNvPr id="2" name="Oval Callout 1"/>
          <p:cNvSpPr/>
          <p:nvPr/>
        </p:nvSpPr>
        <p:spPr bwMode="auto">
          <a:xfrm>
            <a:off x="7397783" y="724381"/>
            <a:ext cx="4002461" cy="1869325"/>
          </a:xfrm>
          <a:prstGeom prst="wedgeEllipseCallout">
            <a:avLst>
              <a:gd name="adj1" fmla="val -3193"/>
              <a:gd name="adj2" fmla="val 73057"/>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290" fontAlgn="base">
              <a:spcBef>
                <a:spcPct val="0"/>
              </a:spcBef>
              <a:spcAft>
                <a:spcPct val="0"/>
              </a:spcAft>
            </a:pPr>
            <a:r>
              <a:rPr lang="en-US" sz="2000" spc="-5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Allow </a:t>
            </a:r>
            <a:r>
              <a:rPr lang="en-US" sz="2000" spc="-51" dirty="0">
                <a:solidFill>
                  <a:schemeClr val="tx1"/>
                </a:solidFill>
                <a:latin typeface="Segoe UI" panose="020B0502040204020203" pitchFamily="34" charset="0"/>
                <a:ea typeface="Segoe UI" panose="020B0502040204020203" pitchFamily="34" charset="0"/>
                <a:cs typeface="Segoe UI" panose="020B0502040204020203" pitchFamily="34" charset="0"/>
              </a:rPr>
              <a:t>access from specific users, when accessing from </a:t>
            </a:r>
            <a:r>
              <a:rPr lang="en-US" sz="2000" spc="-51" dirty="0" smtClean="0">
                <a:solidFill>
                  <a:schemeClr val="tx1"/>
                </a:solidFill>
                <a:latin typeface="Segoe UI" panose="020B0502040204020203" pitchFamily="34" charset="0"/>
                <a:ea typeface="Segoe UI" panose="020B0502040204020203" pitchFamily="34" charset="0"/>
                <a:cs typeface="Segoe UI" panose="020B0502040204020203" pitchFamily="34" charset="0"/>
              </a:rPr>
              <a:t>devices they have workplace joined </a:t>
            </a:r>
          </a:p>
        </p:txBody>
      </p:sp>
      <p:sp>
        <p:nvSpPr>
          <p:cNvPr id="37" name="TextBox 35"/>
          <p:cNvSpPr txBox="1"/>
          <p:nvPr/>
        </p:nvSpPr>
        <p:spPr>
          <a:xfrm>
            <a:off x="7007896" y="5994408"/>
            <a:ext cx="1501964" cy="318285"/>
          </a:xfrm>
          <a:prstGeom prst="rect">
            <a:avLst/>
          </a:prstGeom>
          <a:solidFill>
            <a:schemeClr val="accent1">
              <a:lumMod val="50000"/>
            </a:schemeClr>
          </a:solid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a:solidFill>
                  <a:srgbClr val="FFFFFF"/>
                </a:solidFill>
                <a:latin typeface="Segoe UI"/>
              </a:rPr>
              <a:t>Active Directory</a:t>
            </a:r>
          </a:p>
        </p:txBody>
      </p:sp>
      <p:pic>
        <p:nvPicPr>
          <p:cNvPr id="38" name="Picture 3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87568" y="5085759"/>
            <a:ext cx="1330565" cy="889239"/>
          </a:xfrm>
          <a:prstGeom prst="rect">
            <a:avLst/>
          </a:prstGeom>
        </p:spPr>
      </p:pic>
    </p:spTree>
    <p:extLst>
      <p:ext uri="{BB962C8B-B14F-4D97-AF65-F5344CB8AC3E}">
        <p14:creationId xmlns:p14="http://schemas.microsoft.com/office/powerpoint/2010/main" val="124978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3422" y="177483"/>
            <a:ext cx="12037574" cy="738559"/>
          </a:xfrm>
        </p:spPr>
        <p:txBody>
          <a:bodyPr/>
          <a:lstStyle/>
          <a:p>
            <a:r>
              <a:rPr lang="en-US" sz="3999" dirty="0"/>
              <a:t>Increasing the value in Active Directory Federation Services</a:t>
            </a:r>
          </a:p>
        </p:txBody>
      </p:sp>
      <p:sp>
        <p:nvSpPr>
          <p:cNvPr id="3" name="Slide Number Placeholder 2"/>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solidFill>
                  <a:srgbClr val="FFFFFF"/>
                </a:solidFill>
              </a:rPr>
              <a:pPr>
                <a:lnSpc>
                  <a:spcPct val="90000"/>
                </a:lnSpc>
              </a:pPr>
              <a:t>12</a:t>
            </a:fld>
            <a:endParaRPr dirty="0">
              <a:solidFill>
                <a:srgbClr val="FFFFFF"/>
              </a:solidFill>
            </a:endParaRPr>
          </a:p>
        </p:txBody>
      </p:sp>
      <p:pic>
        <p:nvPicPr>
          <p:cNvPr id="90" name="Picture 3"/>
          <p:cNvPicPr>
            <a:picLocks noChangeAspect="1" noChangeArrowheads="1"/>
          </p:cNvPicPr>
          <p:nvPr/>
        </p:nvPicPr>
        <p:blipFill>
          <a:blip r:embed="rId4" cstate="print">
            <a:biLevel thresh="25000"/>
            <a:extLst>
              <a:ext uri="{28A0092B-C50C-407E-A947-70E740481C1C}">
                <a14:useLocalDpi xmlns:a14="http://schemas.microsoft.com/office/drawing/2010/main" val="0"/>
              </a:ext>
            </a:extLst>
          </a:blip>
          <a:stretch>
            <a:fillRect/>
          </a:stretch>
        </p:blipFill>
        <p:spPr bwMode="auto">
          <a:xfrm>
            <a:off x="1810273" y="4649382"/>
            <a:ext cx="733056" cy="1108109"/>
          </a:xfrm>
          <a:prstGeom prst="rect">
            <a:avLst/>
          </a:prstGeom>
          <a:blipFill dpi="0" rotWithShape="1">
            <a:blip r:embed="rId5">
              <a:alphaModFix amt="95000"/>
              <a:biLevel thresh="25000"/>
            </a:blip>
            <a:srcRect/>
            <a:stretch>
              <a:fillRect/>
            </a:stretch>
          </a:blipFill>
          <a:ln w="55000" cap="flat" cmpd="thickThin" algn="ctr">
            <a:noFill/>
            <a:prstDash val="solid"/>
            <a:headEnd type="none" w="med" len="med"/>
            <a:tailEnd type="none" w="med" len="med"/>
          </a:ln>
          <a:effectLst/>
        </p:spPr>
      </p:pic>
      <p:cxnSp>
        <p:nvCxnSpPr>
          <p:cNvPr id="135" name="Straight Connector 134"/>
          <p:cNvCxnSpPr/>
          <p:nvPr/>
        </p:nvCxnSpPr>
        <p:spPr>
          <a:xfrm flipH="1">
            <a:off x="4304525" y="3509722"/>
            <a:ext cx="760540"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H="1">
            <a:off x="4455365" y="4157446"/>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8463248" y="2958383"/>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flipH="1">
            <a:off x="6741794" y="3516097"/>
            <a:ext cx="609700" cy="0"/>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flipH="1" flipV="1">
            <a:off x="8451551" y="3614522"/>
            <a:ext cx="699314" cy="373751"/>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4458822" y="2401246"/>
            <a:ext cx="609701" cy="398008"/>
          </a:xfrm>
          <a:prstGeom prst="line">
            <a:avLst/>
          </a:prstGeom>
          <a:ln w="28575"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007989" y="1132858"/>
            <a:ext cx="2548446" cy="1198664"/>
            <a:chOff x="674755" y="1189174"/>
            <a:chExt cx="2548807" cy="1198834"/>
          </a:xfrm>
          <a:noFill/>
        </p:grpSpPr>
        <p:sp>
          <p:nvSpPr>
            <p:cNvPr id="140" name="Freeform 139"/>
            <p:cNvSpPr>
              <a:spLocks noChangeAspect="1"/>
            </p:cNvSpPr>
            <p:nvPr/>
          </p:nvSpPr>
          <p:spPr bwMode="auto">
            <a:xfrm>
              <a:off x="674755" y="1189174"/>
              <a:ext cx="2548807" cy="1198834"/>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grpFill/>
            <a:ln w="19050" cap="flat" cmpd="sng" algn="ctr">
              <a:solidFill>
                <a:schemeClr val="tx1"/>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sp>
          <p:nvSpPr>
            <p:cNvPr id="146" name="Rectangle 145"/>
            <p:cNvSpPr/>
            <p:nvPr/>
          </p:nvSpPr>
          <p:spPr>
            <a:xfrm>
              <a:off x="1338956" y="1584106"/>
              <a:ext cx="515940" cy="338802"/>
            </a:xfrm>
            <a:prstGeom prst="rect">
              <a:avLst/>
            </a:prstGeom>
            <a:grpFill/>
            <a:ln>
              <a:solidFill>
                <a:schemeClr val="bg2">
                  <a:lumMod val="90000"/>
                  <a:lumOff val="10000"/>
                </a:schemeClr>
              </a:solidFill>
            </a:ln>
          </p:spPr>
          <p:txBody>
            <a:bodyPr wrap="square" lIns="0" tIns="0" rIns="0" bIns="0" anchor="b">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1096480" fontAlgn="base">
                <a:lnSpc>
                  <a:spcPct val="90000"/>
                </a:lnSpc>
                <a:spcAft>
                  <a:spcPct val="0"/>
                </a:spcAft>
              </a:pPr>
              <a:r>
                <a:rPr lang="en-US" sz="1199" dirty="0">
                  <a:ln>
                    <a:solidFill>
                      <a:srgbClr val="FFFFFF">
                        <a:alpha val="0"/>
                      </a:srgbClr>
                    </a:solidFill>
                  </a:ln>
                  <a:solidFill>
                    <a:srgbClr val="FFFFFF"/>
                  </a:solidFill>
                </a:rPr>
                <a:t>SaaS Apps</a:t>
              </a:r>
            </a:p>
          </p:txBody>
        </p:sp>
        <p:grpSp>
          <p:nvGrpSpPr>
            <p:cNvPr id="147" name="Group 146"/>
            <p:cNvGrpSpPr>
              <a:grpSpLocks noChangeAspect="1"/>
            </p:cNvGrpSpPr>
            <p:nvPr/>
          </p:nvGrpSpPr>
          <p:grpSpPr>
            <a:xfrm>
              <a:off x="968533" y="1749757"/>
              <a:ext cx="330593" cy="279599"/>
              <a:chOff x="2660651" y="3757613"/>
              <a:chExt cx="1054100" cy="971550"/>
            </a:xfrm>
            <a:grpFill/>
          </p:grpSpPr>
          <p:sp>
            <p:nvSpPr>
              <p:cNvPr id="151" name="Freeform 62"/>
              <p:cNvSpPr>
                <a:spLocks/>
              </p:cNvSpPr>
              <p:nvPr/>
            </p:nvSpPr>
            <p:spPr bwMode="auto">
              <a:xfrm>
                <a:off x="3119438" y="4011613"/>
                <a:ext cx="3175" cy="4763"/>
              </a:xfrm>
              <a:custGeom>
                <a:avLst/>
                <a:gdLst>
                  <a:gd name="T0" fmla="*/ 0 w 5"/>
                  <a:gd name="T1" fmla="*/ 3 h 6"/>
                  <a:gd name="T2" fmla="*/ 5 w 5"/>
                  <a:gd name="T3" fmla="*/ 2 h 6"/>
                  <a:gd name="T4" fmla="*/ 0 w 5"/>
                  <a:gd name="T5" fmla="*/ 3 h 6"/>
                </a:gdLst>
                <a:ahLst/>
                <a:cxnLst>
                  <a:cxn ang="0">
                    <a:pos x="T0" y="T1"/>
                  </a:cxn>
                  <a:cxn ang="0">
                    <a:pos x="T2" y="T3"/>
                  </a:cxn>
                  <a:cxn ang="0">
                    <a:pos x="T4" y="T5"/>
                  </a:cxn>
                </a:cxnLst>
                <a:rect l="0" t="0" r="r" b="b"/>
                <a:pathLst>
                  <a:path w="5" h="6">
                    <a:moveTo>
                      <a:pt x="0" y="3"/>
                    </a:moveTo>
                    <a:cubicBezTo>
                      <a:pt x="0" y="6"/>
                      <a:pt x="5" y="5"/>
                      <a:pt x="5" y="2"/>
                    </a:cubicBezTo>
                    <a:cubicBezTo>
                      <a:pt x="3" y="1"/>
                      <a:pt x="0"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2" name="Freeform 63"/>
              <p:cNvSpPr>
                <a:spLocks/>
              </p:cNvSpPr>
              <p:nvPr/>
            </p:nvSpPr>
            <p:spPr bwMode="auto">
              <a:xfrm>
                <a:off x="3086101" y="4094163"/>
                <a:ext cx="15875" cy="12700"/>
              </a:xfrm>
              <a:custGeom>
                <a:avLst/>
                <a:gdLst>
                  <a:gd name="T0" fmla="*/ 13 w 21"/>
                  <a:gd name="T1" fmla="*/ 1 h 16"/>
                  <a:gd name="T2" fmla="*/ 6 w 21"/>
                  <a:gd name="T3" fmla="*/ 0 h 16"/>
                  <a:gd name="T4" fmla="*/ 3 w 21"/>
                  <a:gd name="T5" fmla="*/ 3 h 16"/>
                  <a:gd name="T6" fmla="*/ 0 w 21"/>
                  <a:gd name="T7" fmla="*/ 10 h 16"/>
                  <a:gd name="T8" fmla="*/ 4 w 21"/>
                  <a:gd name="T9" fmla="*/ 16 h 16"/>
                  <a:gd name="T10" fmla="*/ 9 w 21"/>
                  <a:gd name="T11" fmla="*/ 10 h 16"/>
                  <a:gd name="T12" fmla="*/ 19 w 21"/>
                  <a:gd name="T13" fmla="*/ 1 h 16"/>
                  <a:gd name="T14" fmla="*/ 13 w 21"/>
                  <a:gd name="T15" fmla="*/ 1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6">
                    <a:moveTo>
                      <a:pt x="13" y="1"/>
                    </a:moveTo>
                    <a:cubicBezTo>
                      <a:pt x="11" y="1"/>
                      <a:pt x="8" y="1"/>
                      <a:pt x="6" y="0"/>
                    </a:cubicBezTo>
                    <a:cubicBezTo>
                      <a:pt x="5" y="0"/>
                      <a:pt x="4" y="3"/>
                      <a:pt x="3" y="3"/>
                    </a:cubicBezTo>
                    <a:cubicBezTo>
                      <a:pt x="1" y="5"/>
                      <a:pt x="0" y="7"/>
                      <a:pt x="0" y="10"/>
                    </a:cubicBezTo>
                    <a:cubicBezTo>
                      <a:pt x="1" y="12"/>
                      <a:pt x="2" y="16"/>
                      <a:pt x="4" y="16"/>
                    </a:cubicBezTo>
                    <a:cubicBezTo>
                      <a:pt x="6" y="16"/>
                      <a:pt x="8" y="12"/>
                      <a:pt x="9" y="10"/>
                    </a:cubicBezTo>
                    <a:cubicBezTo>
                      <a:pt x="12" y="8"/>
                      <a:pt x="21" y="7"/>
                      <a:pt x="19" y="1"/>
                    </a:cubicBezTo>
                    <a:cubicBezTo>
                      <a:pt x="17" y="1"/>
                      <a:pt x="15" y="0"/>
                      <a:pt x="1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3" name="Freeform 64"/>
              <p:cNvSpPr>
                <a:spLocks/>
              </p:cNvSpPr>
              <p:nvPr/>
            </p:nvSpPr>
            <p:spPr bwMode="auto">
              <a:xfrm>
                <a:off x="3106738" y="4137025"/>
                <a:ext cx="12700" cy="15875"/>
              </a:xfrm>
              <a:custGeom>
                <a:avLst/>
                <a:gdLst>
                  <a:gd name="T0" fmla="*/ 3 w 16"/>
                  <a:gd name="T1" fmla="*/ 19 h 20"/>
                  <a:gd name="T2" fmla="*/ 9 w 16"/>
                  <a:gd name="T3" fmla="*/ 7 h 20"/>
                  <a:gd name="T4" fmla="*/ 12 w 16"/>
                  <a:gd name="T5" fmla="*/ 0 h 20"/>
                  <a:gd name="T6" fmla="*/ 9 w 16"/>
                  <a:gd name="T7" fmla="*/ 5 h 20"/>
                  <a:gd name="T8" fmla="*/ 4 w 16"/>
                  <a:gd name="T9" fmla="*/ 8 h 20"/>
                  <a:gd name="T10" fmla="*/ 3 w 16"/>
                  <a:gd name="T11" fmla="*/ 19 h 20"/>
                </a:gdLst>
                <a:ahLst/>
                <a:cxnLst>
                  <a:cxn ang="0">
                    <a:pos x="T0" y="T1"/>
                  </a:cxn>
                  <a:cxn ang="0">
                    <a:pos x="T2" y="T3"/>
                  </a:cxn>
                  <a:cxn ang="0">
                    <a:pos x="T4" y="T5"/>
                  </a:cxn>
                  <a:cxn ang="0">
                    <a:pos x="T6" y="T7"/>
                  </a:cxn>
                  <a:cxn ang="0">
                    <a:pos x="T8" y="T9"/>
                  </a:cxn>
                  <a:cxn ang="0">
                    <a:pos x="T10" y="T11"/>
                  </a:cxn>
                </a:cxnLst>
                <a:rect l="0" t="0" r="r" b="b"/>
                <a:pathLst>
                  <a:path w="16" h="20">
                    <a:moveTo>
                      <a:pt x="3" y="19"/>
                    </a:moveTo>
                    <a:cubicBezTo>
                      <a:pt x="3" y="15"/>
                      <a:pt x="6" y="10"/>
                      <a:pt x="9" y="7"/>
                    </a:cubicBezTo>
                    <a:cubicBezTo>
                      <a:pt x="11" y="6"/>
                      <a:pt x="16" y="2"/>
                      <a:pt x="12" y="0"/>
                    </a:cubicBezTo>
                    <a:cubicBezTo>
                      <a:pt x="7" y="0"/>
                      <a:pt x="11" y="2"/>
                      <a:pt x="9" y="5"/>
                    </a:cubicBezTo>
                    <a:cubicBezTo>
                      <a:pt x="8" y="6"/>
                      <a:pt x="5" y="6"/>
                      <a:pt x="4" y="8"/>
                    </a:cubicBezTo>
                    <a:cubicBezTo>
                      <a:pt x="4" y="9"/>
                      <a:pt x="0" y="20"/>
                      <a:pt x="3"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4" name="Freeform 65"/>
              <p:cNvSpPr>
                <a:spLocks/>
              </p:cNvSpPr>
              <p:nvPr/>
            </p:nvSpPr>
            <p:spPr bwMode="auto">
              <a:xfrm>
                <a:off x="3117851" y="4006850"/>
                <a:ext cx="4763" cy="3175"/>
              </a:xfrm>
              <a:custGeom>
                <a:avLst/>
                <a:gdLst>
                  <a:gd name="T0" fmla="*/ 3 w 5"/>
                  <a:gd name="T1" fmla="*/ 3 h 5"/>
                  <a:gd name="T2" fmla="*/ 5 w 5"/>
                  <a:gd name="T3" fmla="*/ 0 h 5"/>
                  <a:gd name="T4" fmla="*/ 2 w 5"/>
                  <a:gd name="T5" fmla="*/ 0 h 5"/>
                  <a:gd name="T6" fmla="*/ 3 w 5"/>
                  <a:gd name="T7" fmla="*/ 3 h 5"/>
                </a:gdLst>
                <a:ahLst/>
                <a:cxnLst>
                  <a:cxn ang="0">
                    <a:pos x="T0" y="T1"/>
                  </a:cxn>
                  <a:cxn ang="0">
                    <a:pos x="T2" y="T3"/>
                  </a:cxn>
                  <a:cxn ang="0">
                    <a:pos x="T4" y="T5"/>
                  </a:cxn>
                  <a:cxn ang="0">
                    <a:pos x="T6" y="T7"/>
                  </a:cxn>
                </a:cxnLst>
                <a:rect l="0" t="0" r="r" b="b"/>
                <a:pathLst>
                  <a:path w="5" h="5">
                    <a:moveTo>
                      <a:pt x="3" y="3"/>
                    </a:moveTo>
                    <a:cubicBezTo>
                      <a:pt x="5" y="5"/>
                      <a:pt x="5" y="1"/>
                      <a:pt x="5" y="0"/>
                    </a:cubicBezTo>
                    <a:cubicBezTo>
                      <a:pt x="2" y="0"/>
                      <a:pt x="2" y="0"/>
                      <a:pt x="2" y="0"/>
                    </a:cubicBezTo>
                    <a:cubicBezTo>
                      <a:pt x="0" y="0"/>
                      <a:pt x="2" y="3"/>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5" name="Freeform 66"/>
              <p:cNvSpPr>
                <a:spLocks/>
              </p:cNvSpPr>
              <p:nvPr/>
            </p:nvSpPr>
            <p:spPr bwMode="auto">
              <a:xfrm>
                <a:off x="3114676" y="3990975"/>
                <a:ext cx="11113" cy="11113"/>
              </a:xfrm>
              <a:custGeom>
                <a:avLst/>
                <a:gdLst>
                  <a:gd name="T0" fmla="*/ 12 w 14"/>
                  <a:gd name="T1" fmla="*/ 0 h 15"/>
                  <a:gd name="T2" fmla="*/ 10 w 14"/>
                  <a:gd name="T3" fmla="*/ 7 h 15"/>
                  <a:gd name="T4" fmla="*/ 3 w 14"/>
                  <a:gd name="T5" fmla="*/ 10 h 15"/>
                  <a:gd name="T6" fmla="*/ 6 w 14"/>
                  <a:gd name="T7" fmla="*/ 14 h 15"/>
                  <a:gd name="T8" fmla="*/ 12 w 14"/>
                  <a:gd name="T9" fmla="*/ 5 h 15"/>
                  <a:gd name="T10" fmla="*/ 13 w 14"/>
                  <a:gd name="T11" fmla="*/ 2 h 15"/>
                  <a:gd name="T12" fmla="*/ 12 w 1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4" h="15">
                    <a:moveTo>
                      <a:pt x="12" y="0"/>
                    </a:moveTo>
                    <a:cubicBezTo>
                      <a:pt x="6" y="0"/>
                      <a:pt x="10" y="5"/>
                      <a:pt x="10" y="7"/>
                    </a:cubicBezTo>
                    <a:cubicBezTo>
                      <a:pt x="10" y="9"/>
                      <a:pt x="5" y="9"/>
                      <a:pt x="3" y="10"/>
                    </a:cubicBezTo>
                    <a:cubicBezTo>
                      <a:pt x="0" y="12"/>
                      <a:pt x="2" y="15"/>
                      <a:pt x="6" y="14"/>
                    </a:cubicBezTo>
                    <a:cubicBezTo>
                      <a:pt x="9" y="14"/>
                      <a:pt x="14" y="8"/>
                      <a:pt x="12" y="5"/>
                    </a:cubicBezTo>
                    <a:cubicBezTo>
                      <a:pt x="11" y="4"/>
                      <a:pt x="12" y="3"/>
                      <a:pt x="13" y="2"/>
                    </a:cubicBezTo>
                    <a:cubicBezTo>
                      <a:pt x="14" y="1"/>
                      <a:pt x="12" y="1"/>
                      <a:pt x="1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6" name="Freeform 67"/>
              <p:cNvSpPr>
                <a:spLocks/>
              </p:cNvSpPr>
              <p:nvPr/>
            </p:nvSpPr>
            <p:spPr bwMode="auto">
              <a:xfrm>
                <a:off x="3130551" y="4011613"/>
                <a:ext cx="19050" cy="19050"/>
              </a:xfrm>
              <a:custGeom>
                <a:avLst/>
                <a:gdLst>
                  <a:gd name="T0" fmla="*/ 8 w 24"/>
                  <a:gd name="T1" fmla="*/ 23 h 25"/>
                  <a:gd name="T2" fmla="*/ 22 w 24"/>
                  <a:gd name="T3" fmla="*/ 18 h 25"/>
                  <a:gd name="T4" fmla="*/ 20 w 24"/>
                  <a:gd name="T5" fmla="*/ 3 h 25"/>
                  <a:gd name="T6" fmla="*/ 4 w 24"/>
                  <a:gd name="T7" fmla="*/ 8 h 25"/>
                  <a:gd name="T8" fmla="*/ 1 w 24"/>
                  <a:gd name="T9" fmla="*/ 18 h 25"/>
                  <a:gd name="T10" fmla="*/ 8 w 24"/>
                  <a:gd name="T11" fmla="*/ 23 h 25"/>
                </a:gdLst>
                <a:ahLst/>
                <a:cxnLst>
                  <a:cxn ang="0">
                    <a:pos x="T0" y="T1"/>
                  </a:cxn>
                  <a:cxn ang="0">
                    <a:pos x="T2" y="T3"/>
                  </a:cxn>
                  <a:cxn ang="0">
                    <a:pos x="T4" y="T5"/>
                  </a:cxn>
                  <a:cxn ang="0">
                    <a:pos x="T6" y="T7"/>
                  </a:cxn>
                  <a:cxn ang="0">
                    <a:pos x="T8" y="T9"/>
                  </a:cxn>
                  <a:cxn ang="0">
                    <a:pos x="T10" y="T11"/>
                  </a:cxn>
                </a:cxnLst>
                <a:rect l="0" t="0" r="r" b="b"/>
                <a:pathLst>
                  <a:path w="24" h="25">
                    <a:moveTo>
                      <a:pt x="8" y="23"/>
                    </a:moveTo>
                    <a:cubicBezTo>
                      <a:pt x="13" y="25"/>
                      <a:pt x="21" y="23"/>
                      <a:pt x="22" y="18"/>
                    </a:cubicBezTo>
                    <a:cubicBezTo>
                      <a:pt x="22" y="15"/>
                      <a:pt x="24" y="5"/>
                      <a:pt x="20" y="3"/>
                    </a:cubicBezTo>
                    <a:cubicBezTo>
                      <a:pt x="12" y="0"/>
                      <a:pt x="6" y="0"/>
                      <a:pt x="4" y="8"/>
                    </a:cubicBezTo>
                    <a:cubicBezTo>
                      <a:pt x="3" y="11"/>
                      <a:pt x="0" y="15"/>
                      <a:pt x="1" y="18"/>
                    </a:cubicBezTo>
                    <a:cubicBezTo>
                      <a:pt x="2" y="20"/>
                      <a:pt x="5" y="22"/>
                      <a:pt x="8" y="2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7" name="Freeform 68"/>
              <p:cNvSpPr>
                <a:spLocks/>
              </p:cNvSpPr>
              <p:nvPr/>
            </p:nvSpPr>
            <p:spPr bwMode="auto">
              <a:xfrm>
                <a:off x="3062288" y="4049713"/>
                <a:ext cx="47625" cy="42863"/>
              </a:xfrm>
              <a:custGeom>
                <a:avLst/>
                <a:gdLst>
                  <a:gd name="T0" fmla="*/ 54 w 65"/>
                  <a:gd name="T1" fmla="*/ 45 h 56"/>
                  <a:gd name="T2" fmla="*/ 64 w 65"/>
                  <a:gd name="T3" fmla="*/ 45 h 56"/>
                  <a:gd name="T4" fmla="*/ 57 w 65"/>
                  <a:gd name="T5" fmla="*/ 30 h 56"/>
                  <a:gd name="T6" fmla="*/ 46 w 65"/>
                  <a:gd name="T7" fmla="*/ 21 h 56"/>
                  <a:gd name="T8" fmla="*/ 35 w 65"/>
                  <a:gd name="T9" fmla="*/ 16 h 56"/>
                  <a:gd name="T10" fmla="*/ 33 w 65"/>
                  <a:gd name="T11" fmla="*/ 12 h 56"/>
                  <a:gd name="T12" fmla="*/ 25 w 65"/>
                  <a:gd name="T13" fmla="*/ 10 h 56"/>
                  <a:gd name="T14" fmla="*/ 20 w 65"/>
                  <a:gd name="T15" fmla="*/ 1 h 56"/>
                  <a:gd name="T16" fmla="*/ 12 w 65"/>
                  <a:gd name="T17" fmla="*/ 13 h 56"/>
                  <a:gd name="T18" fmla="*/ 11 w 65"/>
                  <a:gd name="T19" fmla="*/ 19 h 56"/>
                  <a:gd name="T20" fmla="*/ 15 w 65"/>
                  <a:gd name="T21" fmla="*/ 23 h 56"/>
                  <a:gd name="T22" fmla="*/ 14 w 65"/>
                  <a:gd name="T23" fmla="*/ 31 h 56"/>
                  <a:gd name="T24" fmla="*/ 9 w 65"/>
                  <a:gd name="T25" fmla="*/ 37 h 56"/>
                  <a:gd name="T26" fmla="*/ 3 w 65"/>
                  <a:gd name="T27" fmla="*/ 41 h 56"/>
                  <a:gd name="T28" fmla="*/ 11 w 65"/>
                  <a:gd name="T29" fmla="*/ 47 h 56"/>
                  <a:gd name="T30" fmla="*/ 15 w 65"/>
                  <a:gd name="T31" fmla="*/ 50 h 56"/>
                  <a:gd name="T32" fmla="*/ 17 w 65"/>
                  <a:gd name="T33" fmla="*/ 55 h 56"/>
                  <a:gd name="T34" fmla="*/ 29 w 65"/>
                  <a:gd name="T35" fmla="*/ 47 h 56"/>
                  <a:gd name="T36" fmla="*/ 37 w 65"/>
                  <a:gd name="T37" fmla="*/ 42 h 56"/>
                  <a:gd name="T38" fmla="*/ 43 w 65"/>
                  <a:gd name="T39" fmla="*/ 37 h 56"/>
                  <a:gd name="T40" fmla="*/ 47 w 65"/>
                  <a:gd name="T41" fmla="*/ 43 h 56"/>
                  <a:gd name="T42" fmla="*/ 51 w 65"/>
                  <a:gd name="T43" fmla="*/ 43 h 56"/>
                  <a:gd name="T44" fmla="*/ 54 w 65"/>
                  <a:gd name="T45" fmla="*/ 4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5" h="56">
                    <a:moveTo>
                      <a:pt x="54" y="45"/>
                    </a:moveTo>
                    <a:cubicBezTo>
                      <a:pt x="56" y="47"/>
                      <a:pt x="63" y="49"/>
                      <a:pt x="64" y="45"/>
                    </a:cubicBezTo>
                    <a:cubicBezTo>
                      <a:pt x="65" y="39"/>
                      <a:pt x="62" y="34"/>
                      <a:pt x="57" y="30"/>
                    </a:cubicBezTo>
                    <a:cubicBezTo>
                      <a:pt x="53" y="27"/>
                      <a:pt x="51" y="22"/>
                      <a:pt x="46" y="21"/>
                    </a:cubicBezTo>
                    <a:cubicBezTo>
                      <a:pt x="43" y="21"/>
                      <a:pt x="35" y="20"/>
                      <a:pt x="35" y="16"/>
                    </a:cubicBezTo>
                    <a:cubicBezTo>
                      <a:pt x="35" y="15"/>
                      <a:pt x="34" y="13"/>
                      <a:pt x="33" y="12"/>
                    </a:cubicBezTo>
                    <a:cubicBezTo>
                      <a:pt x="31" y="10"/>
                      <a:pt x="27" y="12"/>
                      <a:pt x="25" y="10"/>
                    </a:cubicBezTo>
                    <a:cubicBezTo>
                      <a:pt x="22" y="8"/>
                      <a:pt x="24" y="2"/>
                      <a:pt x="20" y="1"/>
                    </a:cubicBezTo>
                    <a:cubicBezTo>
                      <a:pt x="13" y="0"/>
                      <a:pt x="13" y="9"/>
                      <a:pt x="12" y="13"/>
                    </a:cubicBezTo>
                    <a:cubicBezTo>
                      <a:pt x="11" y="15"/>
                      <a:pt x="11" y="18"/>
                      <a:pt x="11" y="19"/>
                    </a:cubicBezTo>
                    <a:cubicBezTo>
                      <a:pt x="10" y="22"/>
                      <a:pt x="13" y="22"/>
                      <a:pt x="15" y="23"/>
                    </a:cubicBezTo>
                    <a:cubicBezTo>
                      <a:pt x="21" y="26"/>
                      <a:pt x="18" y="28"/>
                      <a:pt x="14" y="31"/>
                    </a:cubicBezTo>
                    <a:cubicBezTo>
                      <a:pt x="12" y="33"/>
                      <a:pt x="11" y="35"/>
                      <a:pt x="9" y="37"/>
                    </a:cubicBezTo>
                    <a:cubicBezTo>
                      <a:pt x="8" y="39"/>
                      <a:pt x="4" y="39"/>
                      <a:pt x="3" y="41"/>
                    </a:cubicBezTo>
                    <a:cubicBezTo>
                      <a:pt x="0" y="46"/>
                      <a:pt x="8" y="46"/>
                      <a:pt x="11" y="47"/>
                    </a:cubicBezTo>
                    <a:cubicBezTo>
                      <a:pt x="13" y="47"/>
                      <a:pt x="15" y="48"/>
                      <a:pt x="15" y="50"/>
                    </a:cubicBezTo>
                    <a:cubicBezTo>
                      <a:pt x="15" y="52"/>
                      <a:pt x="15" y="54"/>
                      <a:pt x="17" y="55"/>
                    </a:cubicBezTo>
                    <a:cubicBezTo>
                      <a:pt x="24" y="56"/>
                      <a:pt x="25" y="51"/>
                      <a:pt x="29" y="47"/>
                    </a:cubicBezTo>
                    <a:cubicBezTo>
                      <a:pt x="31" y="45"/>
                      <a:pt x="38" y="47"/>
                      <a:pt x="37" y="42"/>
                    </a:cubicBezTo>
                    <a:cubicBezTo>
                      <a:pt x="36" y="39"/>
                      <a:pt x="40" y="33"/>
                      <a:pt x="43" y="37"/>
                    </a:cubicBezTo>
                    <a:cubicBezTo>
                      <a:pt x="45" y="38"/>
                      <a:pt x="45" y="41"/>
                      <a:pt x="47" y="43"/>
                    </a:cubicBezTo>
                    <a:cubicBezTo>
                      <a:pt x="48" y="44"/>
                      <a:pt x="49" y="43"/>
                      <a:pt x="51" y="43"/>
                    </a:cubicBezTo>
                    <a:cubicBezTo>
                      <a:pt x="52" y="43"/>
                      <a:pt x="53" y="45"/>
                      <a:pt x="54" y="4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8" name="Freeform 69"/>
              <p:cNvSpPr>
                <a:spLocks/>
              </p:cNvSpPr>
              <p:nvPr/>
            </p:nvSpPr>
            <p:spPr bwMode="auto">
              <a:xfrm>
                <a:off x="3125788" y="4084638"/>
                <a:ext cx="9525" cy="9525"/>
              </a:xfrm>
              <a:custGeom>
                <a:avLst/>
                <a:gdLst>
                  <a:gd name="T0" fmla="*/ 1 w 14"/>
                  <a:gd name="T1" fmla="*/ 6 h 13"/>
                  <a:gd name="T2" fmla="*/ 7 w 14"/>
                  <a:gd name="T3" fmla="*/ 2 h 13"/>
                  <a:gd name="T4" fmla="*/ 2 w 14"/>
                  <a:gd name="T5" fmla="*/ 2 h 13"/>
                  <a:gd name="T6" fmla="*/ 1 w 14"/>
                  <a:gd name="T7" fmla="*/ 6 h 13"/>
                </a:gdLst>
                <a:ahLst/>
                <a:cxnLst>
                  <a:cxn ang="0">
                    <a:pos x="T0" y="T1"/>
                  </a:cxn>
                  <a:cxn ang="0">
                    <a:pos x="T2" y="T3"/>
                  </a:cxn>
                  <a:cxn ang="0">
                    <a:pos x="T4" y="T5"/>
                  </a:cxn>
                  <a:cxn ang="0">
                    <a:pos x="T6" y="T7"/>
                  </a:cxn>
                </a:cxnLst>
                <a:rect l="0" t="0" r="r" b="b"/>
                <a:pathLst>
                  <a:path w="14" h="13">
                    <a:moveTo>
                      <a:pt x="1" y="6"/>
                    </a:moveTo>
                    <a:cubicBezTo>
                      <a:pt x="3" y="13"/>
                      <a:pt x="14" y="7"/>
                      <a:pt x="7" y="2"/>
                    </a:cubicBezTo>
                    <a:cubicBezTo>
                      <a:pt x="4" y="0"/>
                      <a:pt x="5" y="3"/>
                      <a:pt x="2" y="2"/>
                    </a:cubicBezTo>
                    <a:cubicBezTo>
                      <a:pt x="0" y="1"/>
                      <a:pt x="0" y="5"/>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59" name="Freeform 70"/>
              <p:cNvSpPr>
                <a:spLocks/>
              </p:cNvSpPr>
              <p:nvPr/>
            </p:nvSpPr>
            <p:spPr bwMode="auto">
              <a:xfrm>
                <a:off x="3149601" y="4014788"/>
                <a:ext cx="11113" cy="7938"/>
              </a:xfrm>
              <a:custGeom>
                <a:avLst/>
                <a:gdLst>
                  <a:gd name="T0" fmla="*/ 6 w 14"/>
                  <a:gd name="T1" fmla="*/ 1 h 11"/>
                  <a:gd name="T2" fmla="*/ 3 w 14"/>
                  <a:gd name="T3" fmla="*/ 6 h 11"/>
                  <a:gd name="T4" fmla="*/ 6 w 14"/>
                  <a:gd name="T5" fmla="*/ 1 h 11"/>
                </a:gdLst>
                <a:ahLst/>
                <a:cxnLst>
                  <a:cxn ang="0">
                    <a:pos x="T0" y="T1"/>
                  </a:cxn>
                  <a:cxn ang="0">
                    <a:pos x="T2" y="T3"/>
                  </a:cxn>
                  <a:cxn ang="0">
                    <a:pos x="T4" y="T5"/>
                  </a:cxn>
                </a:cxnLst>
                <a:rect l="0" t="0" r="r" b="b"/>
                <a:pathLst>
                  <a:path w="14" h="11">
                    <a:moveTo>
                      <a:pt x="6" y="1"/>
                    </a:moveTo>
                    <a:cubicBezTo>
                      <a:pt x="3" y="0"/>
                      <a:pt x="0" y="3"/>
                      <a:pt x="3" y="6"/>
                    </a:cubicBezTo>
                    <a:cubicBezTo>
                      <a:pt x="9" y="11"/>
                      <a:pt x="14" y="3"/>
                      <a:pt x="6"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0" name="Freeform 71"/>
              <p:cNvSpPr>
                <a:spLocks/>
              </p:cNvSpPr>
              <p:nvPr/>
            </p:nvSpPr>
            <p:spPr bwMode="auto">
              <a:xfrm>
                <a:off x="3048001" y="3860800"/>
                <a:ext cx="11113" cy="6350"/>
              </a:xfrm>
              <a:custGeom>
                <a:avLst/>
                <a:gdLst>
                  <a:gd name="T0" fmla="*/ 11 w 15"/>
                  <a:gd name="T1" fmla="*/ 1 h 8"/>
                  <a:gd name="T2" fmla="*/ 8 w 15"/>
                  <a:gd name="T3" fmla="*/ 1 h 8"/>
                  <a:gd name="T4" fmla="*/ 4 w 15"/>
                  <a:gd name="T5" fmla="*/ 3 h 8"/>
                  <a:gd name="T6" fmla="*/ 3 w 15"/>
                  <a:gd name="T7" fmla="*/ 8 h 8"/>
                  <a:gd name="T8" fmla="*/ 11 w 15"/>
                  <a:gd name="T9" fmla="*/ 1 h 8"/>
                </a:gdLst>
                <a:ahLst/>
                <a:cxnLst>
                  <a:cxn ang="0">
                    <a:pos x="T0" y="T1"/>
                  </a:cxn>
                  <a:cxn ang="0">
                    <a:pos x="T2" y="T3"/>
                  </a:cxn>
                  <a:cxn ang="0">
                    <a:pos x="T4" y="T5"/>
                  </a:cxn>
                  <a:cxn ang="0">
                    <a:pos x="T6" y="T7"/>
                  </a:cxn>
                  <a:cxn ang="0">
                    <a:pos x="T8" y="T9"/>
                  </a:cxn>
                </a:cxnLst>
                <a:rect l="0" t="0" r="r" b="b"/>
                <a:pathLst>
                  <a:path w="15" h="8">
                    <a:moveTo>
                      <a:pt x="11" y="1"/>
                    </a:moveTo>
                    <a:cubicBezTo>
                      <a:pt x="10" y="0"/>
                      <a:pt x="9" y="0"/>
                      <a:pt x="8" y="1"/>
                    </a:cubicBezTo>
                    <a:cubicBezTo>
                      <a:pt x="6" y="2"/>
                      <a:pt x="5" y="2"/>
                      <a:pt x="4" y="3"/>
                    </a:cubicBezTo>
                    <a:cubicBezTo>
                      <a:pt x="1" y="4"/>
                      <a:pt x="0" y="7"/>
                      <a:pt x="3" y="8"/>
                    </a:cubicBezTo>
                    <a:cubicBezTo>
                      <a:pt x="8" y="8"/>
                      <a:pt x="15" y="3"/>
                      <a:pt x="1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1" name="Freeform 72"/>
              <p:cNvSpPr>
                <a:spLocks/>
              </p:cNvSpPr>
              <p:nvPr/>
            </p:nvSpPr>
            <p:spPr bwMode="auto">
              <a:xfrm>
                <a:off x="3127376" y="40846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2" name="Freeform 73"/>
              <p:cNvSpPr>
                <a:spLocks/>
              </p:cNvSpPr>
              <p:nvPr/>
            </p:nvSpPr>
            <p:spPr bwMode="auto">
              <a:xfrm>
                <a:off x="3109913" y="4098925"/>
                <a:ext cx="11113" cy="15875"/>
              </a:xfrm>
              <a:custGeom>
                <a:avLst/>
                <a:gdLst>
                  <a:gd name="T0" fmla="*/ 4 w 13"/>
                  <a:gd name="T1" fmla="*/ 2 h 20"/>
                  <a:gd name="T2" fmla="*/ 7 w 13"/>
                  <a:gd name="T3" fmla="*/ 20 h 20"/>
                  <a:gd name="T4" fmla="*/ 12 w 13"/>
                  <a:gd name="T5" fmla="*/ 10 h 20"/>
                  <a:gd name="T6" fmla="*/ 4 w 13"/>
                  <a:gd name="T7" fmla="*/ 2 h 20"/>
                </a:gdLst>
                <a:ahLst/>
                <a:cxnLst>
                  <a:cxn ang="0">
                    <a:pos x="T0" y="T1"/>
                  </a:cxn>
                  <a:cxn ang="0">
                    <a:pos x="T2" y="T3"/>
                  </a:cxn>
                  <a:cxn ang="0">
                    <a:pos x="T4" y="T5"/>
                  </a:cxn>
                  <a:cxn ang="0">
                    <a:pos x="T6" y="T7"/>
                  </a:cxn>
                </a:cxnLst>
                <a:rect l="0" t="0" r="r" b="b"/>
                <a:pathLst>
                  <a:path w="13" h="20">
                    <a:moveTo>
                      <a:pt x="4" y="2"/>
                    </a:moveTo>
                    <a:cubicBezTo>
                      <a:pt x="0" y="5"/>
                      <a:pt x="1" y="18"/>
                      <a:pt x="7" y="20"/>
                    </a:cubicBezTo>
                    <a:cubicBezTo>
                      <a:pt x="9" y="20"/>
                      <a:pt x="12" y="13"/>
                      <a:pt x="12" y="10"/>
                    </a:cubicBezTo>
                    <a:cubicBezTo>
                      <a:pt x="13" y="7"/>
                      <a:pt x="9" y="0"/>
                      <a:pt x="4"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3" name="Freeform 74"/>
              <p:cNvSpPr>
                <a:spLocks/>
              </p:cNvSpPr>
              <p:nvPr/>
            </p:nvSpPr>
            <p:spPr bwMode="auto">
              <a:xfrm>
                <a:off x="3021013" y="3859213"/>
                <a:ext cx="19050" cy="4763"/>
              </a:xfrm>
              <a:custGeom>
                <a:avLst/>
                <a:gdLst>
                  <a:gd name="T0" fmla="*/ 1 w 25"/>
                  <a:gd name="T1" fmla="*/ 3 h 8"/>
                  <a:gd name="T2" fmla="*/ 2 w 25"/>
                  <a:gd name="T3" fmla="*/ 7 h 8"/>
                  <a:gd name="T4" fmla="*/ 9 w 25"/>
                  <a:gd name="T5" fmla="*/ 7 h 8"/>
                  <a:gd name="T6" fmla="*/ 18 w 25"/>
                  <a:gd name="T7" fmla="*/ 7 h 8"/>
                  <a:gd name="T8" fmla="*/ 20 w 25"/>
                  <a:gd name="T9" fmla="*/ 0 h 8"/>
                  <a:gd name="T10" fmla="*/ 8 w 25"/>
                  <a:gd name="T11" fmla="*/ 1 h 8"/>
                  <a:gd name="T12" fmla="*/ 9 w 25"/>
                  <a:gd name="T13" fmla="*/ 1 h 8"/>
                  <a:gd name="T14" fmla="*/ 7 w 25"/>
                  <a:gd name="T15" fmla="*/ 1 h 8"/>
                  <a:gd name="T16" fmla="*/ 1 w 25"/>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
                    <a:moveTo>
                      <a:pt x="1" y="3"/>
                    </a:moveTo>
                    <a:cubicBezTo>
                      <a:pt x="0" y="4"/>
                      <a:pt x="0" y="6"/>
                      <a:pt x="2" y="7"/>
                    </a:cubicBezTo>
                    <a:cubicBezTo>
                      <a:pt x="4" y="8"/>
                      <a:pt x="7" y="8"/>
                      <a:pt x="9" y="7"/>
                    </a:cubicBezTo>
                    <a:cubicBezTo>
                      <a:pt x="12" y="7"/>
                      <a:pt x="14" y="8"/>
                      <a:pt x="18" y="7"/>
                    </a:cubicBezTo>
                    <a:cubicBezTo>
                      <a:pt x="22" y="6"/>
                      <a:pt x="25" y="1"/>
                      <a:pt x="20" y="0"/>
                    </a:cubicBezTo>
                    <a:cubicBezTo>
                      <a:pt x="16" y="0"/>
                      <a:pt x="12" y="1"/>
                      <a:pt x="8" y="1"/>
                    </a:cubicBezTo>
                    <a:cubicBezTo>
                      <a:pt x="9" y="1"/>
                      <a:pt x="9" y="1"/>
                      <a:pt x="9" y="1"/>
                    </a:cubicBezTo>
                    <a:cubicBezTo>
                      <a:pt x="9" y="1"/>
                      <a:pt x="8" y="1"/>
                      <a:pt x="7" y="1"/>
                    </a:cubicBezTo>
                    <a:cubicBezTo>
                      <a:pt x="5" y="2"/>
                      <a:pt x="3" y="1"/>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4" name="Freeform 75"/>
              <p:cNvSpPr>
                <a:spLocks/>
              </p:cNvSpPr>
              <p:nvPr/>
            </p:nvSpPr>
            <p:spPr bwMode="auto">
              <a:xfrm>
                <a:off x="3005138" y="3819525"/>
                <a:ext cx="14288" cy="7938"/>
              </a:xfrm>
              <a:custGeom>
                <a:avLst/>
                <a:gdLst>
                  <a:gd name="T0" fmla="*/ 11 w 19"/>
                  <a:gd name="T1" fmla="*/ 1 h 11"/>
                  <a:gd name="T2" fmla="*/ 5 w 19"/>
                  <a:gd name="T3" fmla="*/ 6 h 11"/>
                  <a:gd name="T4" fmla="*/ 8 w 19"/>
                  <a:gd name="T5" fmla="*/ 6 h 11"/>
                  <a:gd name="T6" fmla="*/ 10 w 19"/>
                  <a:gd name="T7" fmla="*/ 9 h 11"/>
                  <a:gd name="T8" fmla="*/ 17 w 19"/>
                  <a:gd name="T9" fmla="*/ 8 h 11"/>
                  <a:gd name="T10" fmla="*/ 11 w 19"/>
                  <a:gd name="T11" fmla="*/ 1 h 11"/>
                </a:gdLst>
                <a:ahLst/>
                <a:cxnLst>
                  <a:cxn ang="0">
                    <a:pos x="T0" y="T1"/>
                  </a:cxn>
                  <a:cxn ang="0">
                    <a:pos x="T2" y="T3"/>
                  </a:cxn>
                  <a:cxn ang="0">
                    <a:pos x="T4" y="T5"/>
                  </a:cxn>
                  <a:cxn ang="0">
                    <a:pos x="T6" y="T7"/>
                  </a:cxn>
                  <a:cxn ang="0">
                    <a:pos x="T8" y="T9"/>
                  </a:cxn>
                  <a:cxn ang="0">
                    <a:pos x="T10" y="T11"/>
                  </a:cxn>
                </a:cxnLst>
                <a:rect l="0" t="0" r="r" b="b"/>
                <a:pathLst>
                  <a:path w="19" h="11">
                    <a:moveTo>
                      <a:pt x="11" y="1"/>
                    </a:moveTo>
                    <a:cubicBezTo>
                      <a:pt x="8" y="1"/>
                      <a:pt x="0" y="5"/>
                      <a:pt x="5" y="6"/>
                    </a:cubicBezTo>
                    <a:cubicBezTo>
                      <a:pt x="6" y="6"/>
                      <a:pt x="7" y="6"/>
                      <a:pt x="8" y="6"/>
                    </a:cubicBezTo>
                    <a:cubicBezTo>
                      <a:pt x="9" y="7"/>
                      <a:pt x="9" y="8"/>
                      <a:pt x="10" y="9"/>
                    </a:cubicBezTo>
                    <a:cubicBezTo>
                      <a:pt x="11" y="10"/>
                      <a:pt x="15" y="11"/>
                      <a:pt x="17" y="8"/>
                    </a:cubicBezTo>
                    <a:cubicBezTo>
                      <a:pt x="19" y="5"/>
                      <a:pt x="16" y="0"/>
                      <a:pt x="1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5" name="Freeform 76"/>
              <p:cNvSpPr>
                <a:spLocks/>
              </p:cNvSpPr>
              <p:nvPr/>
            </p:nvSpPr>
            <p:spPr bwMode="auto">
              <a:xfrm>
                <a:off x="3109913" y="3883025"/>
                <a:ext cx="9525" cy="7938"/>
              </a:xfrm>
              <a:custGeom>
                <a:avLst/>
                <a:gdLst>
                  <a:gd name="T0" fmla="*/ 4 w 12"/>
                  <a:gd name="T1" fmla="*/ 4 h 9"/>
                  <a:gd name="T2" fmla="*/ 6 w 12"/>
                  <a:gd name="T3" fmla="*/ 9 h 9"/>
                  <a:gd name="T4" fmla="*/ 8 w 12"/>
                  <a:gd name="T5" fmla="*/ 1 h 9"/>
                  <a:gd name="T6" fmla="*/ 4 w 12"/>
                  <a:gd name="T7" fmla="*/ 4 h 9"/>
                </a:gdLst>
                <a:ahLst/>
                <a:cxnLst>
                  <a:cxn ang="0">
                    <a:pos x="T0" y="T1"/>
                  </a:cxn>
                  <a:cxn ang="0">
                    <a:pos x="T2" y="T3"/>
                  </a:cxn>
                  <a:cxn ang="0">
                    <a:pos x="T4" y="T5"/>
                  </a:cxn>
                  <a:cxn ang="0">
                    <a:pos x="T6" y="T7"/>
                  </a:cxn>
                </a:cxnLst>
                <a:rect l="0" t="0" r="r" b="b"/>
                <a:pathLst>
                  <a:path w="12" h="9">
                    <a:moveTo>
                      <a:pt x="4" y="4"/>
                    </a:moveTo>
                    <a:cubicBezTo>
                      <a:pt x="0" y="6"/>
                      <a:pt x="3" y="8"/>
                      <a:pt x="6" y="9"/>
                    </a:cubicBezTo>
                    <a:cubicBezTo>
                      <a:pt x="11" y="9"/>
                      <a:pt x="12" y="0"/>
                      <a:pt x="8" y="1"/>
                    </a:cubicBezTo>
                    <a:cubicBezTo>
                      <a:pt x="7" y="1"/>
                      <a:pt x="5" y="3"/>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6" name="Freeform 77"/>
              <p:cNvSpPr>
                <a:spLocks/>
              </p:cNvSpPr>
              <p:nvPr/>
            </p:nvSpPr>
            <p:spPr bwMode="auto">
              <a:xfrm>
                <a:off x="3011488" y="3840163"/>
                <a:ext cx="20638" cy="19050"/>
              </a:xfrm>
              <a:custGeom>
                <a:avLst/>
                <a:gdLst>
                  <a:gd name="T0" fmla="*/ 17 w 28"/>
                  <a:gd name="T1" fmla="*/ 6 h 25"/>
                  <a:gd name="T2" fmla="*/ 12 w 28"/>
                  <a:gd name="T3" fmla="*/ 2 h 25"/>
                  <a:gd name="T4" fmla="*/ 5 w 28"/>
                  <a:gd name="T5" fmla="*/ 1 h 25"/>
                  <a:gd name="T6" fmla="*/ 3 w 28"/>
                  <a:gd name="T7" fmla="*/ 5 h 25"/>
                  <a:gd name="T8" fmla="*/ 2 w 28"/>
                  <a:gd name="T9" fmla="*/ 10 h 25"/>
                  <a:gd name="T10" fmla="*/ 4 w 28"/>
                  <a:gd name="T11" fmla="*/ 11 h 25"/>
                  <a:gd name="T12" fmla="*/ 4 w 28"/>
                  <a:gd name="T13" fmla="*/ 14 h 25"/>
                  <a:gd name="T14" fmla="*/ 8 w 28"/>
                  <a:gd name="T15" fmla="*/ 15 h 25"/>
                  <a:gd name="T16" fmla="*/ 7 w 28"/>
                  <a:gd name="T17" fmla="*/ 18 h 25"/>
                  <a:gd name="T18" fmla="*/ 2 w 28"/>
                  <a:gd name="T19" fmla="*/ 19 h 25"/>
                  <a:gd name="T20" fmla="*/ 5 w 28"/>
                  <a:gd name="T21" fmla="*/ 23 h 25"/>
                  <a:gd name="T22" fmla="*/ 10 w 28"/>
                  <a:gd name="T23" fmla="*/ 25 h 25"/>
                  <a:gd name="T24" fmla="*/ 18 w 28"/>
                  <a:gd name="T25" fmla="*/ 22 h 25"/>
                  <a:gd name="T26" fmla="*/ 24 w 28"/>
                  <a:gd name="T27" fmla="*/ 19 h 25"/>
                  <a:gd name="T28" fmla="*/ 23 w 28"/>
                  <a:gd name="T29" fmla="*/ 17 h 25"/>
                  <a:gd name="T30" fmla="*/ 26 w 28"/>
                  <a:gd name="T31" fmla="*/ 15 h 25"/>
                  <a:gd name="T32" fmla="*/ 24 w 28"/>
                  <a:gd name="T33" fmla="*/ 12 h 25"/>
                  <a:gd name="T34" fmla="*/ 22 w 28"/>
                  <a:gd name="T35" fmla="*/ 7 h 25"/>
                  <a:gd name="T36" fmla="*/ 17 w 28"/>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7" y="6"/>
                    </a:moveTo>
                    <a:cubicBezTo>
                      <a:pt x="14" y="6"/>
                      <a:pt x="14" y="3"/>
                      <a:pt x="12" y="2"/>
                    </a:cubicBezTo>
                    <a:cubicBezTo>
                      <a:pt x="11" y="1"/>
                      <a:pt x="8" y="0"/>
                      <a:pt x="5" y="1"/>
                    </a:cubicBezTo>
                    <a:cubicBezTo>
                      <a:pt x="2" y="2"/>
                      <a:pt x="3" y="4"/>
                      <a:pt x="3" y="5"/>
                    </a:cubicBezTo>
                    <a:cubicBezTo>
                      <a:pt x="3" y="7"/>
                      <a:pt x="0" y="8"/>
                      <a:pt x="2" y="10"/>
                    </a:cubicBezTo>
                    <a:cubicBezTo>
                      <a:pt x="3" y="10"/>
                      <a:pt x="4" y="11"/>
                      <a:pt x="4" y="11"/>
                    </a:cubicBezTo>
                    <a:cubicBezTo>
                      <a:pt x="4" y="12"/>
                      <a:pt x="3" y="13"/>
                      <a:pt x="4" y="14"/>
                    </a:cubicBezTo>
                    <a:cubicBezTo>
                      <a:pt x="4" y="15"/>
                      <a:pt x="7" y="15"/>
                      <a:pt x="8" y="15"/>
                    </a:cubicBezTo>
                    <a:cubicBezTo>
                      <a:pt x="10" y="16"/>
                      <a:pt x="10" y="18"/>
                      <a:pt x="7" y="18"/>
                    </a:cubicBezTo>
                    <a:cubicBezTo>
                      <a:pt x="6" y="19"/>
                      <a:pt x="4" y="18"/>
                      <a:pt x="2" y="19"/>
                    </a:cubicBezTo>
                    <a:cubicBezTo>
                      <a:pt x="0" y="20"/>
                      <a:pt x="4" y="22"/>
                      <a:pt x="5" y="23"/>
                    </a:cubicBezTo>
                    <a:cubicBezTo>
                      <a:pt x="6" y="24"/>
                      <a:pt x="7" y="25"/>
                      <a:pt x="10" y="25"/>
                    </a:cubicBezTo>
                    <a:cubicBezTo>
                      <a:pt x="13" y="24"/>
                      <a:pt x="15" y="22"/>
                      <a:pt x="18" y="22"/>
                    </a:cubicBezTo>
                    <a:cubicBezTo>
                      <a:pt x="20" y="21"/>
                      <a:pt x="23" y="21"/>
                      <a:pt x="24" y="19"/>
                    </a:cubicBezTo>
                    <a:cubicBezTo>
                      <a:pt x="24" y="18"/>
                      <a:pt x="23" y="17"/>
                      <a:pt x="23" y="17"/>
                    </a:cubicBezTo>
                    <a:cubicBezTo>
                      <a:pt x="24" y="16"/>
                      <a:pt x="25" y="16"/>
                      <a:pt x="26" y="15"/>
                    </a:cubicBezTo>
                    <a:cubicBezTo>
                      <a:pt x="28" y="14"/>
                      <a:pt x="25" y="12"/>
                      <a:pt x="24" y="12"/>
                    </a:cubicBezTo>
                    <a:cubicBezTo>
                      <a:pt x="22" y="11"/>
                      <a:pt x="24" y="8"/>
                      <a:pt x="22" y="7"/>
                    </a:cubicBezTo>
                    <a:cubicBezTo>
                      <a:pt x="21" y="5"/>
                      <a:pt x="19" y="6"/>
                      <a:pt x="17"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7" name="Freeform 78"/>
              <p:cNvSpPr>
                <a:spLocks/>
              </p:cNvSpPr>
              <p:nvPr/>
            </p:nvSpPr>
            <p:spPr bwMode="auto">
              <a:xfrm>
                <a:off x="3022601" y="3867150"/>
                <a:ext cx="4763" cy="4763"/>
              </a:xfrm>
              <a:custGeom>
                <a:avLst/>
                <a:gdLst>
                  <a:gd name="T0" fmla="*/ 1 w 6"/>
                  <a:gd name="T1" fmla="*/ 4 h 7"/>
                  <a:gd name="T2" fmla="*/ 4 w 6"/>
                  <a:gd name="T3" fmla="*/ 5 h 7"/>
                  <a:gd name="T4" fmla="*/ 6 w 6"/>
                  <a:gd name="T5" fmla="*/ 0 h 7"/>
                  <a:gd name="T6" fmla="*/ 1 w 6"/>
                  <a:gd name="T7" fmla="*/ 4 h 7"/>
                </a:gdLst>
                <a:ahLst/>
                <a:cxnLst>
                  <a:cxn ang="0">
                    <a:pos x="T0" y="T1"/>
                  </a:cxn>
                  <a:cxn ang="0">
                    <a:pos x="T2" y="T3"/>
                  </a:cxn>
                  <a:cxn ang="0">
                    <a:pos x="T4" y="T5"/>
                  </a:cxn>
                  <a:cxn ang="0">
                    <a:pos x="T6" y="T7"/>
                  </a:cxn>
                </a:cxnLst>
                <a:rect l="0" t="0" r="r" b="b"/>
                <a:pathLst>
                  <a:path w="6" h="7">
                    <a:moveTo>
                      <a:pt x="1" y="4"/>
                    </a:moveTo>
                    <a:cubicBezTo>
                      <a:pt x="1" y="4"/>
                      <a:pt x="2" y="7"/>
                      <a:pt x="4" y="5"/>
                    </a:cubicBezTo>
                    <a:cubicBezTo>
                      <a:pt x="6" y="4"/>
                      <a:pt x="5" y="2"/>
                      <a:pt x="6" y="0"/>
                    </a:cubicBezTo>
                    <a:cubicBezTo>
                      <a:pt x="3" y="0"/>
                      <a:pt x="0" y="1"/>
                      <a:pt x="1"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8" name="Freeform 79"/>
              <p:cNvSpPr>
                <a:spLocks/>
              </p:cNvSpPr>
              <p:nvPr/>
            </p:nvSpPr>
            <p:spPr bwMode="auto">
              <a:xfrm>
                <a:off x="3024188" y="3889375"/>
                <a:ext cx="4763" cy="4763"/>
              </a:xfrm>
              <a:custGeom>
                <a:avLst/>
                <a:gdLst>
                  <a:gd name="T0" fmla="*/ 6 w 6"/>
                  <a:gd name="T1" fmla="*/ 3 h 6"/>
                  <a:gd name="T2" fmla="*/ 0 w 6"/>
                  <a:gd name="T3" fmla="*/ 3 h 6"/>
                  <a:gd name="T4" fmla="*/ 6 w 6"/>
                  <a:gd name="T5" fmla="*/ 3 h 6"/>
                </a:gdLst>
                <a:ahLst/>
                <a:cxnLst>
                  <a:cxn ang="0">
                    <a:pos x="T0" y="T1"/>
                  </a:cxn>
                  <a:cxn ang="0">
                    <a:pos x="T2" y="T3"/>
                  </a:cxn>
                  <a:cxn ang="0">
                    <a:pos x="T4" y="T5"/>
                  </a:cxn>
                </a:cxnLst>
                <a:rect l="0" t="0" r="r" b="b"/>
                <a:pathLst>
                  <a:path w="6" h="6">
                    <a:moveTo>
                      <a:pt x="6" y="3"/>
                    </a:moveTo>
                    <a:cubicBezTo>
                      <a:pt x="6" y="1"/>
                      <a:pt x="0" y="0"/>
                      <a:pt x="0" y="3"/>
                    </a:cubicBezTo>
                    <a:cubicBezTo>
                      <a:pt x="0" y="6"/>
                      <a:pt x="5" y="6"/>
                      <a:pt x="6"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69" name="Freeform 80"/>
              <p:cNvSpPr>
                <a:spLocks/>
              </p:cNvSpPr>
              <p:nvPr/>
            </p:nvSpPr>
            <p:spPr bwMode="auto">
              <a:xfrm>
                <a:off x="3114676" y="4167188"/>
                <a:ext cx="4763" cy="4763"/>
              </a:xfrm>
              <a:custGeom>
                <a:avLst/>
                <a:gdLst>
                  <a:gd name="T0" fmla="*/ 3 w 6"/>
                  <a:gd name="T1" fmla="*/ 6 h 7"/>
                  <a:gd name="T2" fmla="*/ 5 w 6"/>
                  <a:gd name="T3" fmla="*/ 4 h 7"/>
                  <a:gd name="T4" fmla="*/ 3 w 6"/>
                  <a:gd name="T5" fmla="*/ 0 h 7"/>
                  <a:gd name="T6" fmla="*/ 3 w 6"/>
                  <a:gd name="T7" fmla="*/ 6 h 7"/>
                </a:gdLst>
                <a:ahLst/>
                <a:cxnLst>
                  <a:cxn ang="0">
                    <a:pos x="T0" y="T1"/>
                  </a:cxn>
                  <a:cxn ang="0">
                    <a:pos x="T2" y="T3"/>
                  </a:cxn>
                  <a:cxn ang="0">
                    <a:pos x="T4" y="T5"/>
                  </a:cxn>
                  <a:cxn ang="0">
                    <a:pos x="T6" y="T7"/>
                  </a:cxn>
                </a:cxnLst>
                <a:rect l="0" t="0" r="r" b="b"/>
                <a:pathLst>
                  <a:path w="6" h="7">
                    <a:moveTo>
                      <a:pt x="3" y="6"/>
                    </a:moveTo>
                    <a:cubicBezTo>
                      <a:pt x="5" y="7"/>
                      <a:pt x="6" y="6"/>
                      <a:pt x="5" y="4"/>
                    </a:cubicBezTo>
                    <a:cubicBezTo>
                      <a:pt x="5" y="2"/>
                      <a:pt x="5" y="1"/>
                      <a:pt x="3" y="0"/>
                    </a:cubicBezTo>
                    <a:cubicBezTo>
                      <a:pt x="0" y="1"/>
                      <a:pt x="0" y="5"/>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0" name="Freeform 81"/>
              <p:cNvSpPr>
                <a:spLocks/>
              </p:cNvSpPr>
              <p:nvPr/>
            </p:nvSpPr>
            <p:spPr bwMode="auto">
              <a:xfrm>
                <a:off x="3111501" y="4176713"/>
                <a:ext cx="12700" cy="17463"/>
              </a:xfrm>
              <a:custGeom>
                <a:avLst/>
                <a:gdLst>
                  <a:gd name="T0" fmla="*/ 5 w 16"/>
                  <a:gd name="T1" fmla="*/ 23 h 24"/>
                  <a:gd name="T2" fmla="*/ 15 w 16"/>
                  <a:gd name="T3" fmla="*/ 16 h 24"/>
                  <a:gd name="T4" fmla="*/ 10 w 16"/>
                  <a:gd name="T5" fmla="*/ 4 h 24"/>
                  <a:gd name="T6" fmla="*/ 6 w 16"/>
                  <a:gd name="T7" fmla="*/ 1 h 24"/>
                  <a:gd name="T8" fmla="*/ 6 w 16"/>
                  <a:gd name="T9" fmla="*/ 7 h 24"/>
                  <a:gd name="T10" fmla="*/ 5 w 16"/>
                  <a:gd name="T11" fmla="*/ 23 h 24"/>
                </a:gdLst>
                <a:ahLst/>
                <a:cxnLst>
                  <a:cxn ang="0">
                    <a:pos x="T0" y="T1"/>
                  </a:cxn>
                  <a:cxn ang="0">
                    <a:pos x="T2" y="T3"/>
                  </a:cxn>
                  <a:cxn ang="0">
                    <a:pos x="T4" y="T5"/>
                  </a:cxn>
                  <a:cxn ang="0">
                    <a:pos x="T6" y="T7"/>
                  </a:cxn>
                  <a:cxn ang="0">
                    <a:pos x="T8" y="T9"/>
                  </a:cxn>
                  <a:cxn ang="0">
                    <a:pos x="T10" y="T11"/>
                  </a:cxn>
                </a:cxnLst>
                <a:rect l="0" t="0" r="r" b="b"/>
                <a:pathLst>
                  <a:path w="16" h="24">
                    <a:moveTo>
                      <a:pt x="5" y="23"/>
                    </a:moveTo>
                    <a:cubicBezTo>
                      <a:pt x="8" y="24"/>
                      <a:pt x="16" y="20"/>
                      <a:pt x="15" y="16"/>
                    </a:cubicBezTo>
                    <a:cubicBezTo>
                      <a:pt x="15" y="12"/>
                      <a:pt x="10" y="9"/>
                      <a:pt x="10" y="4"/>
                    </a:cubicBezTo>
                    <a:cubicBezTo>
                      <a:pt x="10" y="2"/>
                      <a:pt x="9" y="0"/>
                      <a:pt x="6" y="1"/>
                    </a:cubicBezTo>
                    <a:cubicBezTo>
                      <a:pt x="4" y="2"/>
                      <a:pt x="6" y="6"/>
                      <a:pt x="6" y="7"/>
                    </a:cubicBezTo>
                    <a:cubicBezTo>
                      <a:pt x="7" y="11"/>
                      <a:pt x="0" y="20"/>
                      <a:pt x="5" y="2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1" name="Freeform 82"/>
              <p:cNvSpPr>
                <a:spLocks/>
              </p:cNvSpPr>
              <p:nvPr/>
            </p:nvSpPr>
            <p:spPr bwMode="auto">
              <a:xfrm>
                <a:off x="3013076" y="3919538"/>
                <a:ext cx="38100" cy="36513"/>
              </a:xfrm>
              <a:custGeom>
                <a:avLst/>
                <a:gdLst>
                  <a:gd name="T0" fmla="*/ 42 w 50"/>
                  <a:gd name="T1" fmla="*/ 12 h 48"/>
                  <a:gd name="T2" fmla="*/ 50 w 50"/>
                  <a:gd name="T3" fmla="*/ 6 h 48"/>
                  <a:gd name="T4" fmla="*/ 41 w 50"/>
                  <a:gd name="T5" fmla="*/ 3 h 48"/>
                  <a:gd name="T6" fmla="*/ 34 w 50"/>
                  <a:gd name="T7" fmla="*/ 3 h 48"/>
                  <a:gd name="T8" fmla="*/ 27 w 50"/>
                  <a:gd name="T9" fmla="*/ 2 h 48"/>
                  <a:gd name="T10" fmla="*/ 12 w 50"/>
                  <a:gd name="T11" fmla="*/ 4 h 48"/>
                  <a:gd name="T12" fmla="*/ 7 w 50"/>
                  <a:gd name="T13" fmla="*/ 9 h 48"/>
                  <a:gd name="T14" fmla="*/ 8 w 50"/>
                  <a:gd name="T15" fmla="*/ 15 h 48"/>
                  <a:gd name="T16" fmla="*/ 2 w 50"/>
                  <a:gd name="T17" fmla="*/ 25 h 48"/>
                  <a:gd name="T18" fmla="*/ 1 w 50"/>
                  <a:gd name="T19" fmla="*/ 40 h 48"/>
                  <a:gd name="T20" fmla="*/ 7 w 50"/>
                  <a:gd name="T21" fmla="*/ 48 h 48"/>
                  <a:gd name="T22" fmla="*/ 17 w 50"/>
                  <a:gd name="T23" fmla="*/ 42 h 48"/>
                  <a:gd name="T24" fmla="*/ 19 w 50"/>
                  <a:gd name="T25" fmla="*/ 33 h 48"/>
                  <a:gd name="T26" fmla="*/ 18 w 50"/>
                  <a:gd name="T27" fmla="*/ 29 h 48"/>
                  <a:gd name="T28" fmla="*/ 31 w 50"/>
                  <a:gd name="T29" fmla="*/ 30 h 48"/>
                  <a:gd name="T30" fmla="*/ 33 w 50"/>
                  <a:gd name="T31" fmla="*/ 25 h 48"/>
                  <a:gd name="T32" fmla="*/ 38 w 50"/>
                  <a:gd name="T33" fmla="*/ 20 h 48"/>
                  <a:gd name="T34" fmla="*/ 40 w 50"/>
                  <a:gd name="T35" fmla="*/ 15 h 48"/>
                  <a:gd name="T36" fmla="*/ 42 w 50"/>
                  <a:gd name="T37"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48">
                    <a:moveTo>
                      <a:pt x="42" y="12"/>
                    </a:moveTo>
                    <a:cubicBezTo>
                      <a:pt x="46" y="11"/>
                      <a:pt x="50" y="9"/>
                      <a:pt x="50" y="6"/>
                    </a:cubicBezTo>
                    <a:cubicBezTo>
                      <a:pt x="50" y="3"/>
                      <a:pt x="44" y="2"/>
                      <a:pt x="41" y="3"/>
                    </a:cubicBezTo>
                    <a:cubicBezTo>
                      <a:pt x="39" y="3"/>
                      <a:pt x="36" y="3"/>
                      <a:pt x="34" y="3"/>
                    </a:cubicBezTo>
                    <a:cubicBezTo>
                      <a:pt x="31" y="3"/>
                      <a:pt x="30" y="2"/>
                      <a:pt x="27" y="2"/>
                    </a:cubicBezTo>
                    <a:cubicBezTo>
                      <a:pt x="22" y="0"/>
                      <a:pt x="17" y="2"/>
                      <a:pt x="12" y="4"/>
                    </a:cubicBezTo>
                    <a:cubicBezTo>
                      <a:pt x="9" y="5"/>
                      <a:pt x="5" y="7"/>
                      <a:pt x="7" y="9"/>
                    </a:cubicBezTo>
                    <a:cubicBezTo>
                      <a:pt x="8" y="11"/>
                      <a:pt x="12" y="14"/>
                      <a:pt x="8" y="15"/>
                    </a:cubicBezTo>
                    <a:cubicBezTo>
                      <a:pt x="3" y="17"/>
                      <a:pt x="3" y="21"/>
                      <a:pt x="2" y="25"/>
                    </a:cubicBezTo>
                    <a:cubicBezTo>
                      <a:pt x="2" y="30"/>
                      <a:pt x="0" y="35"/>
                      <a:pt x="1" y="40"/>
                    </a:cubicBezTo>
                    <a:cubicBezTo>
                      <a:pt x="2" y="42"/>
                      <a:pt x="3" y="48"/>
                      <a:pt x="7" y="48"/>
                    </a:cubicBezTo>
                    <a:cubicBezTo>
                      <a:pt x="10" y="48"/>
                      <a:pt x="15" y="44"/>
                      <a:pt x="17" y="42"/>
                    </a:cubicBezTo>
                    <a:cubicBezTo>
                      <a:pt x="20" y="40"/>
                      <a:pt x="21" y="35"/>
                      <a:pt x="19" y="33"/>
                    </a:cubicBezTo>
                    <a:cubicBezTo>
                      <a:pt x="18" y="32"/>
                      <a:pt x="14" y="29"/>
                      <a:pt x="18" y="29"/>
                    </a:cubicBezTo>
                    <a:cubicBezTo>
                      <a:pt x="22" y="29"/>
                      <a:pt x="28" y="35"/>
                      <a:pt x="31" y="30"/>
                    </a:cubicBezTo>
                    <a:cubicBezTo>
                      <a:pt x="32" y="29"/>
                      <a:pt x="32" y="27"/>
                      <a:pt x="33" y="25"/>
                    </a:cubicBezTo>
                    <a:cubicBezTo>
                      <a:pt x="34" y="23"/>
                      <a:pt x="36" y="22"/>
                      <a:pt x="38" y="20"/>
                    </a:cubicBezTo>
                    <a:cubicBezTo>
                      <a:pt x="38" y="18"/>
                      <a:pt x="40" y="17"/>
                      <a:pt x="40" y="15"/>
                    </a:cubicBezTo>
                    <a:cubicBezTo>
                      <a:pt x="40" y="13"/>
                      <a:pt x="39" y="13"/>
                      <a:pt x="42"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2" name="Freeform 83"/>
              <p:cNvSpPr>
                <a:spLocks/>
              </p:cNvSpPr>
              <p:nvPr/>
            </p:nvSpPr>
            <p:spPr bwMode="auto">
              <a:xfrm>
                <a:off x="3011488" y="3895725"/>
                <a:ext cx="23813" cy="19050"/>
              </a:xfrm>
              <a:custGeom>
                <a:avLst/>
                <a:gdLst>
                  <a:gd name="T0" fmla="*/ 9 w 31"/>
                  <a:gd name="T1" fmla="*/ 5 h 25"/>
                  <a:gd name="T2" fmla="*/ 7 w 31"/>
                  <a:gd name="T3" fmla="*/ 20 h 25"/>
                  <a:gd name="T4" fmla="*/ 26 w 31"/>
                  <a:gd name="T5" fmla="*/ 19 h 25"/>
                  <a:gd name="T6" fmla="*/ 22 w 31"/>
                  <a:gd name="T7" fmla="*/ 4 h 25"/>
                  <a:gd name="T8" fmla="*/ 9 w 31"/>
                  <a:gd name="T9" fmla="*/ 5 h 25"/>
                </a:gdLst>
                <a:ahLst/>
                <a:cxnLst>
                  <a:cxn ang="0">
                    <a:pos x="T0" y="T1"/>
                  </a:cxn>
                  <a:cxn ang="0">
                    <a:pos x="T2" y="T3"/>
                  </a:cxn>
                  <a:cxn ang="0">
                    <a:pos x="T4" y="T5"/>
                  </a:cxn>
                  <a:cxn ang="0">
                    <a:pos x="T6" y="T7"/>
                  </a:cxn>
                  <a:cxn ang="0">
                    <a:pos x="T8" y="T9"/>
                  </a:cxn>
                </a:cxnLst>
                <a:rect l="0" t="0" r="r" b="b"/>
                <a:pathLst>
                  <a:path w="31" h="25">
                    <a:moveTo>
                      <a:pt x="9" y="5"/>
                    </a:moveTo>
                    <a:cubicBezTo>
                      <a:pt x="7" y="9"/>
                      <a:pt x="0" y="18"/>
                      <a:pt x="7" y="20"/>
                    </a:cubicBezTo>
                    <a:cubicBezTo>
                      <a:pt x="12" y="22"/>
                      <a:pt x="22" y="25"/>
                      <a:pt x="26" y="19"/>
                    </a:cubicBezTo>
                    <a:cubicBezTo>
                      <a:pt x="31" y="12"/>
                      <a:pt x="25" y="9"/>
                      <a:pt x="22" y="4"/>
                    </a:cubicBezTo>
                    <a:cubicBezTo>
                      <a:pt x="20" y="1"/>
                      <a:pt x="11" y="0"/>
                      <a:pt x="9"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3" name="Freeform 84"/>
              <p:cNvSpPr>
                <a:spLocks/>
              </p:cNvSpPr>
              <p:nvPr/>
            </p:nvSpPr>
            <p:spPr bwMode="auto">
              <a:xfrm>
                <a:off x="3414713" y="3898900"/>
                <a:ext cx="4763" cy="6350"/>
              </a:xfrm>
              <a:custGeom>
                <a:avLst/>
                <a:gdLst>
                  <a:gd name="T0" fmla="*/ 5 w 6"/>
                  <a:gd name="T1" fmla="*/ 7 h 8"/>
                  <a:gd name="T2" fmla="*/ 5 w 6"/>
                  <a:gd name="T3" fmla="*/ 4 h 8"/>
                  <a:gd name="T4" fmla="*/ 2 w 6"/>
                  <a:gd name="T5" fmla="*/ 1 h 8"/>
                  <a:gd name="T6" fmla="*/ 2 w 6"/>
                  <a:gd name="T7" fmla="*/ 6 h 8"/>
                  <a:gd name="T8" fmla="*/ 5 w 6"/>
                  <a:gd name="T9" fmla="*/ 7 h 8"/>
                </a:gdLst>
                <a:ahLst/>
                <a:cxnLst>
                  <a:cxn ang="0">
                    <a:pos x="T0" y="T1"/>
                  </a:cxn>
                  <a:cxn ang="0">
                    <a:pos x="T2" y="T3"/>
                  </a:cxn>
                  <a:cxn ang="0">
                    <a:pos x="T4" y="T5"/>
                  </a:cxn>
                  <a:cxn ang="0">
                    <a:pos x="T6" y="T7"/>
                  </a:cxn>
                  <a:cxn ang="0">
                    <a:pos x="T8" y="T9"/>
                  </a:cxn>
                </a:cxnLst>
                <a:rect l="0" t="0" r="r" b="b"/>
                <a:pathLst>
                  <a:path w="6" h="8">
                    <a:moveTo>
                      <a:pt x="5" y="7"/>
                    </a:moveTo>
                    <a:cubicBezTo>
                      <a:pt x="6" y="7"/>
                      <a:pt x="5" y="5"/>
                      <a:pt x="5" y="4"/>
                    </a:cubicBezTo>
                    <a:cubicBezTo>
                      <a:pt x="5" y="2"/>
                      <a:pt x="3" y="1"/>
                      <a:pt x="2" y="1"/>
                    </a:cubicBezTo>
                    <a:cubicBezTo>
                      <a:pt x="0" y="0"/>
                      <a:pt x="2" y="5"/>
                      <a:pt x="2" y="6"/>
                    </a:cubicBezTo>
                    <a:cubicBezTo>
                      <a:pt x="3" y="7"/>
                      <a:pt x="4" y="8"/>
                      <a:pt x="5"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4" name="Freeform 85"/>
              <p:cNvSpPr>
                <a:spLocks/>
              </p:cNvSpPr>
              <p:nvPr/>
            </p:nvSpPr>
            <p:spPr bwMode="auto">
              <a:xfrm>
                <a:off x="2974976" y="3835400"/>
                <a:ext cx="30163" cy="25400"/>
              </a:xfrm>
              <a:custGeom>
                <a:avLst/>
                <a:gdLst>
                  <a:gd name="T0" fmla="*/ 29 w 40"/>
                  <a:gd name="T1" fmla="*/ 13 h 34"/>
                  <a:gd name="T2" fmla="*/ 25 w 40"/>
                  <a:gd name="T3" fmla="*/ 7 h 34"/>
                  <a:gd name="T4" fmla="*/ 22 w 40"/>
                  <a:gd name="T5" fmla="*/ 8 h 34"/>
                  <a:gd name="T6" fmla="*/ 18 w 40"/>
                  <a:gd name="T7" fmla="*/ 8 h 34"/>
                  <a:gd name="T8" fmla="*/ 16 w 40"/>
                  <a:gd name="T9" fmla="*/ 2 h 34"/>
                  <a:gd name="T10" fmla="*/ 13 w 40"/>
                  <a:gd name="T11" fmla="*/ 1 h 34"/>
                  <a:gd name="T12" fmla="*/ 6 w 40"/>
                  <a:gd name="T13" fmla="*/ 2 h 34"/>
                  <a:gd name="T14" fmla="*/ 0 w 40"/>
                  <a:gd name="T15" fmla="*/ 9 h 34"/>
                  <a:gd name="T16" fmla="*/ 5 w 40"/>
                  <a:gd name="T17" fmla="*/ 12 h 34"/>
                  <a:gd name="T18" fmla="*/ 9 w 40"/>
                  <a:gd name="T19" fmla="*/ 19 h 34"/>
                  <a:gd name="T20" fmla="*/ 5 w 40"/>
                  <a:gd name="T21" fmla="*/ 20 h 34"/>
                  <a:gd name="T22" fmla="*/ 1 w 40"/>
                  <a:gd name="T23" fmla="*/ 23 h 34"/>
                  <a:gd name="T24" fmla="*/ 15 w 40"/>
                  <a:gd name="T25" fmla="*/ 28 h 34"/>
                  <a:gd name="T26" fmla="*/ 17 w 40"/>
                  <a:gd name="T27" fmla="*/ 25 h 34"/>
                  <a:gd name="T28" fmla="*/ 21 w 40"/>
                  <a:gd name="T29" fmla="*/ 25 h 34"/>
                  <a:gd name="T30" fmla="*/ 25 w 40"/>
                  <a:gd name="T31" fmla="*/ 26 h 34"/>
                  <a:gd name="T32" fmla="*/ 29 w 40"/>
                  <a:gd name="T33" fmla="*/ 27 h 34"/>
                  <a:gd name="T34" fmla="*/ 34 w 40"/>
                  <a:gd name="T35" fmla="*/ 34 h 34"/>
                  <a:gd name="T36" fmla="*/ 38 w 40"/>
                  <a:gd name="T37" fmla="*/ 27 h 34"/>
                  <a:gd name="T38" fmla="*/ 36 w 40"/>
                  <a:gd name="T39" fmla="*/ 25 h 34"/>
                  <a:gd name="T40" fmla="*/ 35 w 40"/>
                  <a:gd name="T41" fmla="*/ 19 h 34"/>
                  <a:gd name="T42" fmla="*/ 29 w 40"/>
                  <a:gd name="T43" fmla="*/ 1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34">
                    <a:moveTo>
                      <a:pt x="29" y="13"/>
                    </a:moveTo>
                    <a:cubicBezTo>
                      <a:pt x="26" y="11"/>
                      <a:pt x="29" y="8"/>
                      <a:pt x="25" y="7"/>
                    </a:cubicBezTo>
                    <a:cubicBezTo>
                      <a:pt x="24" y="6"/>
                      <a:pt x="23" y="8"/>
                      <a:pt x="22" y="8"/>
                    </a:cubicBezTo>
                    <a:cubicBezTo>
                      <a:pt x="21" y="10"/>
                      <a:pt x="19" y="9"/>
                      <a:pt x="18" y="8"/>
                    </a:cubicBezTo>
                    <a:cubicBezTo>
                      <a:pt x="18" y="6"/>
                      <a:pt x="18" y="3"/>
                      <a:pt x="16" y="2"/>
                    </a:cubicBezTo>
                    <a:cubicBezTo>
                      <a:pt x="15" y="2"/>
                      <a:pt x="14" y="1"/>
                      <a:pt x="13" y="1"/>
                    </a:cubicBezTo>
                    <a:cubicBezTo>
                      <a:pt x="11" y="0"/>
                      <a:pt x="8" y="1"/>
                      <a:pt x="6" y="2"/>
                    </a:cubicBezTo>
                    <a:cubicBezTo>
                      <a:pt x="2" y="4"/>
                      <a:pt x="1" y="6"/>
                      <a:pt x="0" y="9"/>
                    </a:cubicBezTo>
                    <a:cubicBezTo>
                      <a:pt x="0" y="13"/>
                      <a:pt x="3" y="11"/>
                      <a:pt x="5" y="12"/>
                    </a:cubicBezTo>
                    <a:cubicBezTo>
                      <a:pt x="7" y="13"/>
                      <a:pt x="14" y="17"/>
                      <a:pt x="9" y="19"/>
                    </a:cubicBezTo>
                    <a:cubicBezTo>
                      <a:pt x="8" y="20"/>
                      <a:pt x="6" y="20"/>
                      <a:pt x="5" y="20"/>
                    </a:cubicBezTo>
                    <a:cubicBezTo>
                      <a:pt x="3" y="21"/>
                      <a:pt x="1" y="22"/>
                      <a:pt x="1" y="23"/>
                    </a:cubicBezTo>
                    <a:cubicBezTo>
                      <a:pt x="1" y="26"/>
                      <a:pt x="11" y="31"/>
                      <a:pt x="15" y="28"/>
                    </a:cubicBezTo>
                    <a:cubicBezTo>
                      <a:pt x="16" y="28"/>
                      <a:pt x="16" y="26"/>
                      <a:pt x="17" y="25"/>
                    </a:cubicBezTo>
                    <a:cubicBezTo>
                      <a:pt x="18" y="24"/>
                      <a:pt x="20" y="24"/>
                      <a:pt x="21" y="25"/>
                    </a:cubicBezTo>
                    <a:cubicBezTo>
                      <a:pt x="22" y="26"/>
                      <a:pt x="23" y="26"/>
                      <a:pt x="25" y="26"/>
                    </a:cubicBezTo>
                    <a:cubicBezTo>
                      <a:pt x="27" y="26"/>
                      <a:pt x="29" y="26"/>
                      <a:pt x="29" y="27"/>
                    </a:cubicBezTo>
                    <a:cubicBezTo>
                      <a:pt x="29" y="30"/>
                      <a:pt x="29" y="34"/>
                      <a:pt x="34" y="34"/>
                    </a:cubicBezTo>
                    <a:cubicBezTo>
                      <a:pt x="40" y="34"/>
                      <a:pt x="40" y="30"/>
                      <a:pt x="38" y="27"/>
                    </a:cubicBezTo>
                    <a:cubicBezTo>
                      <a:pt x="37" y="26"/>
                      <a:pt x="37" y="25"/>
                      <a:pt x="36" y="25"/>
                    </a:cubicBezTo>
                    <a:cubicBezTo>
                      <a:pt x="34" y="23"/>
                      <a:pt x="35" y="21"/>
                      <a:pt x="35" y="19"/>
                    </a:cubicBezTo>
                    <a:cubicBezTo>
                      <a:pt x="35" y="16"/>
                      <a:pt x="32" y="15"/>
                      <a:pt x="29"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5" name="Freeform 86"/>
              <p:cNvSpPr>
                <a:spLocks/>
              </p:cNvSpPr>
              <p:nvPr/>
            </p:nvSpPr>
            <p:spPr bwMode="auto">
              <a:xfrm>
                <a:off x="2897188" y="3881438"/>
                <a:ext cx="73025" cy="50800"/>
              </a:xfrm>
              <a:custGeom>
                <a:avLst/>
                <a:gdLst>
                  <a:gd name="T0" fmla="*/ 40 w 98"/>
                  <a:gd name="T1" fmla="*/ 21 h 66"/>
                  <a:gd name="T2" fmla="*/ 33 w 98"/>
                  <a:gd name="T3" fmla="*/ 21 h 66"/>
                  <a:gd name="T4" fmla="*/ 27 w 98"/>
                  <a:gd name="T5" fmla="*/ 18 h 66"/>
                  <a:gd name="T6" fmla="*/ 21 w 98"/>
                  <a:gd name="T7" fmla="*/ 25 h 66"/>
                  <a:gd name="T8" fmla="*/ 13 w 98"/>
                  <a:gd name="T9" fmla="*/ 33 h 66"/>
                  <a:gd name="T10" fmla="*/ 18 w 98"/>
                  <a:gd name="T11" fmla="*/ 35 h 66"/>
                  <a:gd name="T12" fmla="*/ 12 w 98"/>
                  <a:gd name="T13" fmla="*/ 39 h 66"/>
                  <a:gd name="T14" fmla="*/ 17 w 98"/>
                  <a:gd name="T15" fmla="*/ 41 h 66"/>
                  <a:gd name="T16" fmla="*/ 5 w 98"/>
                  <a:gd name="T17" fmla="*/ 45 h 66"/>
                  <a:gd name="T18" fmla="*/ 7 w 98"/>
                  <a:gd name="T19" fmla="*/ 51 h 66"/>
                  <a:gd name="T20" fmla="*/ 11 w 98"/>
                  <a:gd name="T21" fmla="*/ 51 h 66"/>
                  <a:gd name="T22" fmla="*/ 13 w 98"/>
                  <a:gd name="T23" fmla="*/ 55 h 66"/>
                  <a:gd name="T24" fmla="*/ 22 w 98"/>
                  <a:gd name="T25" fmla="*/ 50 h 66"/>
                  <a:gd name="T26" fmla="*/ 25 w 98"/>
                  <a:gd name="T27" fmla="*/ 48 h 66"/>
                  <a:gd name="T28" fmla="*/ 29 w 98"/>
                  <a:gd name="T29" fmla="*/ 48 h 66"/>
                  <a:gd name="T30" fmla="*/ 34 w 98"/>
                  <a:gd name="T31" fmla="*/ 48 h 66"/>
                  <a:gd name="T32" fmla="*/ 41 w 98"/>
                  <a:gd name="T33" fmla="*/ 47 h 66"/>
                  <a:gd name="T34" fmla="*/ 29 w 98"/>
                  <a:gd name="T35" fmla="*/ 52 h 66"/>
                  <a:gd name="T36" fmla="*/ 21 w 98"/>
                  <a:gd name="T37" fmla="*/ 61 h 66"/>
                  <a:gd name="T38" fmla="*/ 30 w 98"/>
                  <a:gd name="T39" fmla="*/ 66 h 66"/>
                  <a:gd name="T40" fmla="*/ 37 w 98"/>
                  <a:gd name="T41" fmla="*/ 64 h 66"/>
                  <a:gd name="T42" fmla="*/ 43 w 98"/>
                  <a:gd name="T43" fmla="*/ 58 h 66"/>
                  <a:gd name="T44" fmla="*/ 50 w 98"/>
                  <a:gd name="T45" fmla="*/ 53 h 66"/>
                  <a:gd name="T46" fmla="*/ 55 w 98"/>
                  <a:gd name="T47" fmla="*/ 48 h 66"/>
                  <a:gd name="T48" fmla="*/ 66 w 98"/>
                  <a:gd name="T49" fmla="*/ 47 h 66"/>
                  <a:gd name="T50" fmla="*/ 73 w 98"/>
                  <a:gd name="T51" fmla="*/ 44 h 66"/>
                  <a:gd name="T52" fmla="*/ 85 w 98"/>
                  <a:gd name="T53" fmla="*/ 38 h 66"/>
                  <a:gd name="T54" fmla="*/ 86 w 98"/>
                  <a:gd name="T55" fmla="*/ 18 h 66"/>
                  <a:gd name="T56" fmla="*/ 79 w 98"/>
                  <a:gd name="T57" fmla="*/ 23 h 66"/>
                  <a:gd name="T58" fmla="*/ 74 w 98"/>
                  <a:gd name="T59" fmla="*/ 19 h 66"/>
                  <a:gd name="T60" fmla="*/ 72 w 98"/>
                  <a:gd name="T61" fmla="*/ 16 h 66"/>
                  <a:gd name="T62" fmla="*/ 72 w 98"/>
                  <a:gd name="T63" fmla="*/ 11 h 66"/>
                  <a:gd name="T64" fmla="*/ 73 w 98"/>
                  <a:gd name="T65" fmla="*/ 2 h 66"/>
                  <a:gd name="T66" fmla="*/ 68 w 98"/>
                  <a:gd name="T67" fmla="*/ 5 h 66"/>
                  <a:gd name="T68" fmla="*/ 60 w 98"/>
                  <a:gd name="T69" fmla="*/ 11 h 66"/>
                  <a:gd name="T70" fmla="*/ 59 w 98"/>
                  <a:gd name="T71" fmla="*/ 18 h 66"/>
                  <a:gd name="T72" fmla="*/ 63 w 98"/>
                  <a:gd name="T73" fmla="*/ 19 h 66"/>
                  <a:gd name="T74" fmla="*/ 63 w 98"/>
                  <a:gd name="T75" fmla="*/ 24 h 66"/>
                  <a:gd name="T76" fmla="*/ 66 w 98"/>
                  <a:gd name="T77" fmla="*/ 31 h 66"/>
                  <a:gd name="T78" fmla="*/ 55 w 98"/>
                  <a:gd name="T79" fmla="*/ 33 h 66"/>
                  <a:gd name="T80" fmla="*/ 50 w 98"/>
                  <a:gd name="T81" fmla="*/ 32 h 66"/>
                  <a:gd name="T82" fmla="*/ 50 w 98"/>
                  <a:gd name="T83" fmla="*/ 29 h 66"/>
                  <a:gd name="T84" fmla="*/ 47 w 98"/>
                  <a:gd name="T85" fmla="*/ 27 h 66"/>
                  <a:gd name="T86" fmla="*/ 47 w 98"/>
                  <a:gd name="T87" fmla="*/ 22 h 66"/>
                  <a:gd name="T88" fmla="*/ 40 w 98"/>
                  <a:gd name="T89" fmla="*/ 2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66">
                    <a:moveTo>
                      <a:pt x="40" y="21"/>
                    </a:moveTo>
                    <a:cubicBezTo>
                      <a:pt x="38" y="23"/>
                      <a:pt x="33" y="24"/>
                      <a:pt x="33" y="21"/>
                    </a:cubicBezTo>
                    <a:cubicBezTo>
                      <a:pt x="33" y="18"/>
                      <a:pt x="32" y="17"/>
                      <a:pt x="27" y="18"/>
                    </a:cubicBezTo>
                    <a:cubicBezTo>
                      <a:pt x="24" y="18"/>
                      <a:pt x="24" y="23"/>
                      <a:pt x="21" y="25"/>
                    </a:cubicBezTo>
                    <a:cubicBezTo>
                      <a:pt x="17" y="27"/>
                      <a:pt x="13" y="30"/>
                      <a:pt x="13" y="33"/>
                    </a:cubicBezTo>
                    <a:cubicBezTo>
                      <a:pt x="13" y="35"/>
                      <a:pt x="18" y="33"/>
                      <a:pt x="18" y="35"/>
                    </a:cubicBezTo>
                    <a:cubicBezTo>
                      <a:pt x="18" y="36"/>
                      <a:pt x="11" y="37"/>
                      <a:pt x="12" y="39"/>
                    </a:cubicBezTo>
                    <a:cubicBezTo>
                      <a:pt x="12" y="40"/>
                      <a:pt x="23" y="38"/>
                      <a:pt x="17" y="41"/>
                    </a:cubicBezTo>
                    <a:cubicBezTo>
                      <a:pt x="13" y="42"/>
                      <a:pt x="8" y="42"/>
                      <a:pt x="5" y="45"/>
                    </a:cubicBezTo>
                    <a:cubicBezTo>
                      <a:pt x="0" y="49"/>
                      <a:pt x="4" y="51"/>
                      <a:pt x="7" y="51"/>
                    </a:cubicBezTo>
                    <a:cubicBezTo>
                      <a:pt x="9" y="51"/>
                      <a:pt x="11" y="50"/>
                      <a:pt x="11" y="51"/>
                    </a:cubicBezTo>
                    <a:cubicBezTo>
                      <a:pt x="12" y="52"/>
                      <a:pt x="11" y="54"/>
                      <a:pt x="13" y="55"/>
                    </a:cubicBezTo>
                    <a:cubicBezTo>
                      <a:pt x="16" y="56"/>
                      <a:pt x="19" y="53"/>
                      <a:pt x="22" y="50"/>
                    </a:cubicBezTo>
                    <a:cubicBezTo>
                      <a:pt x="22" y="49"/>
                      <a:pt x="23" y="47"/>
                      <a:pt x="25" y="48"/>
                    </a:cubicBezTo>
                    <a:cubicBezTo>
                      <a:pt x="26" y="49"/>
                      <a:pt x="27" y="49"/>
                      <a:pt x="29" y="48"/>
                    </a:cubicBezTo>
                    <a:cubicBezTo>
                      <a:pt x="31" y="47"/>
                      <a:pt x="32" y="48"/>
                      <a:pt x="34" y="48"/>
                    </a:cubicBezTo>
                    <a:cubicBezTo>
                      <a:pt x="36" y="47"/>
                      <a:pt x="42" y="45"/>
                      <a:pt x="41" y="47"/>
                    </a:cubicBezTo>
                    <a:cubicBezTo>
                      <a:pt x="39" y="51"/>
                      <a:pt x="32" y="49"/>
                      <a:pt x="29" y="52"/>
                    </a:cubicBezTo>
                    <a:cubicBezTo>
                      <a:pt x="27" y="56"/>
                      <a:pt x="20" y="56"/>
                      <a:pt x="21" y="61"/>
                    </a:cubicBezTo>
                    <a:cubicBezTo>
                      <a:pt x="22" y="64"/>
                      <a:pt x="26" y="66"/>
                      <a:pt x="30" y="66"/>
                    </a:cubicBezTo>
                    <a:cubicBezTo>
                      <a:pt x="32" y="66"/>
                      <a:pt x="35" y="65"/>
                      <a:pt x="37" y="64"/>
                    </a:cubicBezTo>
                    <a:cubicBezTo>
                      <a:pt x="40" y="62"/>
                      <a:pt x="41" y="60"/>
                      <a:pt x="43" y="58"/>
                    </a:cubicBezTo>
                    <a:cubicBezTo>
                      <a:pt x="45" y="56"/>
                      <a:pt x="48" y="55"/>
                      <a:pt x="50" y="53"/>
                    </a:cubicBezTo>
                    <a:cubicBezTo>
                      <a:pt x="52" y="52"/>
                      <a:pt x="53" y="50"/>
                      <a:pt x="55" y="48"/>
                    </a:cubicBezTo>
                    <a:cubicBezTo>
                      <a:pt x="59" y="46"/>
                      <a:pt x="62" y="46"/>
                      <a:pt x="66" y="47"/>
                    </a:cubicBezTo>
                    <a:cubicBezTo>
                      <a:pt x="69" y="47"/>
                      <a:pt x="68" y="41"/>
                      <a:pt x="73" y="44"/>
                    </a:cubicBezTo>
                    <a:cubicBezTo>
                      <a:pt x="77" y="46"/>
                      <a:pt x="82" y="42"/>
                      <a:pt x="85" y="38"/>
                    </a:cubicBezTo>
                    <a:cubicBezTo>
                      <a:pt x="89" y="33"/>
                      <a:pt x="98" y="16"/>
                      <a:pt x="86" y="18"/>
                    </a:cubicBezTo>
                    <a:cubicBezTo>
                      <a:pt x="82" y="18"/>
                      <a:pt x="82" y="24"/>
                      <a:pt x="79" y="23"/>
                    </a:cubicBezTo>
                    <a:cubicBezTo>
                      <a:pt x="77" y="23"/>
                      <a:pt x="77" y="19"/>
                      <a:pt x="74" y="19"/>
                    </a:cubicBezTo>
                    <a:cubicBezTo>
                      <a:pt x="72" y="19"/>
                      <a:pt x="71" y="18"/>
                      <a:pt x="72" y="16"/>
                    </a:cubicBezTo>
                    <a:cubicBezTo>
                      <a:pt x="73" y="14"/>
                      <a:pt x="72" y="13"/>
                      <a:pt x="72" y="11"/>
                    </a:cubicBezTo>
                    <a:cubicBezTo>
                      <a:pt x="72" y="8"/>
                      <a:pt x="75" y="4"/>
                      <a:pt x="73" y="2"/>
                    </a:cubicBezTo>
                    <a:cubicBezTo>
                      <a:pt x="70" y="0"/>
                      <a:pt x="68" y="4"/>
                      <a:pt x="68" y="5"/>
                    </a:cubicBezTo>
                    <a:cubicBezTo>
                      <a:pt x="66" y="8"/>
                      <a:pt x="64" y="9"/>
                      <a:pt x="60" y="11"/>
                    </a:cubicBezTo>
                    <a:cubicBezTo>
                      <a:pt x="57" y="13"/>
                      <a:pt x="55" y="17"/>
                      <a:pt x="59" y="18"/>
                    </a:cubicBezTo>
                    <a:cubicBezTo>
                      <a:pt x="60" y="18"/>
                      <a:pt x="62" y="18"/>
                      <a:pt x="63" y="19"/>
                    </a:cubicBezTo>
                    <a:cubicBezTo>
                      <a:pt x="64" y="20"/>
                      <a:pt x="63" y="22"/>
                      <a:pt x="63" y="24"/>
                    </a:cubicBezTo>
                    <a:cubicBezTo>
                      <a:pt x="64" y="27"/>
                      <a:pt x="67" y="28"/>
                      <a:pt x="66" y="31"/>
                    </a:cubicBezTo>
                    <a:cubicBezTo>
                      <a:pt x="64" y="36"/>
                      <a:pt x="58" y="33"/>
                      <a:pt x="55" y="33"/>
                    </a:cubicBezTo>
                    <a:cubicBezTo>
                      <a:pt x="54" y="33"/>
                      <a:pt x="51" y="33"/>
                      <a:pt x="50" y="32"/>
                    </a:cubicBezTo>
                    <a:cubicBezTo>
                      <a:pt x="49" y="31"/>
                      <a:pt x="51" y="30"/>
                      <a:pt x="50" y="29"/>
                    </a:cubicBezTo>
                    <a:cubicBezTo>
                      <a:pt x="50" y="27"/>
                      <a:pt x="47" y="28"/>
                      <a:pt x="47" y="27"/>
                    </a:cubicBezTo>
                    <a:cubicBezTo>
                      <a:pt x="47" y="25"/>
                      <a:pt x="48" y="23"/>
                      <a:pt x="47" y="22"/>
                    </a:cubicBezTo>
                    <a:cubicBezTo>
                      <a:pt x="46" y="20"/>
                      <a:pt x="43" y="19"/>
                      <a:pt x="40" y="2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6" name="Freeform 87"/>
              <p:cNvSpPr>
                <a:spLocks/>
              </p:cNvSpPr>
              <p:nvPr/>
            </p:nvSpPr>
            <p:spPr bwMode="auto">
              <a:xfrm>
                <a:off x="2967038" y="3863975"/>
                <a:ext cx="9525" cy="14288"/>
              </a:xfrm>
              <a:custGeom>
                <a:avLst/>
                <a:gdLst>
                  <a:gd name="T0" fmla="*/ 2 w 13"/>
                  <a:gd name="T1" fmla="*/ 15 h 19"/>
                  <a:gd name="T2" fmla="*/ 12 w 13"/>
                  <a:gd name="T3" fmla="*/ 14 h 19"/>
                  <a:gd name="T4" fmla="*/ 11 w 13"/>
                  <a:gd name="T5" fmla="*/ 10 h 19"/>
                  <a:gd name="T6" fmla="*/ 8 w 13"/>
                  <a:gd name="T7" fmla="*/ 4 h 19"/>
                  <a:gd name="T8" fmla="*/ 2 w 13"/>
                  <a:gd name="T9" fmla="*/ 5 h 19"/>
                  <a:gd name="T10" fmla="*/ 2 w 13"/>
                  <a:gd name="T11" fmla="*/ 8 h 19"/>
                  <a:gd name="T12" fmla="*/ 2 w 13"/>
                  <a:gd name="T13" fmla="*/ 15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2" y="15"/>
                    </a:moveTo>
                    <a:cubicBezTo>
                      <a:pt x="3" y="17"/>
                      <a:pt x="10" y="19"/>
                      <a:pt x="12" y="14"/>
                    </a:cubicBezTo>
                    <a:cubicBezTo>
                      <a:pt x="13" y="12"/>
                      <a:pt x="12" y="11"/>
                      <a:pt x="11" y="10"/>
                    </a:cubicBezTo>
                    <a:cubicBezTo>
                      <a:pt x="10" y="8"/>
                      <a:pt x="9" y="6"/>
                      <a:pt x="8" y="4"/>
                    </a:cubicBezTo>
                    <a:cubicBezTo>
                      <a:pt x="7" y="2"/>
                      <a:pt x="2" y="0"/>
                      <a:pt x="2" y="5"/>
                    </a:cubicBezTo>
                    <a:cubicBezTo>
                      <a:pt x="2" y="6"/>
                      <a:pt x="2" y="7"/>
                      <a:pt x="2" y="8"/>
                    </a:cubicBezTo>
                    <a:cubicBezTo>
                      <a:pt x="2" y="10"/>
                      <a:pt x="0" y="13"/>
                      <a:pt x="2" y="1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7" name="Freeform 88"/>
              <p:cNvSpPr>
                <a:spLocks/>
              </p:cNvSpPr>
              <p:nvPr/>
            </p:nvSpPr>
            <p:spPr bwMode="auto">
              <a:xfrm>
                <a:off x="3014663" y="3757613"/>
                <a:ext cx="188913" cy="155575"/>
              </a:xfrm>
              <a:custGeom>
                <a:avLst/>
                <a:gdLst>
                  <a:gd name="T0" fmla="*/ 26 w 250"/>
                  <a:gd name="T1" fmla="*/ 95 h 206"/>
                  <a:gd name="T2" fmla="*/ 34 w 250"/>
                  <a:gd name="T3" fmla="*/ 113 h 206"/>
                  <a:gd name="T4" fmla="*/ 53 w 250"/>
                  <a:gd name="T5" fmla="*/ 118 h 206"/>
                  <a:gd name="T6" fmla="*/ 73 w 250"/>
                  <a:gd name="T7" fmla="*/ 103 h 206"/>
                  <a:gd name="T8" fmla="*/ 93 w 250"/>
                  <a:gd name="T9" fmla="*/ 104 h 206"/>
                  <a:gd name="T10" fmla="*/ 80 w 250"/>
                  <a:gd name="T11" fmla="*/ 104 h 206"/>
                  <a:gd name="T12" fmla="*/ 83 w 250"/>
                  <a:gd name="T13" fmla="*/ 121 h 206"/>
                  <a:gd name="T14" fmla="*/ 97 w 250"/>
                  <a:gd name="T15" fmla="*/ 141 h 206"/>
                  <a:gd name="T16" fmla="*/ 62 w 250"/>
                  <a:gd name="T17" fmla="*/ 149 h 206"/>
                  <a:gd name="T18" fmla="*/ 29 w 250"/>
                  <a:gd name="T19" fmla="*/ 160 h 206"/>
                  <a:gd name="T20" fmla="*/ 4 w 250"/>
                  <a:gd name="T21" fmla="*/ 160 h 206"/>
                  <a:gd name="T22" fmla="*/ 33 w 250"/>
                  <a:gd name="T23" fmla="*/ 187 h 206"/>
                  <a:gd name="T24" fmla="*/ 59 w 250"/>
                  <a:gd name="T25" fmla="*/ 201 h 206"/>
                  <a:gd name="T26" fmla="*/ 123 w 250"/>
                  <a:gd name="T27" fmla="*/ 201 h 206"/>
                  <a:gd name="T28" fmla="*/ 115 w 250"/>
                  <a:gd name="T29" fmla="*/ 176 h 206"/>
                  <a:gd name="T30" fmla="*/ 62 w 250"/>
                  <a:gd name="T31" fmla="*/ 183 h 206"/>
                  <a:gd name="T32" fmla="*/ 60 w 250"/>
                  <a:gd name="T33" fmla="*/ 162 h 206"/>
                  <a:gd name="T34" fmla="*/ 98 w 250"/>
                  <a:gd name="T35" fmla="*/ 158 h 206"/>
                  <a:gd name="T36" fmla="*/ 133 w 250"/>
                  <a:gd name="T37" fmla="*/ 162 h 206"/>
                  <a:gd name="T38" fmla="*/ 120 w 250"/>
                  <a:gd name="T39" fmla="*/ 142 h 206"/>
                  <a:gd name="T40" fmla="*/ 140 w 250"/>
                  <a:gd name="T41" fmla="*/ 125 h 206"/>
                  <a:gd name="T42" fmla="*/ 161 w 250"/>
                  <a:gd name="T43" fmla="*/ 114 h 206"/>
                  <a:gd name="T44" fmla="*/ 163 w 250"/>
                  <a:gd name="T45" fmla="*/ 96 h 206"/>
                  <a:gd name="T46" fmla="*/ 178 w 250"/>
                  <a:gd name="T47" fmla="*/ 87 h 206"/>
                  <a:gd name="T48" fmla="*/ 195 w 250"/>
                  <a:gd name="T49" fmla="*/ 74 h 206"/>
                  <a:gd name="T50" fmla="*/ 213 w 250"/>
                  <a:gd name="T51" fmla="*/ 59 h 206"/>
                  <a:gd name="T52" fmla="*/ 209 w 250"/>
                  <a:gd name="T53" fmla="*/ 47 h 206"/>
                  <a:gd name="T54" fmla="*/ 223 w 250"/>
                  <a:gd name="T55" fmla="*/ 42 h 206"/>
                  <a:gd name="T56" fmla="*/ 243 w 250"/>
                  <a:gd name="T57" fmla="*/ 33 h 206"/>
                  <a:gd name="T58" fmla="*/ 233 w 250"/>
                  <a:gd name="T59" fmla="*/ 21 h 206"/>
                  <a:gd name="T60" fmla="*/ 216 w 250"/>
                  <a:gd name="T61" fmla="*/ 10 h 206"/>
                  <a:gd name="T62" fmla="*/ 199 w 250"/>
                  <a:gd name="T63" fmla="*/ 14 h 206"/>
                  <a:gd name="T64" fmla="*/ 175 w 250"/>
                  <a:gd name="T65" fmla="*/ 2 h 206"/>
                  <a:gd name="T66" fmla="*/ 158 w 250"/>
                  <a:gd name="T67" fmla="*/ 6 h 206"/>
                  <a:gd name="T68" fmla="*/ 147 w 250"/>
                  <a:gd name="T69" fmla="*/ 11 h 206"/>
                  <a:gd name="T70" fmla="*/ 134 w 250"/>
                  <a:gd name="T71" fmla="*/ 6 h 206"/>
                  <a:gd name="T72" fmla="*/ 112 w 250"/>
                  <a:gd name="T73" fmla="*/ 10 h 206"/>
                  <a:gd name="T74" fmla="*/ 109 w 250"/>
                  <a:gd name="T75" fmla="*/ 23 h 206"/>
                  <a:gd name="T76" fmla="*/ 95 w 250"/>
                  <a:gd name="T77" fmla="*/ 21 h 206"/>
                  <a:gd name="T78" fmla="*/ 87 w 250"/>
                  <a:gd name="T79" fmla="*/ 29 h 206"/>
                  <a:gd name="T80" fmla="*/ 62 w 250"/>
                  <a:gd name="T81" fmla="*/ 32 h 206"/>
                  <a:gd name="T82" fmla="*/ 57 w 250"/>
                  <a:gd name="T83" fmla="*/ 44 h 206"/>
                  <a:gd name="T84" fmla="*/ 63 w 250"/>
                  <a:gd name="T85" fmla="*/ 50 h 206"/>
                  <a:gd name="T86" fmla="*/ 89 w 250"/>
                  <a:gd name="T87" fmla="*/ 49 h 206"/>
                  <a:gd name="T88" fmla="*/ 78 w 250"/>
                  <a:gd name="T89" fmla="*/ 62 h 206"/>
                  <a:gd name="T90" fmla="*/ 85 w 250"/>
                  <a:gd name="T91" fmla="*/ 66 h 206"/>
                  <a:gd name="T92" fmla="*/ 127 w 250"/>
                  <a:gd name="T93" fmla="*/ 57 h 206"/>
                  <a:gd name="T94" fmla="*/ 131 w 250"/>
                  <a:gd name="T95" fmla="*/ 56 h 206"/>
                  <a:gd name="T96" fmla="*/ 123 w 250"/>
                  <a:gd name="T97" fmla="*/ 66 h 206"/>
                  <a:gd name="T98" fmla="*/ 117 w 250"/>
                  <a:gd name="T99" fmla="*/ 87 h 206"/>
                  <a:gd name="T100" fmla="*/ 84 w 250"/>
                  <a:gd name="T101" fmla="*/ 83 h 206"/>
                  <a:gd name="T102" fmla="*/ 75 w 250"/>
                  <a:gd name="T103" fmla="*/ 75 h 206"/>
                  <a:gd name="T104" fmla="*/ 66 w 250"/>
                  <a:gd name="T105" fmla="*/ 70 h 206"/>
                  <a:gd name="T106" fmla="*/ 46 w 250"/>
                  <a:gd name="T107" fmla="*/ 50 h 206"/>
                  <a:gd name="T108" fmla="*/ 32 w 250"/>
                  <a:gd name="T109" fmla="*/ 58 h 206"/>
                  <a:gd name="T110" fmla="*/ 24 w 250"/>
                  <a:gd name="T111" fmla="*/ 77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0" h="206">
                    <a:moveTo>
                      <a:pt x="20" y="89"/>
                    </a:moveTo>
                    <a:cubicBezTo>
                      <a:pt x="22" y="90"/>
                      <a:pt x="25" y="88"/>
                      <a:pt x="27" y="88"/>
                    </a:cubicBezTo>
                    <a:cubicBezTo>
                      <a:pt x="28" y="89"/>
                      <a:pt x="26" y="90"/>
                      <a:pt x="25" y="91"/>
                    </a:cubicBezTo>
                    <a:cubicBezTo>
                      <a:pt x="23" y="92"/>
                      <a:pt x="20" y="92"/>
                      <a:pt x="19" y="93"/>
                    </a:cubicBezTo>
                    <a:cubicBezTo>
                      <a:pt x="18" y="94"/>
                      <a:pt x="19" y="94"/>
                      <a:pt x="20" y="95"/>
                    </a:cubicBezTo>
                    <a:cubicBezTo>
                      <a:pt x="22" y="95"/>
                      <a:pt x="24" y="95"/>
                      <a:pt x="26" y="95"/>
                    </a:cubicBezTo>
                    <a:cubicBezTo>
                      <a:pt x="32" y="93"/>
                      <a:pt x="35" y="91"/>
                      <a:pt x="40" y="93"/>
                    </a:cubicBezTo>
                    <a:cubicBezTo>
                      <a:pt x="43" y="94"/>
                      <a:pt x="47" y="97"/>
                      <a:pt x="40" y="98"/>
                    </a:cubicBezTo>
                    <a:cubicBezTo>
                      <a:pt x="36" y="98"/>
                      <a:pt x="34" y="99"/>
                      <a:pt x="31" y="101"/>
                    </a:cubicBezTo>
                    <a:cubicBezTo>
                      <a:pt x="29" y="103"/>
                      <a:pt x="26" y="105"/>
                      <a:pt x="30" y="106"/>
                    </a:cubicBezTo>
                    <a:cubicBezTo>
                      <a:pt x="33" y="108"/>
                      <a:pt x="26" y="111"/>
                      <a:pt x="29" y="113"/>
                    </a:cubicBezTo>
                    <a:cubicBezTo>
                      <a:pt x="30" y="113"/>
                      <a:pt x="32" y="113"/>
                      <a:pt x="34" y="113"/>
                    </a:cubicBezTo>
                    <a:cubicBezTo>
                      <a:pt x="35" y="114"/>
                      <a:pt x="35" y="114"/>
                      <a:pt x="36" y="114"/>
                    </a:cubicBezTo>
                    <a:cubicBezTo>
                      <a:pt x="38" y="114"/>
                      <a:pt x="38" y="113"/>
                      <a:pt x="39" y="113"/>
                    </a:cubicBezTo>
                    <a:cubicBezTo>
                      <a:pt x="40" y="116"/>
                      <a:pt x="33" y="117"/>
                      <a:pt x="32" y="119"/>
                    </a:cubicBezTo>
                    <a:cubicBezTo>
                      <a:pt x="31" y="123"/>
                      <a:pt x="42" y="123"/>
                      <a:pt x="46" y="123"/>
                    </a:cubicBezTo>
                    <a:cubicBezTo>
                      <a:pt x="49" y="123"/>
                      <a:pt x="50" y="122"/>
                      <a:pt x="51" y="120"/>
                    </a:cubicBezTo>
                    <a:cubicBezTo>
                      <a:pt x="51" y="119"/>
                      <a:pt x="52" y="116"/>
                      <a:pt x="53" y="118"/>
                    </a:cubicBezTo>
                    <a:cubicBezTo>
                      <a:pt x="54" y="119"/>
                      <a:pt x="56" y="121"/>
                      <a:pt x="59" y="120"/>
                    </a:cubicBezTo>
                    <a:cubicBezTo>
                      <a:pt x="60" y="119"/>
                      <a:pt x="58" y="117"/>
                      <a:pt x="59" y="116"/>
                    </a:cubicBezTo>
                    <a:cubicBezTo>
                      <a:pt x="62" y="116"/>
                      <a:pt x="61" y="120"/>
                      <a:pt x="64" y="119"/>
                    </a:cubicBezTo>
                    <a:cubicBezTo>
                      <a:pt x="66" y="119"/>
                      <a:pt x="68" y="117"/>
                      <a:pt x="69" y="116"/>
                    </a:cubicBezTo>
                    <a:cubicBezTo>
                      <a:pt x="71" y="115"/>
                      <a:pt x="71" y="112"/>
                      <a:pt x="70" y="111"/>
                    </a:cubicBezTo>
                    <a:cubicBezTo>
                      <a:pt x="70" y="110"/>
                      <a:pt x="70" y="102"/>
                      <a:pt x="73" y="103"/>
                    </a:cubicBezTo>
                    <a:cubicBezTo>
                      <a:pt x="75" y="104"/>
                      <a:pt x="74" y="106"/>
                      <a:pt x="76" y="107"/>
                    </a:cubicBezTo>
                    <a:cubicBezTo>
                      <a:pt x="77" y="105"/>
                      <a:pt x="77" y="103"/>
                      <a:pt x="81" y="101"/>
                    </a:cubicBezTo>
                    <a:cubicBezTo>
                      <a:pt x="83" y="101"/>
                      <a:pt x="86" y="102"/>
                      <a:pt x="87" y="101"/>
                    </a:cubicBezTo>
                    <a:cubicBezTo>
                      <a:pt x="88" y="100"/>
                      <a:pt x="89" y="99"/>
                      <a:pt x="91" y="99"/>
                    </a:cubicBezTo>
                    <a:cubicBezTo>
                      <a:pt x="91" y="101"/>
                      <a:pt x="91" y="102"/>
                      <a:pt x="90" y="104"/>
                    </a:cubicBezTo>
                    <a:cubicBezTo>
                      <a:pt x="89" y="105"/>
                      <a:pt x="93" y="104"/>
                      <a:pt x="93" y="104"/>
                    </a:cubicBezTo>
                    <a:cubicBezTo>
                      <a:pt x="97" y="104"/>
                      <a:pt x="102" y="103"/>
                      <a:pt x="105" y="104"/>
                    </a:cubicBezTo>
                    <a:cubicBezTo>
                      <a:pt x="108" y="105"/>
                      <a:pt x="109" y="107"/>
                      <a:pt x="106" y="108"/>
                    </a:cubicBezTo>
                    <a:cubicBezTo>
                      <a:pt x="103" y="108"/>
                      <a:pt x="99" y="108"/>
                      <a:pt x="96" y="107"/>
                    </a:cubicBezTo>
                    <a:cubicBezTo>
                      <a:pt x="94" y="107"/>
                      <a:pt x="91" y="107"/>
                      <a:pt x="88" y="106"/>
                    </a:cubicBezTo>
                    <a:cubicBezTo>
                      <a:pt x="87" y="106"/>
                      <a:pt x="86" y="105"/>
                      <a:pt x="85" y="104"/>
                    </a:cubicBezTo>
                    <a:cubicBezTo>
                      <a:pt x="84" y="103"/>
                      <a:pt x="81" y="103"/>
                      <a:pt x="80" y="104"/>
                    </a:cubicBezTo>
                    <a:cubicBezTo>
                      <a:pt x="78" y="106"/>
                      <a:pt x="81" y="107"/>
                      <a:pt x="79" y="109"/>
                    </a:cubicBezTo>
                    <a:cubicBezTo>
                      <a:pt x="77" y="109"/>
                      <a:pt x="73" y="109"/>
                      <a:pt x="73" y="110"/>
                    </a:cubicBezTo>
                    <a:cubicBezTo>
                      <a:pt x="72" y="111"/>
                      <a:pt x="74" y="113"/>
                      <a:pt x="73" y="114"/>
                    </a:cubicBezTo>
                    <a:cubicBezTo>
                      <a:pt x="73" y="116"/>
                      <a:pt x="72" y="117"/>
                      <a:pt x="73" y="119"/>
                    </a:cubicBezTo>
                    <a:cubicBezTo>
                      <a:pt x="74" y="121"/>
                      <a:pt x="76" y="122"/>
                      <a:pt x="79" y="122"/>
                    </a:cubicBezTo>
                    <a:cubicBezTo>
                      <a:pt x="80" y="122"/>
                      <a:pt x="82" y="120"/>
                      <a:pt x="83" y="121"/>
                    </a:cubicBezTo>
                    <a:cubicBezTo>
                      <a:pt x="84" y="121"/>
                      <a:pt x="86" y="122"/>
                      <a:pt x="87" y="121"/>
                    </a:cubicBezTo>
                    <a:cubicBezTo>
                      <a:pt x="91" y="121"/>
                      <a:pt x="94" y="120"/>
                      <a:pt x="93" y="123"/>
                    </a:cubicBezTo>
                    <a:cubicBezTo>
                      <a:pt x="92" y="126"/>
                      <a:pt x="86" y="128"/>
                      <a:pt x="89" y="131"/>
                    </a:cubicBezTo>
                    <a:cubicBezTo>
                      <a:pt x="91" y="132"/>
                      <a:pt x="91" y="133"/>
                      <a:pt x="93" y="134"/>
                    </a:cubicBezTo>
                    <a:cubicBezTo>
                      <a:pt x="94" y="136"/>
                      <a:pt x="96" y="136"/>
                      <a:pt x="100" y="136"/>
                    </a:cubicBezTo>
                    <a:cubicBezTo>
                      <a:pt x="104" y="137"/>
                      <a:pt x="98" y="140"/>
                      <a:pt x="97" y="141"/>
                    </a:cubicBezTo>
                    <a:cubicBezTo>
                      <a:pt x="92" y="143"/>
                      <a:pt x="87" y="140"/>
                      <a:pt x="86" y="137"/>
                    </a:cubicBezTo>
                    <a:cubicBezTo>
                      <a:pt x="84" y="135"/>
                      <a:pt x="83" y="132"/>
                      <a:pt x="80" y="130"/>
                    </a:cubicBezTo>
                    <a:cubicBezTo>
                      <a:pt x="75" y="128"/>
                      <a:pt x="70" y="130"/>
                      <a:pt x="66" y="132"/>
                    </a:cubicBezTo>
                    <a:cubicBezTo>
                      <a:pt x="62" y="135"/>
                      <a:pt x="66" y="137"/>
                      <a:pt x="68" y="139"/>
                    </a:cubicBezTo>
                    <a:cubicBezTo>
                      <a:pt x="71" y="142"/>
                      <a:pt x="69" y="144"/>
                      <a:pt x="65" y="146"/>
                    </a:cubicBezTo>
                    <a:cubicBezTo>
                      <a:pt x="63" y="147"/>
                      <a:pt x="63" y="148"/>
                      <a:pt x="62" y="149"/>
                    </a:cubicBezTo>
                    <a:cubicBezTo>
                      <a:pt x="61" y="151"/>
                      <a:pt x="58" y="151"/>
                      <a:pt x="57" y="152"/>
                    </a:cubicBezTo>
                    <a:cubicBezTo>
                      <a:pt x="55" y="154"/>
                      <a:pt x="56" y="155"/>
                      <a:pt x="55" y="157"/>
                    </a:cubicBezTo>
                    <a:cubicBezTo>
                      <a:pt x="53" y="158"/>
                      <a:pt x="52" y="159"/>
                      <a:pt x="49" y="158"/>
                    </a:cubicBezTo>
                    <a:cubicBezTo>
                      <a:pt x="48" y="157"/>
                      <a:pt x="47" y="156"/>
                      <a:pt x="45" y="156"/>
                    </a:cubicBezTo>
                    <a:cubicBezTo>
                      <a:pt x="42" y="155"/>
                      <a:pt x="40" y="157"/>
                      <a:pt x="37" y="158"/>
                    </a:cubicBezTo>
                    <a:cubicBezTo>
                      <a:pt x="35" y="159"/>
                      <a:pt x="32" y="159"/>
                      <a:pt x="29" y="160"/>
                    </a:cubicBezTo>
                    <a:cubicBezTo>
                      <a:pt x="28" y="160"/>
                      <a:pt x="24" y="161"/>
                      <a:pt x="25" y="159"/>
                    </a:cubicBezTo>
                    <a:cubicBezTo>
                      <a:pt x="25" y="156"/>
                      <a:pt x="26" y="154"/>
                      <a:pt x="21" y="152"/>
                    </a:cubicBezTo>
                    <a:cubicBezTo>
                      <a:pt x="20" y="151"/>
                      <a:pt x="18" y="152"/>
                      <a:pt x="16" y="152"/>
                    </a:cubicBezTo>
                    <a:cubicBezTo>
                      <a:pt x="12" y="153"/>
                      <a:pt x="11" y="152"/>
                      <a:pt x="8" y="152"/>
                    </a:cubicBezTo>
                    <a:cubicBezTo>
                      <a:pt x="3" y="152"/>
                      <a:pt x="0" y="154"/>
                      <a:pt x="1" y="157"/>
                    </a:cubicBezTo>
                    <a:cubicBezTo>
                      <a:pt x="2" y="159"/>
                      <a:pt x="4" y="159"/>
                      <a:pt x="4" y="160"/>
                    </a:cubicBezTo>
                    <a:cubicBezTo>
                      <a:pt x="5" y="162"/>
                      <a:pt x="5" y="165"/>
                      <a:pt x="8" y="166"/>
                    </a:cubicBezTo>
                    <a:cubicBezTo>
                      <a:pt x="10" y="167"/>
                      <a:pt x="11" y="167"/>
                      <a:pt x="13" y="169"/>
                    </a:cubicBezTo>
                    <a:cubicBezTo>
                      <a:pt x="14" y="170"/>
                      <a:pt x="16" y="171"/>
                      <a:pt x="19" y="170"/>
                    </a:cubicBezTo>
                    <a:cubicBezTo>
                      <a:pt x="22" y="169"/>
                      <a:pt x="27" y="165"/>
                      <a:pt x="29" y="168"/>
                    </a:cubicBezTo>
                    <a:cubicBezTo>
                      <a:pt x="30" y="170"/>
                      <a:pt x="30" y="173"/>
                      <a:pt x="33" y="175"/>
                    </a:cubicBezTo>
                    <a:cubicBezTo>
                      <a:pt x="37" y="178"/>
                      <a:pt x="34" y="182"/>
                      <a:pt x="33" y="187"/>
                    </a:cubicBezTo>
                    <a:cubicBezTo>
                      <a:pt x="32" y="191"/>
                      <a:pt x="33" y="195"/>
                      <a:pt x="34" y="198"/>
                    </a:cubicBezTo>
                    <a:cubicBezTo>
                      <a:pt x="35" y="200"/>
                      <a:pt x="36" y="201"/>
                      <a:pt x="37" y="203"/>
                    </a:cubicBezTo>
                    <a:cubicBezTo>
                      <a:pt x="38" y="205"/>
                      <a:pt x="40" y="203"/>
                      <a:pt x="42" y="204"/>
                    </a:cubicBezTo>
                    <a:cubicBezTo>
                      <a:pt x="44" y="204"/>
                      <a:pt x="45" y="206"/>
                      <a:pt x="47" y="204"/>
                    </a:cubicBezTo>
                    <a:cubicBezTo>
                      <a:pt x="49" y="202"/>
                      <a:pt x="50" y="201"/>
                      <a:pt x="53" y="200"/>
                    </a:cubicBezTo>
                    <a:cubicBezTo>
                      <a:pt x="55" y="200"/>
                      <a:pt x="57" y="199"/>
                      <a:pt x="59" y="201"/>
                    </a:cubicBezTo>
                    <a:cubicBezTo>
                      <a:pt x="61" y="203"/>
                      <a:pt x="57" y="204"/>
                      <a:pt x="62" y="205"/>
                    </a:cubicBezTo>
                    <a:cubicBezTo>
                      <a:pt x="68" y="206"/>
                      <a:pt x="74" y="205"/>
                      <a:pt x="81" y="205"/>
                    </a:cubicBezTo>
                    <a:cubicBezTo>
                      <a:pt x="86" y="205"/>
                      <a:pt x="90" y="204"/>
                      <a:pt x="95" y="204"/>
                    </a:cubicBezTo>
                    <a:cubicBezTo>
                      <a:pt x="98" y="204"/>
                      <a:pt x="104" y="203"/>
                      <a:pt x="104" y="201"/>
                    </a:cubicBezTo>
                    <a:cubicBezTo>
                      <a:pt x="104" y="196"/>
                      <a:pt x="105" y="199"/>
                      <a:pt x="107" y="201"/>
                    </a:cubicBezTo>
                    <a:cubicBezTo>
                      <a:pt x="111" y="205"/>
                      <a:pt x="118" y="202"/>
                      <a:pt x="123" y="201"/>
                    </a:cubicBezTo>
                    <a:cubicBezTo>
                      <a:pt x="127" y="200"/>
                      <a:pt x="134" y="199"/>
                      <a:pt x="135" y="195"/>
                    </a:cubicBezTo>
                    <a:cubicBezTo>
                      <a:pt x="135" y="194"/>
                      <a:pt x="133" y="192"/>
                      <a:pt x="132" y="191"/>
                    </a:cubicBezTo>
                    <a:cubicBezTo>
                      <a:pt x="131" y="190"/>
                      <a:pt x="128" y="191"/>
                      <a:pt x="128" y="189"/>
                    </a:cubicBezTo>
                    <a:cubicBezTo>
                      <a:pt x="128" y="188"/>
                      <a:pt x="130" y="187"/>
                      <a:pt x="131" y="185"/>
                    </a:cubicBezTo>
                    <a:cubicBezTo>
                      <a:pt x="132" y="183"/>
                      <a:pt x="130" y="181"/>
                      <a:pt x="128" y="178"/>
                    </a:cubicBezTo>
                    <a:cubicBezTo>
                      <a:pt x="126" y="176"/>
                      <a:pt x="120" y="176"/>
                      <a:pt x="115" y="176"/>
                    </a:cubicBezTo>
                    <a:cubicBezTo>
                      <a:pt x="110" y="175"/>
                      <a:pt x="105" y="173"/>
                      <a:pt x="100" y="174"/>
                    </a:cubicBezTo>
                    <a:cubicBezTo>
                      <a:pt x="94" y="176"/>
                      <a:pt x="90" y="180"/>
                      <a:pt x="86" y="182"/>
                    </a:cubicBezTo>
                    <a:cubicBezTo>
                      <a:pt x="84" y="183"/>
                      <a:pt x="82" y="184"/>
                      <a:pt x="79" y="184"/>
                    </a:cubicBezTo>
                    <a:cubicBezTo>
                      <a:pt x="76" y="185"/>
                      <a:pt x="76" y="184"/>
                      <a:pt x="74" y="182"/>
                    </a:cubicBezTo>
                    <a:cubicBezTo>
                      <a:pt x="73" y="182"/>
                      <a:pt x="70" y="180"/>
                      <a:pt x="68" y="181"/>
                    </a:cubicBezTo>
                    <a:cubicBezTo>
                      <a:pt x="66" y="181"/>
                      <a:pt x="64" y="183"/>
                      <a:pt x="62" y="183"/>
                    </a:cubicBezTo>
                    <a:cubicBezTo>
                      <a:pt x="60" y="183"/>
                      <a:pt x="59" y="182"/>
                      <a:pt x="57" y="182"/>
                    </a:cubicBezTo>
                    <a:cubicBezTo>
                      <a:pt x="54" y="182"/>
                      <a:pt x="53" y="182"/>
                      <a:pt x="55" y="180"/>
                    </a:cubicBezTo>
                    <a:cubicBezTo>
                      <a:pt x="58" y="178"/>
                      <a:pt x="50" y="176"/>
                      <a:pt x="48" y="175"/>
                    </a:cubicBezTo>
                    <a:cubicBezTo>
                      <a:pt x="44" y="174"/>
                      <a:pt x="42" y="173"/>
                      <a:pt x="45" y="170"/>
                    </a:cubicBezTo>
                    <a:cubicBezTo>
                      <a:pt x="49" y="166"/>
                      <a:pt x="51" y="170"/>
                      <a:pt x="54" y="169"/>
                    </a:cubicBezTo>
                    <a:cubicBezTo>
                      <a:pt x="57" y="168"/>
                      <a:pt x="57" y="163"/>
                      <a:pt x="60" y="162"/>
                    </a:cubicBezTo>
                    <a:cubicBezTo>
                      <a:pt x="65" y="159"/>
                      <a:pt x="65" y="164"/>
                      <a:pt x="70" y="163"/>
                    </a:cubicBezTo>
                    <a:cubicBezTo>
                      <a:pt x="73" y="163"/>
                      <a:pt x="74" y="161"/>
                      <a:pt x="77" y="161"/>
                    </a:cubicBezTo>
                    <a:cubicBezTo>
                      <a:pt x="79" y="162"/>
                      <a:pt x="81" y="163"/>
                      <a:pt x="83" y="164"/>
                    </a:cubicBezTo>
                    <a:cubicBezTo>
                      <a:pt x="86" y="165"/>
                      <a:pt x="91" y="166"/>
                      <a:pt x="92" y="163"/>
                    </a:cubicBezTo>
                    <a:cubicBezTo>
                      <a:pt x="93" y="161"/>
                      <a:pt x="93" y="160"/>
                      <a:pt x="94" y="158"/>
                    </a:cubicBezTo>
                    <a:cubicBezTo>
                      <a:pt x="95" y="158"/>
                      <a:pt x="97" y="156"/>
                      <a:pt x="98" y="158"/>
                    </a:cubicBezTo>
                    <a:cubicBezTo>
                      <a:pt x="97" y="161"/>
                      <a:pt x="103" y="164"/>
                      <a:pt x="103" y="160"/>
                    </a:cubicBezTo>
                    <a:cubicBezTo>
                      <a:pt x="104" y="156"/>
                      <a:pt x="109" y="161"/>
                      <a:pt x="111" y="159"/>
                    </a:cubicBezTo>
                    <a:cubicBezTo>
                      <a:pt x="113" y="157"/>
                      <a:pt x="114" y="158"/>
                      <a:pt x="115" y="159"/>
                    </a:cubicBezTo>
                    <a:cubicBezTo>
                      <a:pt x="117" y="161"/>
                      <a:pt x="119" y="161"/>
                      <a:pt x="122" y="161"/>
                    </a:cubicBezTo>
                    <a:cubicBezTo>
                      <a:pt x="126" y="162"/>
                      <a:pt x="120" y="166"/>
                      <a:pt x="123" y="167"/>
                    </a:cubicBezTo>
                    <a:cubicBezTo>
                      <a:pt x="126" y="168"/>
                      <a:pt x="132" y="163"/>
                      <a:pt x="133" y="162"/>
                    </a:cubicBezTo>
                    <a:cubicBezTo>
                      <a:pt x="136" y="158"/>
                      <a:pt x="144" y="159"/>
                      <a:pt x="147" y="156"/>
                    </a:cubicBezTo>
                    <a:cubicBezTo>
                      <a:pt x="150" y="154"/>
                      <a:pt x="149" y="149"/>
                      <a:pt x="145" y="147"/>
                    </a:cubicBezTo>
                    <a:cubicBezTo>
                      <a:pt x="143" y="147"/>
                      <a:pt x="141" y="147"/>
                      <a:pt x="140" y="148"/>
                    </a:cubicBezTo>
                    <a:cubicBezTo>
                      <a:pt x="140" y="149"/>
                      <a:pt x="140" y="153"/>
                      <a:pt x="138" y="152"/>
                    </a:cubicBezTo>
                    <a:cubicBezTo>
                      <a:pt x="135" y="150"/>
                      <a:pt x="138" y="146"/>
                      <a:pt x="135" y="144"/>
                    </a:cubicBezTo>
                    <a:cubicBezTo>
                      <a:pt x="132" y="142"/>
                      <a:pt x="125" y="141"/>
                      <a:pt x="120" y="142"/>
                    </a:cubicBezTo>
                    <a:cubicBezTo>
                      <a:pt x="119" y="143"/>
                      <a:pt x="116" y="144"/>
                      <a:pt x="116" y="142"/>
                    </a:cubicBezTo>
                    <a:cubicBezTo>
                      <a:pt x="116" y="141"/>
                      <a:pt x="117" y="140"/>
                      <a:pt x="119" y="140"/>
                    </a:cubicBezTo>
                    <a:cubicBezTo>
                      <a:pt x="123" y="140"/>
                      <a:pt x="125" y="142"/>
                      <a:pt x="129" y="141"/>
                    </a:cubicBezTo>
                    <a:cubicBezTo>
                      <a:pt x="135" y="141"/>
                      <a:pt x="140" y="142"/>
                      <a:pt x="142" y="138"/>
                    </a:cubicBezTo>
                    <a:cubicBezTo>
                      <a:pt x="144" y="135"/>
                      <a:pt x="145" y="132"/>
                      <a:pt x="142" y="130"/>
                    </a:cubicBezTo>
                    <a:cubicBezTo>
                      <a:pt x="140" y="128"/>
                      <a:pt x="139" y="127"/>
                      <a:pt x="140" y="125"/>
                    </a:cubicBezTo>
                    <a:cubicBezTo>
                      <a:pt x="142" y="124"/>
                      <a:pt x="144" y="124"/>
                      <a:pt x="146" y="124"/>
                    </a:cubicBezTo>
                    <a:cubicBezTo>
                      <a:pt x="148" y="125"/>
                      <a:pt x="151" y="126"/>
                      <a:pt x="153" y="126"/>
                    </a:cubicBezTo>
                    <a:cubicBezTo>
                      <a:pt x="156" y="125"/>
                      <a:pt x="159" y="124"/>
                      <a:pt x="161" y="123"/>
                    </a:cubicBezTo>
                    <a:cubicBezTo>
                      <a:pt x="163" y="122"/>
                      <a:pt x="162" y="121"/>
                      <a:pt x="162" y="120"/>
                    </a:cubicBezTo>
                    <a:cubicBezTo>
                      <a:pt x="163" y="119"/>
                      <a:pt x="164" y="119"/>
                      <a:pt x="165" y="118"/>
                    </a:cubicBezTo>
                    <a:cubicBezTo>
                      <a:pt x="168" y="116"/>
                      <a:pt x="160" y="115"/>
                      <a:pt x="161" y="114"/>
                    </a:cubicBezTo>
                    <a:cubicBezTo>
                      <a:pt x="165" y="114"/>
                      <a:pt x="165" y="109"/>
                      <a:pt x="165" y="107"/>
                    </a:cubicBezTo>
                    <a:cubicBezTo>
                      <a:pt x="165" y="106"/>
                      <a:pt x="164" y="105"/>
                      <a:pt x="162" y="104"/>
                    </a:cubicBezTo>
                    <a:cubicBezTo>
                      <a:pt x="160" y="103"/>
                      <a:pt x="160" y="102"/>
                      <a:pt x="158" y="102"/>
                    </a:cubicBezTo>
                    <a:cubicBezTo>
                      <a:pt x="156" y="101"/>
                      <a:pt x="154" y="99"/>
                      <a:pt x="157" y="99"/>
                    </a:cubicBezTo>
                    <a:cubicBezTo>
                      <a:pt x="159" y="100"/>
                      <a:pt x="161" y="101"/>
                      <a:pt x="163" y="101"/>
                    </a:cubicBezTo>
                    <a:cubicBezTo>
                      <a:pt x="168" y="101"/>
                      <a:pt x="168" y="96"/>
                      <a:pt x="163" y="96"/>
                    </a:cubicBezTo>
                    <a:cubicBezTo>
                      <a:pt x="158" y="96"/>
                      <a:pt x="155" y="97"/>
                      <a:pt x="151" y="97"/>
                    </a:cubicBezTo>
                    <a:cubicBezTo>
                      <a:pt x="149" y="96"/>
                      <a:pt x="148" y="95"/>
                      <a:pt x="149" y="95"/>
                    </a:cubicBezTo>
                    <a:cubicBezTo>
                      <a:pt x="151" y="93"/>
                      <a:pt x="153" y="94"/>
                      <a:pt x="156" y="94"/>
                    </a:cubicBezTo>
                    <a:cubicBezTo>
                      <a:pt x="161" y="94"/>
                      <a:pt x="158" y="90"/>
                      <a:pt x="164" y="92"/>
                    </a:cubicBezTo>
                    <a:cubicBezTo>
                      <a:pt x="169" y="93"/>
                      <a:pt x="170" y="88"/>
                      <a:pt x="174" y="88"/>
                    </a:cubicBezTo>
                    <a:cubicBezTo>
                      <a:pt x="176" y="88"/>
                      <a:pt x="177" y="88"/>
                      <a:pt x="178" y="87"/>
                    </a:cubicBezTo>
                    <a:cubicBezTo>
                      <a:pt x="180" y="86"/>
                      <a:pt x="182" y="87"/>
                      <a:pt x="184" y="87"/>
                    </a:cubicBezTo>
                    <a:cubicBezTo>
                      <a:pt x="186" y="87"/>
                      <a:pt x="185" y="84"/>
                      <a:pt x="186" y="84"/>
                    </a:cubicBezTo>
                    <a:cubicBezTo>
                      <a:pt x="186" y="82"/>
                      <a:pt x="186" y="82"/>
                      <a:pt x="188" y="81"/>
                    </a:cubicBezTo>
                    <a:cubicBezTo>
                      <a:pt x="189" y="81"/>
                      <a:pt x="190" y="80"/>
                      <a:pt x="192" y="80"/>
                    </a:cubicBezTo>
                    <a:cubicBezTo>
                      <a:pt x="193" y="79"/>
                      <a:pt x="192" y="78"/>
                      <a:pt x="193" y="77"/>
                    </a:cubicBezTo>
                    <a:cubicBezTo>
                      <a:pt x="194" y="76"/>
                      <a:pt x="197" y="76"/>
                      <a:pt x="195" y="74"/>
                    </a:cubicBezTo>
                    <a:cubicBezTo>
                      <a:pt x="193" y="73"/>
                      <a:pt x="191" y="72"/>
                      <a:pt x="191" y="71"/>
                    </a:cubicBezTo>
                    <a:cubicBezTo>
                      <a:pt x="191" y="70"/>
                      <a:pt x="193" y="69"/>
                      <a:pt x="194" y="69"/>
                    </a:cubicBezTo>
                    <a:cubicBezTo>
                      <a:pt x="195" y="70"/>
                      <a:pt x="196" y="71"/>
                      <a:pt x="197" y="71"/>
                    </a:cubicBezTo>
                    <a:cubicBezTo>
                      <a:pt x="199" y="71"/>
                      <a:pt x="198" y="69"/>
                      <a:pt x="198" y="68"/>
                    </a:cubicBezTo>
                    <a:cubicBezTo>
                      <a:pt x="199" y="67"/>
                      <a:pt x="200" y="65"/>
                      <a:pt x="202" y="64"/>
                    </a:cubicBezTo>
                    <a:cubicBezTo>
                      <a:pt x="204" y="62"/>
                      <a:pt x="210" y="61"/>
                      <a:pt x="213" y="59"/>
                    </a:cubicBezTo>
                    <a:cubicBezTo>
                      <a:pt x="216" y="56"/>
                      <a:pt x="219" y="54"/>
                      <a:pt x="223" y="51"/>
                    </a:cubicBezTo>
                    <a:cubicBezTo>
                      <a:pt x="226" y="50"/>
                      <a:pt x="228" y="49"/>
                      <a:pt x="230" y="47"/>
                    </a:cubicBezTo>
                    <a:cubicBezTo>
                      <a:pt x="231" y="45"/>
                      <a:pt x="230" y="45"/>
                      <a:pt x="227" y="44"/>
                    </a:cubicBezTo>
                    <a:cubicBezTo>
                      <a:pt x="224" y="44"/>
                      <a:pt x="222" y="46"/>
                      <a:pt x="220" y="47"/>
                    </a:cubicBezTo>
                    <a:cubicBezTo>
                      <a:pt x="217" y="48"/>
                      <a:pt x="213" y="49"/>
                      <a:pt x="209" y="49"/>
                    </a:cubicBezTo>
                    <a:cubicBezTo>
                      <a:pt x="209" y="48"/>
                      <a:pt x="209" y="48"/>
                      <a:pt x="209" y="47"/>
                    </a:cubicBezTo>
                    <a:cubicBezTo>
                      <a:pt x="209" y="46"/>
                      <a:pt x="210" y="46"/>
                      <a:pt x="210" y="45"/>
                    </a:cubicBezTo>
                    <a:cubicBezTo>
                      <a:pt x="210" y="44"/>
                      <a:pt x="208" y="44"/>
                      <a:pt x="206" y="44"/>
                    </a:cubicBezTo>
                    <a:cubicBezTo>
                      <a:pt x="205" y="44"/>
                      <a:pt x="203" y="43"/>
                      <a:pt x="202" y="43"/>
                    </a:cubicBezTo>
                    <a:cubicBezTo>
                      <a:pt x="202" y="42"/>
                      <a:pt x="208" y="42"/>
                      <a:pt x="208" y="42"/>
                    </a:cubicBezTo>
                    <a:cubicBezTo>
                      <a:pt x="211" y="42"/>
                      <a:pt x="214" y="42"/>
                      <a:pt x="217" y="42"/>
                    </a:cubicBezTo>
                    <a:cubicBezTo>
                      <a:pt x="219" y="42"/>
                      <a:pt x="222" y="43"/>
                      <a:pt x="223" y="42"/>
                    </a:cubicBezTo>
                    <a:cubicBezTo>
                      <a:pt x="223" y="41"/>
                      <a:pt x="223" y="40"/>
                      <a:pt x="223" y="40"/>
                    </a:cubicBezTo>
                    <a:cubicBezTo>
                      <a:pt x="224" y="39"/>
                      <a:pt x="227" y="40"/>
                      <a:pt x="229" y="40"/>
                    </a:cubicBezTo>
                    <a:cubicBezTo>
                      <a:pt x="231" y="39"/>
                      <a:pt x="231" y="38"/>
                      <a:pt x="233" y="38"/>
                    </a:cubicBezTo>
                    <a:cubicBezTo>
                      <a:pt x="235" y="37"/>
                      <a:pt x="237" y="36"/>
                      <a:pt x="238" y="35"/>
                    </a:cubicBezTo>
                    <a:cubicBezTo>
                      <a:pt x="239" y="35"/>
                      <a:pt x="240" y="34"/>
                      <a:pt x="241" y="34"/>
                    </a:cubicBezTo>
                    <a:cubicBezTo>
                      <a:pt x="241" y="34"/>
                      <a:pt x="242" y="34"/>
                      <a:pt x="243" y="33"/>
                    </a:cubicBezTo>
                    <a:cubicBezTo>
                      <a:pt x="243" y="33"/>
                      <a:pt x="244" y="32"/>
                      <a:pt x="244" y="32"/>
                    </a:cubicBezTo>
                    <a:cubicBezTo>
                      <a:pt x="246" y="31"/>
                      <a:pt x="246" y="31"/>
                      <a:pt x="248" y="30"/>
                    </a:cubicBezTo>
                    <a:cubicBezTo>
                      <a:pt x="250" y="30"/>
                      <a:pt x="247" y="27"/>
                      <a:pt x="247" y="27"/>
                    </a:cubicBezTo>
                    <a:cubicBezTo>
                      <a:pt x="246" y="25"/>
                      <a:pt x="245" y="25"/>
                      <a:pt x="243" y="24"/>
                    </a:cubicBezTo>
                    <a:cubicBezTo>
                      <a:pt x="241" y="23"/>
                      <a:pt x="241" y="22"/>
                      <a:pt x="238" y="22"/>
                    </a:cubicBezTo>
                    <a:cubicBezTo>
                      <a:pt x="237" y="22"/>
                      <a:pt x="235" y="22"/>
                      <a:pt x="233" y="21"/>
                    </a:cubicBezTo>
                    <a:cubicBezTo>
                      <a:pt x="232" y="20"/>
                      <a:pt x="232" y="20"/>
                      <a:pt x="232" y="19"/>
                    </a:cubicBezTo>
                    <a:cubicBezTo>
                      <a:pt x="232" y="17"/>
                      <a:pt x="230" y="16"/>
                      <a:pt x="228" y="15"/>
                    </a:cubicBezTo>
                    <a:cubicBezTo>
                      <a:pt x="225" y="13"/>
                      <a:pt x="231" y="12"/>
                      <a:pt x="227" y="11"/>
                    </a:cubicBezTo>
                    <a:cubicBezTo>
                      <a:pt x="225" y="11"/>
                      <a:pt x="224" y="11"/>
                      <a:pt x="223" y="12"/>
                    </a:cubicBezTo>
                    <a:cubicBezTo>
                      <a:pt x="222" y="13"/>
                      <a:pt x="221" y="11"/>
                      <a:pt x="221" y="11"/>
                    </a:cubicBezTo>
                    <a:cubicBezTo>
                      <a:pt x="220" y="9"/>
                      <a:pt x="215" y="8"/>
                      <a:pt x="216" y="10"/>
                    </a:cubicBezTo>
                    <a:cubicBezTo>
                      <a:pt x="216" y="11"/>
                      <a:pt x="218" y="14"/>
                      <a:pt x="215" y="12"/>
                    </a:cubicBezTo>
                    <a:cubicBezTo>
                      <a:pt x="212" y="10"/>
                      <a:pt x="210" y="10"/>
                      <a:pt x="209" y="12"/>
                    </a:cubicBezTo>
                    <a:cubicBezTo>
                      <a:pt x="208" y="14"/>
                      <a:pt x="204" y="13"/>
                      <a:pt x="203" y="15"/>
                    </a:cubicBezTo>
                    <a:cubicBezTo>
                      <a:pt x="202" y="15"/>
                      <a:pt x="203" y="15"/>
                      <a:pt x="201" y="15"/>
                    </a:cubicBezTo>
                    <a:cubicBezTo>
                      <a:pt x="200" y="15"/>
                      <a:pt x="199" y="16"/>
                      <a:pt x="198" y="15"/>
                    </a:cubicBezTo>
                    <a:cubicBezTo>
                      <a:pt x="197" y="14"/>
                      <a:pt x="198" y="14"/>
                      <a:pt x="199" y="14"/>
                    </a:cubicBezTo>
                    <a:cubicBezTo>
                      <a:pt x="201" y="13"/>
                      <a:pt x="201" y="13"/>
                      <a:pt x="202" y="12"/>
                    </a:cubicBezTo>
                    <a:cubicBezTo>
                      <a:pt x="204" y="11"/>
                      <a:pt x="209" y="9"/>
                      <a:pt x="205" y="8"/>
                    </a:cubicBezTo>
                    <a:cubicBezTo>
                      <a:pt x="203" y="7"/>
                      <a:pt x="200" y="6"/>
                      <a:pt x="197" y="6"/>
                    </a:cubicBezTo>
                    <a:cubicBezTo>
                      <a:pt x="195" y="6"/>
                      <a:pt x="194" y="5"/>
                      <a:pt x="192" y="5"/>
                    </a:cubicBezTo>
                    <a:cubicBezTo>
                      <a:pt x="189" y="4"/>
                      <a:pt x="186" y="5"/>
                      <a:pt x="184" y="4"/>
                    </a:cubicBezTo>
                    <a:cubicBezTo>
                      <a:pt x="183" y="3"/>
                      <a:pt x="176" y="0"/>
                      <a:pt x="175" y="2"/>
                    </a:cubicBezTo>
                    <a:cubicBezTo>
                      <a:pt x="175" y="2"/>
                      <a:pt x="176" y="4"/>
                      <a:pt x="175" y="4"/>
                    </a:cubicBezTo>
                    <a:cubicBezTo>
                      <a:pt x="174" y="4"/>
                      <a:pt x="173" y="3"/>
                      <a:pt x="172" y="3"/>
                    </a:cubicBezTo>
                    <a:cubicBezTo>
                      <a:pt x="170" y="2"/>
                      <a:pt x="168" y="2"/>
                      <a:pt x="166" y="3"/>
                    </a:cubicBezTo>
                    <a:cubicBezTo>
                      <a:pt x="163" y="4"/>
                      <a:pt x="160" y="5"/>
                      <a:pt x="162" y="7"/>
                    </a:cubicBezTo>
                    <a:cubicBezTo>
                      <a:pt x="162" y="7"/>
                      <a:pt x="166" y="10"/>
                      <a:pt x="166" y="10"/>
                    </a:cubicBezTo>
                    <a:cubicBezTo>
                      <a:pt x="164" y="11"/>
                      <a:pt x="158" y="7"/>
                      <a:pt x="158" y="6"/>
                    </a:cubicBezTo>
                    <a:cubicBezTo>
                      <a:pt x="156" y="4"/>
                      <a:pt x="152" y="3"/>
                      <a:pt x="148" y="3"/>
                    </a:cubicBezTo>
                    <a:cubicBezTo>
                      <a:pt x="146" y="3"/>
                      <a:pt x="143" y="4"/>
                      <a:pt x="141" y="4"/>
                    </a:cubicBezTo>
                    <a:cubicBezTo>
                      <a:pt x="140" y="4"/>
                      <a:pt x="137" y="3"/>
                      <a:pt x="136" y="4"/>
                    </a:cubicBezTo>
                    <a:cubicBezTo>
                      <a:pt x="136" y="5"/>
                      <a:pt x="137" y="6"/>
                      <a:pt x="138" y="7"/>
                    </a:cubicBezTo>
                    <a:cubicBezTo>
                      <a:pt x="140" y="7"/>
                      <a:pt x="140" y="8"/>
                      <a:pt x="142" y="9"/>
                    </a:cubicBezTo>
                    <a:cubicBezTo>
                      <a:pt x="144" y="10"/>
                      <a:pt x="146" y="10"/>
                      <a:pt x="147" y="11"/>
                    </a:cubicBezTo>
                    <a:cubicBezTo>
                      <a:pt x="149" y="12"/>
                      <a:pt x="150" y="14"/>
                      <a:pt x="150" y="15"/>
                    </a:cubicBezTo>
                    <a:cubicBezTo>
                      <a:pt x="150" y="16"/>
                      <a:pt x="151" y="17"/>
                      <a:pt x="149" y="17"/>
                    </a:cubicBezTo>
                    <a:cubicBezTo>
                      <a:pt x="147" y="17"/>
                      <a:pt x="147" y="16"/>
                      <a:pt x="146" y="15"/>
                    </a:cubicBezTo>
                    <a:cubicBezTo>
                      <a:pt x="145" y="12"/>
                      <a:pt x="141" y="11"/>
                      <a:pt x="138" y="8"/>
                    </a:cubicBezTo>
                    <a:cubicBezTo>
                      <a:pt x="137" y="8"/>
                      <a:pt x="137" y="7"/>
                      <a:pt x="136" y="6"/>
                    </a:cubicBezTo>
                    <a:cubicBezTo>
                      <a:pt x="135" y="6"/>
                      <a:pt x="135" y="6"/>
                      <a:pt x="134" y="6"/>
                    </a:cubicBezTo>
                    <a:cubicBezTo>
                      <a:pt x="133" y="6"/>
                      <a:pt x="133" y="6"/>
                      <a:pt x="132" y="7"/>
                    </a:cubicBezTo>
                    <a:cubicBezTo>
                      <a:pt x="130" y="8"/>
                      <a:pt x="127" y="6"/>
                      <a:pt x="125" y="5"/>
                    </a:cubicBezTo>
                    <a:cubicBezTo>
                      <a:pt x="122" y="5"/>
                      <a:pt x="119" y="5"/>
                      <a:pt x="118" y="6"/>
                    </a:cubicBezTo>
                    <a:cubicBezTo>
                      <a:pt x="117" y="8"/>
                      <a:pt x="119" y="8"/>
                      <a:pt x="119" y="10"/>
                    </a:cubicBezTo>
                    <a:cubicBezTo>
                      <a:pt x="120" y="11"/>
                      <a:pt x="114" y="8"/>
                      <a:pt x="114" y="8"/>
                    </a:cubicBezTo>
                    <a:cubicBezTo>
                      <a:pt x="110" y="7"/>
                      <a:pt x="111" y="9"/>
                      <a:pt x="112" y="10"/>
                    </a:cubicBezTo>
                    <a:cubicBezTo>
                      <a:pt x="113" y="11"/>
                      <a:pt x="115" y="16"/>
                      <a:pt x="115" y="16"/>
                    </a:cubicBezTo>
                    <a:cubicBezTo>
                      <a:pt x="112" y="17"/>
                      <a:pt x="110" y="14"/>
                      <a:pt x="108" y="13"/>
                    </a:cubicBezTo>
                    <a:cubicBezTo>
                      <a:pt x="107" y="13"/>
                      <a:pt x="106" y="14"/>
                      <a:pt x="107" y="14"/>
                    </a:cubicBezTo>
                    <a:cubicBezTo>
                      <a:pt x="107" y="15"/>
                      <a:pt x="107" y="15"/>
                      <a:pt x="106" y="16"/>
                    </a:cubicBezTo>
                    <a:cubicBezTo>
                      <a:pt x="106" y="17"/>
                      <a:pt x="104" y="17"/>
                      <a:pt x="104" y="18"/>
                    </a:cubicBezTo>
                    <a:cubicBezTo>
                      <a:pt x="104" y="19"/>
                      <a:pt x="106" y="22"/>
                      <a:pt x="109" y="23"/>
                    </a:cubicBezTo>
                    <a:cubicBezTo>
                      <a:pt x="110" y="24"/>
                      <a:pt x="112" y="25"/>
                      <a:pt x="113" y="26"/>
                    </a:cubicBezTo>
                    <a:cubicBezTo>
                      <a:pt x="114" y="26"/>
                      <a:pt x="118" y="28"/>
                      <a:pt x="114" y="28"/>
                    </a:cubicBezTo>
                    <a:cubicBezTo>
                      <a:pt x="112" y="28"/>
                      <a:pt x="109" y="27"/>
                      <a:pt x="107" y="26"/>
                    </a:cubicBezTo>
                    <a:cubicBezTo>
                      <a:pt x="106" y="25"/>
                      <a:pt x="105" y="24"/>
                      <a:pt x="103" y="23"/>
                    </a:cubicBezTo>
                    <a:cubicBezTo>
                      <a:pt x="102" y="23"/>
                      <a:pt x="101" y="24"/>
                      <a:pt x="100" y="24"/>
                    </a:cubicBezTo>
                    <a:cubicBezTo>
                      <a:pt x="98" y="23"/>
                      <a:pt x="97" y="22"/>
                      <a:pt x="95" y="21"/>
                    </a:cubicBezTo>
                    <a:cubicBezTo>
                      <a:pt x="94" y="21"/>
                      <a:pt x="93" y="19"/>
                      <a:pt x="92" y="19"/>
                    </a:cubicBezTo>
                    <a:cubicBezTo>
                      <a:pt x="90" y="18"/>
                      <a:pt x="87" y="18"/>
                      <a:pt x="85" y="18"/>
                    </a:cubicBezTo>
                    <a:cubicBezTo>
                      <a:pt x="79" y="19"/>
                      <a:pt x="83" y="20"/>
                      <a:pt x="85" y="22"/>
                    </a:cubicBezTo>
                    <a:cubicBezTo>
                      <a:pt x="85" y="22"/>
                      <a:pt x="86" y="24"/>
                      <a:pt x="84" y="24"/>
                    </a:cubicBezTo>
                    <a:cubicBezTo>
                      <a:pt x="83" y="24"/>
                      <a:pt x="81" y="24"/>
                      <a:pt x="81" y="25"/>
                    </a:cubicBezTo>
                    <a:cubicBezTo>
                      <a:pt x="80" y="27"/>
                      <a:pt x="86" y="27"/>
                      <a:pt x="87" y="29"/>
                    </a:cubicBezTo>
                    <a:cubicBezTo>
                      <a:pt x="89" y="30"/>
                      <a:pt x="86" y="30"/>
                      <a:pt x="84" y="30"/>
                    </a:cubicBezTo>
                    <a:cubicBezTo>
                      <a:pt x="83" y="29"/>
                      <a:pt x="82" y="29"/>
                      <a:pt x="81" y="29"/>
                    </a:cubicBezTo>
                    <a:cubicBezTo>
                      <a:pt x="79" y="29"/>
                      <a:pt x="79" y="30"/>
                      <a:pt x="77" y="29"/>
                    </a:cubicBezTo>
                    <a:cubicBezTo>
                      <a:pt x="76" y="29"/>
                      <a:pt x="75" y="28"/>
                      <a:pt x="73" y="28"/>
                    </a:cubicBezTo>
                    <a:cubicBezTo>
                      <a:pt x="71" y="28"/>
                      <a:pt x="69" y="29"/>
                      <a:pt x="68" y="30"/>
                    </a:cubicBezTo>
                    <a:cubicBezTo>
                      <a:pt x="65" y="30"/>
                      <a:pt x="64" y="31"/>
                      <a:pt x="62" y="32"/>
                    </a:cubicBezTo>
                    <a:cubicBezTo>
                      <a:pt x="62" y="33"/>
                      <a:pt x="61" y="35"/>
                      <a:pt x="59" y="34"/>
                    </a:cubicBezTo>
                    <a:cubicBezTo>
                      <a:pt x="57" y="34"/>
                      <a:pt x="52" y="35"/>
                      <a:pt x="52" y="37"/>
                    </a:cubicBezTo>
                    <a:cubicBezTo>
                      <a:pt x="52" y="38"/>
                      <a:pt x="50" y="39"/>
                      <a:pt x="49" y="39"/>
                    </a:cubicBezTo>
                    <a:cubicBezTo>
                      <a:pt x="48" y="40"/>
                      <a:pt x="48" y="42"/>
                      <a:pt x="50" y="42"/>
                    </a:cubicBezTo>
                    <a:cubicBezTo>
                      <a:pt x="53" y="42"/>
                      <a:pt x="56" y="41"/>
                      <a:pt x="58" y="41"/>
                    </a:cubicBezTo>
                    <a:cubicBezTo>
                      <a:pt x="63" y="40"/>
                      <a:pt x="58" y="43"/>
                      <a:pt x="57" y="44"/>
                    </a:cubicBezTo>
                    <a:cubicBezTo>
                      <a:pt x="57" y="44"/>
                      <a:pt x="56" y="46"/>
                      <a:pt x="58" y="46"/>
                    </a:cubicBezTo>
                    <a:cubicBezTo>
                      <a:pt x="60" y="46"/>
                      <a:pt x="62" y="45"/>
                      <a:pt x="64" y="44"/>
                    </a:cubicBezTo>
                    <a:cubicBezTo>
                      <a:pt x="65" y="44"/>
                      <a:pt x="68" y="42"/>
                      <a:pt x="71" y="42"/>
                    </a:cubicBezTo>
                    <a:cubicBezTo>
                      <a:pt x="69" y="44"/>
                      <a:pt x="67" y="45"/>
                      <a:pt x="64" y="46"/>
                    </a:cubicBezTo>
                    <a:cubicBezTo>
                      <a:pt x="63" y="46"/>
                      <a:pt x="62" y="47"/>
                      <a:pt x="62" y="48"/>
                    </a:cubicBezTo>
                    <a:cubicBezTo>
                      <a:pt x="62" y="49"/>
                      <a:pt x="64" y="49"/>
                      <a:pt x="63" y="50"/>
                    </a:cubicBezTo>
                    <a:cubicBezTo>
                      <a:pt x="63" y="51"/>
                      <a:pt x="62" y="51"/>
                      <a:pt x="61" y="51"/>
                    </a:cubicBezTo>
                    <a:cubicBezTo>
                      <a:pt x="60" y="52"/>
                      <a:pt x="60" y="52"/>
                      <a:pt x="59" y="53"/>
                    </a:cubicBezTo>
                    <a:cubicBezTo>
                      <a:pt x="57" y="55"/>
                      <a:pt x="60" y="56"/>
                      <a:pt x="63" y="56"/>
                    </a:cubicBezTo>
                    <a:cubicBezTo>
                      <a:pt x="66" y="57"/>
                      <a:pt x="68" y="55"/>
                      <a:pt x="71" y="55"/>
                    </a:cubicBezTo>
                    <a:cubicBezTo>
                      <a:pt x="75" y="54"/>
                      <a:pt x="78" y="54"/>
                      <a:pt x="81" y="53"/>
                    </a:cubicBezTo>
                    <a:cubicBezTo>
                      <a:pt x="84" y="52"/>
                      <a:pt x="87" y="51"/>
                      <a:pt x="89" y="49"/>
                    </a:cubicBezTo>
                    <a:cubicBezTo>
                      <a:pt x="90" y="49"/>
                      <a:pt x="91" y="48"/>
                      <a:pt x="93" y="48"/>
                    </a:cubicBezTo>
                    <a:cubicBezTo>
                      <a:pt x="94" y="48"/>
                      <a:pt x="94" y="49"/>
                      <a:pt x="93" y="49"/>
                    </a:cubicBezTo>
                    <a:cubicBezTo>
                      <a:pt x="89" y="51"/>
                      <a:pt x="87" y="53"/>
                      <a:pt x="83" y="55"/>
                    </a:cubicBezTo>
                    <a:cubicBezTo>
                      <a:pt x="78" y="56"/>
                      <a:pt x="73" y="55"/>
                      <a:pt x="68" y="57"/>
                    </a:cubicBezTo>
                    <a:cubicBezTo>
                      <a:pt x="64" y="58"/>
                      <a:pt x="63" y="59"/>
                      <a:pt x="67" y="60"/>
                    </a:cubicBezTo>
                    <a:cubicBezTo>
                      <a:pt x="69" y="61"/>
                      <a:pt x="75" y="64"/>
                      <a:pt x="78" y="62"/>
                    </a:cubicBezTo>
                    <a:cubicBezTo>
                      <a:pt x="80" y="60"/>
                      <a:pt x="81" y="58"/>
                      <a:pt x="84" y="57"/>
                    </a:cubicBezTo>
                    <a:cubicBezTo>
                      <a:pt x="89" y="55"/>
                      <a:pt x="93" y="53"/>
                      <a:pt x="99" y="53"/>
                    </a:cubicBezTo>
                    <a:cubicBezTo>
                      <a:pt x="101" y="53"/>
                      <a:pt x="108" y="52"/>
                      <a:pt x="103" y="54"/>
                    </a:cubicBezTo>
                    <a:cubicBezTo>
                      <a:pt x="98" y="55"/>
                      <a:pt x="93" y="56"/>
                      <a:pt x="89" y="58"/>
                    </a:cubicBezTo>
                    <a:cubicBezTo>
                      <a:pt x="87" y="59"/>
                      <a:pt x="85" y="60"/>
                      <a:pt x="85" y="62"/>
                    </a:cubicBezTo>
                    <a:cubicBezTo>
                      <a:pt x="85" y="63"/>
                      <a:pt x="83" y="65"/>
                      <a:pt x="85" y="66"/>
                    </a:cubicBezTo>
                    <a:cubicBezTo>
                      <a:pt x="87" y="68"/>
                      <a:pt x="94" y="67"/>
                      <a:pt x="96" y="66"/>
                    </a:cubicBezTo>
                    <a:cubicBezTo>
                      <a:pt x="97" y="65"/>
                      <a:pt x="101" y="61"/>
                      <a:pt x="103" y="62"/>
                    </a:cubicBezTo>
                    <a:cubicBezTo>
                      <a:pt x="105" y="63"/>
                      <a:pt x="101" y="65"/>
                      <a:pt x="104" y="66"/>
                    </a:cubicBezTo>
                    <a:cubicBezTo>
                      <a:pt x="107" y="66"/>
                      <a:pt x="109" y="65"/>
                      <a:pt x="111" y="64"/>
                    </a:cubicBezTo>
                    <a:cubicBezTo>
                      <a:pt x="116" y="63"/>
                      <a:pt x="122" y="63"/>
                      <a:pt x="124" y="60"/>
                    </a:cubicBezTo>
                    <a:cubicBezTo>
                      <a:pt x="124" y="59"/>
                      <a:pt x="126" y="58"/>
                      <a:pt x="127" y="57"/>
                    </a:cubicBezTo>
                    <a:cubicBezTo>
                      <a:pt x="128" y="56"/>
                      <a:pt x="127" y="55"/>
                      <a:pt x="127" y="54"/>
                    </a:cubicBezTo>
                    <a:cubicBezTo>
                      <a:pt x="127" y="50"/>
                      <a:pt x="129" y="48"/>
                      <a:pt x="133" y="46"/>
                    </a:cubicBezTo>
                    <a:cubicBezTo>
                      <a:pt x="135" y="45"/>
                      <a:pt x="138" y="43"/>
                      <a:pt x="141" y="43"/>
                    </a:cubicBezTo>
                    <a:cubicBezTo>
                      <a:pt x="143" y="43"/>
                      <a:pt x="143" y="44"/>
                      <a:pt x="143" y="44"/>
                    </a:cubicBezTo>
                    <a:cubicBezTo>
                      <a:pt x="142" y="46"/>
                      <a:pt x="140" y="46"/>
                      <a:pt x="138" y="47"/>
                    </a:cubicBezTo>
                    <a:cubicBezTo>
                      <a:pt x="136" y="48"/>
                      <a:pt x="127" y="55"/>
                      <a:pt x="131" y="56"/>
                    </a:cubicBezTo>
                    <a:cubicBezTo>
                      <a:pt x="134" y="56"/>
                      <a:pt x="137" y="56"/>
                      <a:pt x="139" y="56"/>
                    </a:cubicBezTo>
                    <a:cubicBezTo>
                      <a:pt x="142" y="56"/>
                      <a:pt x="147" y="56"/>
                      <a:pt x="149" y="57"/>
                    </a:cubicBezTo>
                    <a:cubicBezTo>
                      <a:pt x="152" y="58"/>
                      <a:pt x="145" y="59"/>
                      <a:pt x="144" y="59"/>
                    </a:cubicBezTo>
                    <a:cubicBezTo>
                      <a:pt x="139" y="58"/>
                      <a:pt x="136" y="59"/>
                      <a:pt x="131" y="61"/>
                    </a:cubicBezTo>
                    <a:cubicBezTo>
                      <a:pt x="130" y="62"/>
                      <a:pt x="128" y="62"/>
                      <a:pt x="127" y="63"/>
                    </a:cubicBezTo>
                    <a:cubicBezTo>
                      <a:pt x="126" y="64"/>
                      <a:pt x="124" y="65"/>
                      <a:pt x="123" y="66"/>
                    </a:cubicBezTo>
                    <a:cubicBezTo>
                      <a:pt x="121" y="67"/>
                      <a:pt x="118" y="67"/>
                      <a:pt x="116" y="67"/>
                    </a:cubicBezTo>
                    <a:cubicBezTo>
                      <a:pt x="113" y="68"/>
                      <a:pt x="111" y="69"/>
                      <a:pt x="109" y="70"/>
                    </a:cubicBezTo>
                    <a:cubicBezTo>
                      <a:pt x="103" y="72"/>
                      <a:pt x="107" y="74"/>
                      <a:pt x="109" y="76"/>
                    </a:cubicBezTo>
                    <a:cubicBezTo>
                      <a:pt x="110" y="78"/>
                      <a:pt x="112" y="79"/>
                      <a:pt x="113" y="81"/>
                    </a:cubicBezTo>
                    <a:cubicBezTo>
                      <a:pt x="114" y="82"/>
                      <a:pt x="114" y="84"/>
                      <a:pt x="116" y="85"/>
                    </a:cubicBezTo>
                    <a:cubicBezTo>
                      <a:pt x="119" y="86"/>
                      <a:pt x="123" y="88"/>
                      <a:pt x="117" y="87"/>
                    </a:cubicBezTo>
                    <a:cubicBezTo>
                      <a:pt x="115" y="87"/>
                      <a:pt x="114" y="85"/>
                      <a:pt x="112" y="85"/>
                    </a:cubicBezTo>
                    <a:cubicBezTo>
                      <a:pt x="109" y="83"/>
                      <a:pt x="110" y="82"/>
                      <a:pt x="108" y="80"/>
                    </a:cubicBezTo>
                    <a:cubicBezTo>
                      <a:pt x="106" y="78"/>
                      <a:pt x="104" y="75"/>
                      <a:pt x="100" y="73"/>
                    </a:cubicBezTo>
                    <a:cubicBezTo>
                      <a:pt x="95" y="71"/>
                      <a:pt x="89" y="71"/>
                      <a:pt x="84" y="71"/>
                    </a:cubicBezTo>
                    <a:cubicBezTo>
                      <a:pt x="80" y="70"/>
                      <a:pt x="81" y="76"/>
                      <a:pt x="81" y="77"/>
                    </a:cubicBezTo>
                    <a:cubicBezTo>
                      <a:pt x="81" y="79"/>
                      <a:pt x="80" y="82"/>
                      <a:pt x="84" y="83"/>
                    </a:cubicBezTo>
                    <a:cubicBezTo>
                      <a:pt x="86" y="83"/>
                      <a:pt x="87" y="85"/>
                      <a:pt x="88" y="86"/>
                    </a:cubicBezTo>
                    <a:cubicBezTo>
                      <a:pt x="88" y="87"/>
                      <a:pt x="90" y="88"/>
                      <a:pt x="91" y="89"/>
                    </a:cubicBezTo>
                    <a:cubicBezTo>
                      <a:pt x="94" y="91"/>
                      <a:pt x="88" y="89"/>
                      <a:pt x="87" y="88"/>
                    </a:cubicBezTo>
                    <a:cubicBezTo>
                      <a:pt x="84" y="87"/>
                      <a:pt x="80" y="88"/>
                      <a:pt x="77" y="87"/>
                    </a:cubicBezTo>
                    <a:cubicBezTo>
                      <a:pt x="74" y="87"/>
                      <a:pt x="76" y="80"/>
                      <a:pt x="76" y="78"/>
                    </a:cubicBezTo>
                    <a:cubicBezTo>
                      <a:pt x="76" y="77"/>
                      <a:pt x="73" y="77"/>
                      <a:pt x="75" y="75"/>
                    </a:cubicBezTo>
                    <a:cubicBezTo>
                      <a:pt x="76" y="74"/>
                      <a:pt x="75" y="73"/>
                      <a:pt x="75" y="71"/>
                    </a:cubicBezTo>
                    <a:cubicBezTo>
                      <a:pt x="75" y="70"/>
                      <a:pt x="71" y="67"/>
                      <a:pt x="68" y="70"/>
                    </a:cubicBezTo>
                    <a:cubicBezTo>
                      <a:pt x="67" y="72"/>
                      <a:pt x="68" y="74"/>
                      <a:pt x="70" y="75"/>
                    </a:cubicBezTo>
                    <a:cubicBezTo>
                      <a:pt x="71" y="77"/>
                      <a:pt x="70" y="79"/>
                      <a:pt x="67" y="77"/>
                    </a:cubicBezTo>
                    <a:cubicBezTo>
                      <a:pt x="66" y="76"/>
                      <a:pt x="64" y="75"/>
                      <a:pt x="64" y="74"/>
                    </a:cubicBezTo>
                    <a:cubicBezTo>
                      <a:pt x="64" y="72"/>
                      <a:pt x="66" y="71"/>
                      <a:pt x="66" y="70"/>
                    </a:cubicBezTo>
                    <a:cubicBezTo>
                      <a:pt x="67" y="68"/>
                      <a:pt x="65" y="67"/>
                      <a:pt x="64" y="67"/>
                    </a:cubicBezTo>
                    <a:cubicBezTo>
                      <a:pt x="63" y="67"/>
                      <a:pt x="62" y="67"/>
                      <a:pt x="60" y="67"/>
                    </a:cubicBezTo>
                    <a:cubicBezTo>
                      <a:pt x="59" y="66"/>
                      <a:pt x="57" y="67"/>
                      <a:pt x="56" y="67"/>
                    </a:cubicBezTo>
                    <a:cubicBezTo>
                      <a:pt x="53" y="67"/>
                      <a:pt x="53" y="63"/>
                      <a:pt x="52" y="62"/>
                    </a:cubicBezTo>
                    <a:cubicBezTo>
                      <a:pt x="51" y="60"/>
                      <a:pt x="48" y="59"/>
                      <a:pt x="47" y="57"/>
                    </a:cubicBezTo>
                    <a:cubicBezTo>
                      <a:pt x="47" y="54"/>
                      <a:pt x="49" y="52"/>
                      <a:pt x="46" y="50"/>
                    </a:cubicBezTo>
                    <a:cubicBezTo>
                      <a:pt x="43" y="48"/>
                      <a:pt x="41" y="48"/>
                      <a:pt x="36" y="49"/>
                    </a:cubicBezTo>
                    <a:cubicBezTo>
                      <a:pt x="34" y="49"/>
                      <a:pt x="31" y="49"/>
                      <a:pt x="30" y="50"/>
                    </a:cubicBezTo>
                    <a:cubicBezTo>
                      <a:pt x="28" y="51"/>
                      <a:pt x="27" y="53"/>
                      <a:pt x="29" y="53"/>
                    </a:cubicBezTo>
                    <a:cubicBezTo>
                      <a:pt x="31" y="54"/>
                      <a:pt x="42" y="52"/>
                      <a:pt x="40" y="55"/>
                    </a:cubicBezTo>
                    <a:cubicBezTo>
                      <a:pt x="39" y="55"/>
                      <a:pt x="36" y="55"/>
                      <a:pt x="35" y="56"/>
                    </a:cubicBezTo>
                    <a:cubicBezTo>
                      <a:pt x="35" y="57"/>
                      <a:pt x="36" y="59"/>
                      <a:pt x="32" y="58"/>
                    </a:cubicBezTo>
                    <a:cubicBezTo>
                      <a:pt x="27" y="57"/>
                      <a:pt x="22" y="63"/>
                      <a:pt x="25" y="65"/>
                    </a:cubicBezTo>
                    <a:cubicBezTo>
                      <a:pt x="27" y="65"/>
                      <a:pt x="29" y="66"/>
                      <a:pt x="28" y="67"/>
                    </a:cubicBezTo>
                    <a:cubicBezTo>
                      <a:pt x="27" y="69"/>
                      <a:pt x="24" y="67"/>
                      <a:pt x="22" y="67"/>
                    </a:cubicBezTo>
                    <a:cubicBezTo>
                      <a:pt x="19" y="67"/>
                      <a:pt x="19" y="70"/>
                      <a:pt x="20" y="71"/>
                    </a:cubicBezTo>
                    <a:cubicBezTo>
                      <a:pt x="21" y="73"/>
                      <a:pt x="18" y="74"/>
                      <a:pt x="21" y="75"/>
                    </a:cubicBezTo>
                    <a:cubicBezTo>
                      <a:pt x="22" y="75"/>
                      <a:pt x="25" y="76"/>
                      <a:pt x="24" y="77"/>
                    </a:cubicBezTo>
                    <a:cubicBezTo>
                      <a:pt x="24" y="78"/>
                      <a:pt x="20" y="78"/>
                      <a:pt x="19" y="78"/>
                    </a:cubicBezTo>
                    <a:cubicBezTo>
                      <a:pt x="16" y="79"/>
                      <a:pt x="17" y="81"/>
                      <a:pt x="17" y="82"/>
                    </a:cubicBezTo>
                    <a:cubicBezTo>
                      <a:pt x="17" y="84"/>
                      <a:pt x="14" y="85"/>
                      <a:pt x="15" y="87"/>
                    </a:cubicBezTo>
                    <a:cubicBezTo>
                      <a:pt x="15" y="88"/>
                      <a:pt x="18" y="89"/>
                      <a:pt x="20" y="8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8" name="Freeform 89"/>
              <p:cNvSpPr>
                <a:spLocks/>
              </p:cNvSpPr>
              <p:nvPr/>
            </p:nvSpPr>
            <p:spPr bwMode="auto">
              <a:xfrm>
                <a:off x="3406776" y="3875088"/>
                <a:ext cx="4763" cy="7938"/>
              </a:xfrm>
              <a:custGeom>
                <a:avLst/>
                <a:gdLst>
                  <a:gd name="T0" fmla="*/ 0 w 7"/>
                  <a:gd name="T1" fmla="*/ 2 h 11"/>
                  <a:gd name="T2" fmla="*/ 4 w 7"/>
                  <a:gd name="T3" fmla="*/ 8 h 11"/>
                  <a:gd name="T4" fmla="*/ 4 w 7"/>
                  <a:gd name="T5" fmla="*/ 3 h 11"/>
                  <a:gd name="T6" fmla="*/ 0 w 7"/>
                  <a:gd name="T7" fmla="*/ 2 h 11"/>
                </a:gdLst>
                <a:ahLst/>
                <a:cxnLst>
                  <a:cxn ang="0">
                    <a:pos x="T0" y="T1"/>
                  </a:cxn>
                  <a:cxn ang="0">
                    <a:pos x="T2" y="T3"/>
                  </a:cxn>
                  <a:cxn ang="0">
                    <a:pos x="T4" y="T5"/>
                  </a:cxn>
                  <a:cxn ang="0">
                    <a:pos x="T6" y="T7"/>
                  </a:cxn>
                </a:cxnLst>
                <a:rect l="0" t="0" r="r" b="b"/>
                <a:pathLst>
                  <a:path w="7" h="11">
                    <a:moveTo>
                      <a:pt x="0" y="2"/>
                    </a:moveTo>
                    <a:cubicBezTo>
                      <a:pt x="0" y="4"/>
                      <a:pt x="1" y="6"/>
                      <a:pt x="4" y="8"/>
                    </a:cubicBezTo>
                    <a:cubicBezTo>
                      <a:pt x="7" y="11"/>
                      <a:pt x="5" y="4"/>
                      <a:pt x="4" y="3"/>
                    </a:cubicBezTo>
                    <a:cubicBezTo>
                      <a:pt x="3" y="2"/>
                      <a:pt x="0"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79" name="Freeform 90"/>
              <p:cNvSpPr>
                <a:spLocks/>
              </p:cNvSpPr>
              <p:nvPr/>
            </p:nvSpPr>
            <p:spPr bwMode="auto">
              <a:xfrm>
                <a:off x="2982913" y="3878263"/>
                <a:ext cx="31750" cy="31750"/>
              </a:xfrm>
              <a:custGeom>
                <a:avLst/>
                <a:gdLst>
                  <a:gd name="T0" fmla="*/ 23 w 41"/>
                  <a:gd name="T1" fmla="*/ 1 h 42"/>
                  <a:gd name="T2" fmla="*/ 10 w 41"/>
                  <a:gd name="T3" fmla="*/ 3 h 42"/>
                  <a:gd name="T4" fmla="*/ 14 w 41"/>
                  <a:gd name="T5" fmla="*/ 6 h 42"/>
                  <a:gd name="T6" fmla="*/ 7 w 41"/>
                  <a:gd name="T7" fmla="*/ 10 h 42"/>
                  <a:gd name="T8" fmla="*/ 10 w 41"/>
                  <a:gd name="T9" fmla="*/ 15 h 42"/>
                  <a:gd name="T10" fmla="*/ 2 w 41"/>
                  <a:gd name="T11" fmla="*/ 21 h 42"/>
                  <a:gd name="T12" fmla="*/ 0 w 41"/>
                  <a:gd name="T13" fmla="*/ 29 h 42"/>
                  <a:gd name="T14" fmla="*/ 9 w 41"/>
                  <a:gd name="T15" fmla="*/ 27 h 42"/>
                  <a:gd name="T16" fmla="*/ 18 w 41"/>
                  <a:gd name="T17" fmla="*/ 25 h 42"/>
                  <a:gd name="T18" fmla="*/ 10 w 41"/>
                  <a:gd name="T19" fmla="*/ 32 h 42"/>
                  <a:gd name="T20" fmla="*/ 10 w 41"/>
                  <a:gd name="T21" fmla="*/ 36 h 42"/>
                  <a:gd name="T22" fmla="*/ 14 w 41"/>
                  <a:gd name="T23" fmla="*/ 40 h 42"/>
                  <a:gd name="T24" fmla="*/ 27 w 41"/>
                  <a:gd name="T25" fmla="*/ 37 h 42"/>
                  <a:gd name="T26" fmla="*/ 31 w 41"/>
                  <a:gd name="T27" fmla="*/ 33 h 42"/>
                  <a:gd name="T28" fmla="*/ 34 w 41"/>
                  <a:gd name="T29" fmla="*/ 28 h 42"/>
                  <a:gd name="T30" fmla="*/ 40 w 41"/>
                  <a:gd name="T31" fmla="*/ 24 h 42"/>
                  <a:gd name="T32" fmla="*/ 36 w 41"/>
                  <a:gd name="T33" fmla="*/ 15 h 42"/>
                  <a:gd name="T34" fmla="*/ 34 w 41"/>
                  <a:gd name="T35" fmla="*/ 4 h 42"/>
                  <a:gd name="T36" fmla="*/ 29 w 41"/>
                  <a:gd name="T37" fmla="*/ 2 h 42"/>
                  <a:gd name="T38" fmla="*/ 23 w 41"/>
                  <a:gd name="T39" fmla="*/ 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 h="42">
                    <a:moveTo>
                      <a:pt x="23" y="1"/>
                    </a:moveTo>
                    <a:cubicBezTo>
                      <a:pt x="19" y="1"/>
                      <a:pt x="14" y="0"/>
                      <a:pt x="10" y="3"/>
                    </a:cubicBezTo>
                    <a:cubicBezTo>
                      <a:pt x="5" y="6"/>
                      <a:pt x="12" y="6"/>
                      <a:pt x="14" y="6"/>
                    </a:cubicBezTo>
                    <a:cubicBezTo>
                      <a:pt x="19" y="8"/>
                      <a:pt x="7" y="10"/>
                      <a:pt x="7" y="10"/>
                    </a:cubicBezTo>
                    <a:cubicBezTo>
                      <a:pt x="2" y="13"/>
                      <a:pt x="10" y="14"/>
                      <a:pt x="10" y="15"/>
                    </a:cubicBezTo>
                    <a:cubicBezTo>
                      <a:pt x="10" y="18"/>
                      <a:pt x="4" y="18"/>
                      <a:pt x="2" y="21"/>
                    </a:cubicBezTo>
                    <a:cubicBezTo>
                      <a:pt x="0" y="23"/>
                      <a:pt x="0" y="27"/>
                      <a:pt x="0" y="29"/>
                    </a:cubicBezTo>
                    <a:cubicBezTo>
                      <a:pt x="0" y="32"/>
                      <a:pt x="7" y="29"/>
                      <a:pt x="9" y="27"/>
                    </a:cubicBezTo>
                    <a:cubicBezTo>
                      <a:pt x="11" y="27"/>
                      <a:pt x="17" y="24"/>
                      <a:pt x="18" y="25"/>
                    </a:cubicBezTo>
                    <a:cubicBezTo>
                      <a:pt x="19" y="27"/>
                      <a:pt x="11" y="31"/>
                      <a:pt x="10" y="32"/>
                    </a:cubicBezTo>
                    <a:cubicBezTo>
                      <a:pt x="9" y="34"/>
                      <a:pt x="9" y="35"/>
                      <a:pt x="10" y="36"/>
                    </a:cubicBezTo>
                    <a:cubicBezTo>
                      <a:pt x="11" y="37"/>
                      <a:pt x="13" y="39"/>
                      <a:pt x="14" y="40"/>
                    </a:cubicBezTo>
                    <a:cubicBezTo>
                      <a:pt x="18" y="42"/>
                      <a:pt x="24" y="40"/>
                      <a:pt x="27" y="37"/>
                    </a:cubicBezTo>
                    <a:cubicBezTo>
                      <a:pt x="28" y="36"/>
                      <a:pt x="30" y="35"/>
                      <a:pt x="31" y="33"/>
                    </a:cubicBezTo>
                    <a:cubicBezTo>
                      <a:pt x="32" y="32"/>
                      <a:pt x="32" y="30"/>
                      <a:pt x="34" y="28"/>
                    </a:cubicBezTo>
                    <a:cubicBezTo>
                      <a:pt x="36" y="26"/>
                      <a:pt x="41" y="27"/>
                      <a:pt x="40" y="24"/>
                    </a:cubicBezTo>
                    <a:cubicBezTo>
                      <a:pt x="38" y="20"/>
                      <a:pt x="35" y="19"/>
                      <a:pt x="36" y="15"/>
                    </a:cubicBezTo>
                    <a:cubicBezTo>
                      <a:pt x="36" y="11"/>
                      <a:pt x="38" y="7"/>
                      <a:pt x="34" y="4"/>
                    </a:cubicBezTo>
                    <a:cubicBezTo>
                      <a:pt x="33" y="3"/>
                      <a:pt x="31" y="3"/>
                      <a:pt x="29" y="2"/>
                    </a:cubicBezTo>
                    <a:cubicBezTo>
                      <a:pt x="27" y="2"/>
                      <a:pt x="26" y="1"/>
                      <a:pt x="2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1" name="Freeform 92"/>
              <p:cNvSpPr>
                <a:spLocks/>
              </p:cNvSpPr>
              <p:nvPr/>
            </p:nvSpPr>
            <p:spPr bwMode="auto">
              <a:xfrm>
                <a:off x="2846388" y="3932238"/>
                <a:ext cx="58738" cy="63500"/>
              </a:xfrm>
              <a:custGeom>
                <a:avLst/>
                <a:gdLst>
                  <a:gd name="T0" fmla="*/ 4 w 78"/>
                  <a:gd name="T1" fmla="*/ 59 h 83"/>
                  <a:gd name="T2" fmla="*/ 3 w 78"/>
                  <a:gd name="T3" fmla="*/ 65 h 83"/>
                  <a:gd name="T4" fmla="*/ 11 w 78"/>
                  <a:gd name="T5" fmla="*/ 73 h 83"/>
                  <a:gd name="T6" fmla="*/ 13 w 78"/>
                  <a:gd name="T7" fmla="*/ 79 h 83"/>
                  <a:gd name="T8" fmla="*/ 16 w 78"/>
                  <a:gd name="T9" fmla="*/ 82 h 83"/>
                  <a:gd name="T10" fmla="*/ 23 w 78"/>
                  <a:gd name="T11" fmla="*/ 74 h 83"/>
                  <a:gd name="T12" fmla="*/ 35 w 78"/>
                  <a:gd name="T13" fmla="*/ 65 h 83"/>
                  <a:gd name="T14" fmla="*/ 41 w 78"/>
                  <a:gd name="T15" fmla="*/ 50 h 83"/>
                  <a:gd name="T16" fmla="*/ 46 w 78"/>
                  <a:gd name="T17" fmla="*/ 46 h 83"/>
                  <a:gd name="T18" fmla="*/ 51 w 78"/>
                  <a:gd name="T19" fmla="*/ 39 h 83"/>
                  <a:gd name="T20" fmla="*/ 58 w 78"/>
                  <a:gd name="T21" fmla="*/ 34 h 83"/>
                  <a:gd name="T22" fmla="*/ 62 w 78"/>
                  <a:gd name="T23" fmla="*/ 29 h 83"/>
                  <a:gd name="T24" fmla="*/ 71 w 78"/>
                  <a:gd name="T25" fmla="*/ 24 h 83"/>
                  <a:gd name="T26" fmla="*/ 77 w 78"/>
                  <a:gd name="T27" fmla="*/ 18 h 83"/>
                  <a:gd name="T28" fmla="*/ 74 w 78"/>
                  <a:gd name="T29" fmla="*/ 12 h 83"/>
                  <a:gd name="T30" fmla="*/ 59 w 78"/>
                  <a:gd name="T31" fmla="*/ 7 h 83"/>
                  <a:gd name="T32" fmla="*/ 55 w 78"/>
                  <a:gd name="T33" fmla="*/ 10 h 83"/>
                  <a:gd name="T34" fmla="*/ 50 w 78"/>
                  <a:gd name="T35" fmla="*/ 8 h 83"/>
                  <a:gd name="T36" fmla="*/ 45 w 78"/>
                  <a:gd name="T37" fmla="*/ 6 h 83"/>
                  <a:gd name="T38" fmla="*/ 42 w 78"/>
                  <a:gd name="T39" fmla="*/ 2 h 83"/>
                  <a:gd name="T40" fmla="*/ 37 w 78"/>
                  <a:gd name="T41" fmla="*/ 5 h 83"/>
                  <a:gd name="T42" fmla="*/ 31 w 78"/>
                  <a:gd name="T43" fmla="*/ 7 h 83"/>
                  <a:gd name="T44" fmla="*/ 25 w 78"/>
                  <a:gd name="T45" fmla="*/ 10 h 83"/>
                  <a:gd name="T46" fmla="*/ 20 w 78"/>
                  <a:gd name="T47" fmla="*/ 13 h 83"/>
                  <a:gd name="T48" fmla="*/ 18 w 78"/>
                  <a:gd name="T49" fmla="*/ 18 h 83"/>
                  <a:gd name="T50" fmla="*/ 21 w 78"/>
                  <a:gd name="T51" fmla="*/ 23 h 83"/>
                  <a:gd name="T52" fmla="*/ 18 w 78"/>
                  <a:gd name="T53" fmla="*/ 29 h 83"/>
                  <a:gd name="T54" fmla="*/ 14 w 78"/>
                  <a:gd name="T55" fmla="*/ 27 h 83"/>
                  <a:gd name="T56" fmla="*/ 13 w 78"/>
                  <a:gd name="T57" fmla="*/ 37 h 83"/>
                  <a:gd name="T58" fmla="*/ 9 w 78"/>
                  <a:gd name="T59" fmla="*/ 49 h 83"/>
                  <a:gd name="T60" fmla="*/ 4 w 78"/>
                  <a:gd name="T61" fmla="*/ 5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 h="83">
                    <a:moveTo>
                      <a:pt x="4" y="59"/>
                    </a:moveTo>
                    <a:cubicBezTo>
                      <a:pt x="2" y="61"/>
                      <a:pt x="0" y="65"/>
                      <a:pt x="3" y="65"/>
                    </a:cubicBezTo>
                    <a:cubicBezTo>
                      <a:pt x="8" y="66"/>
                      <a:pt x="8" y="70"/>
                      <a:pt x="11" y="73"/>
                    </a:cubicBezTo>
                    <a:cubicBezTo>
                      <a:pt x="12" y="75"/>
                      <a:pt x="13" y="77"/>
                      <a:pt x="13" y="79"/>
                    </a:cubicBezTo>
                    <a:cubicBezTo>
                      <a:pt x="13" y="80"/>
                      <a:pt x="13" y="83"/>
                      <a:pt x="16" y="82"/>
                    </a:cubicBezTo>
                    <a:cubicBezTo>
                      <a:pt x="18" y="79"/>
                      <a:pt x="20" y="76"/>
                      <a:pt x="23" y="74"/>
                    </a:cubicBezTo>
                    <a:cubicBezTo>
                      <a:pt x="28" y="71"/>
                      <a:pt x="32" y="71"/>
                      <a:pt x="35" y="65"/>
                    </a:cubicBezTo>
                    <a:cubicBezTo>
                      <a:pt x="37" y="60"/>
                      <a:pt x="36" y="53"/>
                      <a:pt x="41" y="50"/>
                    </a:cubicBezTo>
                    <a:cubicBezTo>
                      <a:pt x="43" y="49"/>
                      <a:pt x="45" y="48"/>
                      <a:pt x="46" y="46"/>
                    </a:cubicBezTo>
                    <a:cubicBezTo>
                      <a:pt x="48" y="44"/>
                      <a:pt x="49" y="41"/>
                      <a:pt x="51" y="39"/>
                    </a:cubicBezTo>
                    <a:cubicBezTo>
                      <a:pt x="53" y="37"/>
                      <a:pt x="55" y="35"/>
                      <a:pt x="58" y="34"/>
                    </a:cubicBezTo>
                    <a:cubicBezTo>
                      <a:pt x="59" y="32"/>
                      <a:pt x="60" y="30"/>
                      <a:pt x="62" y="29"/>
                    </a:cubicBezTo>
                    <a:cubicBezTo>
                      <a:pt x="64" y="27"/>
                      <a:pt x="68" y="25"/>
                      <a:pt x="71" y="24"/>
                    </a:cubicBezTo>
                    <a:cubicBezTo>
                      <a:pt x="73" y="22"/>
                      <a:pt x="76" y="21"/>
                      <a:pt x="77" y="18"/>
                    </a:cubicBezTo>
                    <a:cubicBezTo>
                      <a:pt x="78" y="16"/>
                      <a:pt x="75" y="14"/>
                      <a:pt x="74" y="12"/>
                    </a:cubicBezTo>
                    <a:cubicBezTo>
                      <a:pt x="72" y="10"/>
                      <a:pt x="66" y="0"/>
                      <a:pt x="59" y="7"/>
                    </a:cubicBezTo>
                    <a:cubicBezTo>
                      <a:pt x="58" y="8"/>
                      <a:pt x="57" y="10"/>
                      <a:pt x="55" y="10"/>
                    </a:cubicBezTo>
                    <a:cubicBezTo>
                      <a:pt x="53" y="10"/>
                      <a:pt x="52" y="9"/>
                      <a:pt x="50" y="8"/>
                    </a:cubicBezTo>
                    <a:cubicBezTo>
                      <a:pt x="48" y="7"/>
                      <a:pt x="47" y="7"/>
                      <a:pt x="45" y="6"/>
                    </a:cubicBezTo>
                    <a:cubicBezTo>
                      <a:pt x="44" y="5"/>
                      <a:pt x="44" y="2"/>
                      <a:pt x="42" y="2"/>
                    </a:cubicBezTo>
                    <a:cubicBezTo>
                      <a:pt x="40" y="2"/>
                      <a:pt x="38" y="3"/>
                      <a:pt x="37" y="5"/>
                    </a:cubicBezTo>
                    <a:cubicBezTo>
                      <a:pt x="35" y="7"/>
                      <a:pt x="32" y="7"/>
                      <a:pt x="31" y="7"/>
                    </a:cubicBezTo>
                    <a:cubicBezTo>
                      <a:pt x="29" y="8"/>
                      <a:pt x="27" y="9"/>
                      <a:pt x="25" y="10"/>
                    </a:cubicBezTo>
                    <a:cubicBezTo>
                      <a:pt x="23" y="11"/>
                      <a:pt x="22" y="12"/>
                      <a:pt x="20" y="13"/>
                    </a:cubicBezTo>
                    <a:cubicBezTo>
                      <a:pt x="18" y="15"/>
                      <a:pt x="19" y="16"/>
                      <a:pt x="18" y="18"/>
                    </a:cubicBezTo>
                    <a:cubicBezTo>
                      <a:pt x="17" y="21"/>
                      <a:pt x="20" y="21"/>
                      <a:pt x="21" y="23"/>
                    </a:cubicBezTo>
                    <a:cubicBezTo>
                      <a:pt x="21" y="24"/>
                      <a:pt x="20" y="27"/>
                      <a:pt x="18" y="29"/>
                    </a:cubicBezTo>
                    <a:cubicBezTo>
                      <a:pt x="17" y="30"/>
                      <a:pt x="15" y="27"/>
                      <a:pt x="14" y="27"/>
                    </a:cubicBezTo>
                    <a:cubicBezTo>
                      <a:pt x="12" y="31"/>
                      <a:pt x="13" y="34"/>
                      <a:pt x="13" y="37"/>
                    </a:cubicBezTo>
                    <a:cubicBezTo>
                      <a:pt x="13" y="41"/>
                      <a:pt x="11" y="45"/>
                      <a:pt x="9" y="49"/>
                    </a:cubicBezTo>
                    <a:cubicBezTo>
                      <a:pt x="8" y="53"/>
                      <a:pt x="7" y="56"/>
                      <a:pt x="4" y="5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3" name="Freeform 94"/>
              <p:cNvSpPr>
                <a:spLocks/>
              </p:cNvSpPr>
              <p:nvPr/>
            </p:nvSpPr>
            <p:spPr bwMode="auto">
              <a:xfrm>
                <a:off x="2930526" y="3851275"/>
                <a:ext cx="23813" cy="12700"/>
              </a:xfrm>
              <a:custGeom>
                <a:avLst/>
                <a:gdLst>
                  <a:gd name="T0" fmla="*/ 8 w 30"/>
                  <a:gd name="T1" fmla="*/ 13 h 18"/>
                  <a:gd name="T2" fmla="*/ 15 w 30"/>
                  <a:gd name="T3" fmla="*/ 13 h 18"/>
                  <a:gd name="T4" fmla="*/ 17 w 30"/>
                  <a:gd name="T5" fmla="*/ 12 h 18"/>
                  <a:gd name="T6" fmla="*/ 20 w 30"/>
                  <a:gd name="T7" fmla="*/ 12 h 18"/>
                  <a:gd name="T8" fmla="*/ 27 w 30"/>
                  <a:gd name="T9" fmla="*/ 11 h 18"/>
                  <a:gd name="T10" fmla="*/ 26 w 30"/>
                  <a:gd name="T11" fmla="*/ 5 h 18"/>
                  <a:gd name="T12" fmla="*/ 10 w 30"/>
                  <a:gd name="T13" fmla="*/ 8 h 18"/>
                  <a:gd name="T14" fmla="*/ 2 w 30"/>
                  <a:gd name="T15" fmla="*/ 14 h 18"/>
                  <a:gd name="T16" fmla="*/ 8 w 30"/>
                  <a:gd name="T17"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8">
                    <a:moveTo>
                      <a:pt x="8" y="13"/>
                    </a:moveTo>
                    <a:cubicBezTo>
                      <a:pt x="10" y="12"/>
                      <a:pt x="13" y="13"/>
                      <a:pt x="15" y="13"/>
                    </a:cubicBezTo>
                    <a:cubicBezTo>
                      <a:pt x="16" y="13"/>
                      <a:pt x="16" y="12"/>
                      <a:pt x="17" y="12"/>
                    </a:cubicBezTo>
                    <a:cubicBezTo>
                      <a:pt x="18" y="11"/>
                      <a:pt x="19" y="12"/>
                      <a:pt x="20" y="12"/>
                    </a:cubicBezTo>
                    <a:cubicBezTo>
                      <a:pt x="22" y="12"/>
                      <a:pt x="24" y="13"/>
                      <a:pt x="27" y="11"/>
                    </a:cubicBezTo>
                    <a:cubicBezTo>
                      <a:pt x="30" y="9"/>
                      <a:pt x="27" y="6"/>
                      <a:pt x="26" y="5"/>
                    </a:cubicBezTo>
                    <a:cubicBezTo>
                      <a:pt x="24" y="0"/>
                      <a:pt x="16" y="6"/>
                      <a:pt x="10" y="8"/>
                    </a:cubicBezTo>
                    <a:cubicBezTo>
                      <a:pt x="7" y="9"/>
                      <a:pt x="3" y="11"/>
                      <a:pt x="2" y="14"/>
                    </a:cubicBezTo>
                    <a:cubicBezTo>
                      <a:pt x="0" y="18"/>
                      <a:pt x="6" y="15"/>
                      <a:pt x="8"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4" name="Freeform 95"/>
              <p:cNvSpPr>
                <a:spLocks/>
              </p:cNvSpPr>
              <p:nvPr/>
            </p:nvSpPr>
            <p:spPr bwMode="auto">
              <a:xfrm>
                <a:off x="2932113" y="3862388"/>
                <a:ext cx="19050" cy="17463"/>
              </a:xfrm>
              <a:custGeom>
                <a:avLst/>
                <a:gdLst>
                  <a:gd name="T0" fmla="*/ 13 w 25"/>
                  <a:gd name="T1" fmla="*/ 19 h 23"/>
                  <a:gd name="T2" fmla="*/ 19 w 25"/>
                  <a:gd name="T3" fmla="*/ 12 h 23"/>
                  <a:gd name="T4" fmla="*/ 18 w 25"/>
                  <a:gd name="T5" fmla="*/ 7 h 23"/>
                  <a:gd name="T6" fmla="*/ 24 w 25"/>
                  <a:gd name="T7" fmla="*/ 5 h 23"/>
                  <a:gd name="T8" fmla="*/ 25 w 25"/>
                  <a:gd name="T9" fmla="*/ 2 h 23"/>
                  <a:gd name="T10" fmla="*/ 19 w 25"/>
                  <a:gd name="T11" fmla="*/ 3 h 23"/>
                  <a:gd name="T12" fmla="*/ 13 w 25"/>
                  <a:gd name="T13" fmla="*/ 4 h 23"/>
                  <a:gd name="T14" fmla="*/ 8 w 25"/>
                  <a:gd name="T15" fmla="*/ 6 h 23"/>
                  <a:gd name="T16" fmla="*/ 0 w 25"/>
                  <a:gd name="T17" fmla="*/ 14 h 23"/>
                  <a:gd name="T18" fmla="*/ 13 w 25"/>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3">
                    <a:moveTo>
                      <a:pt x="13" y="19"/>
                    </a:moveTo>
                    <a:cubicBezTo>
                      <a:pt x="16" y="17"/>
                      <a:pt x="19" y="15"/>
                      <a:pt x="19" y="12"/>
                    </a:cubicBezTo>
                    <a:cubicBezTo>
                      <a:pt x="19" y="11"/>
                      <a:pt x="14" y="9"/>
                      <a:pt x="18" y="7"/>
                    </a:cubicBezTo>
                    <a:cubicBezTo>
                      <a:pt x="20" y="6"/>
                      <a:pt x="22" y="7"/>
                      <a:pt x="24" y="5"/>
                    </a:cubicBezTo>
                    <a:cubicBezTo>
                      <a:pt x="25" y="5"/>
                      <a:pt x="25" y="3"/>
                      <a:pt x="25" y="2"/>
                    </a:cubicBezTo>
                    <a:cubicBezTo>
                      <a:pt x="25" y="0"/>
                      <a:pt x="20" y="2"/>
                      <a:pt x="19" y="3"/>
                    </a:cubicBezTo>
                    <a:cubicBezTo>
                      <a:pt x="17" y="4"/>
                      <a:pt x="15" y="3"/>
                      <a:pt x="13" y="4"/>
                    </a:cubicBezTo>
                    <a:cubicBezTo>
                      <a:pt x="11" y="5"/>
                      <a:pt x="10" y="6"/>
                      <a:pt x="8" y="6"/>
                    </a:cubicBezTo>
                    <a:cubicBezTo>
                      <a:pt x="4" y="8"/>
                      <a:pt x="1" y="11"/>
                      <a:pt x="0" y="14"/>
                    </a:cubicBezTo>
                    <a:cubicBezTo>
                      <a:pt x="0" y="19"/>
                      <a:pt x="5" y="23"/>
                      <a:pt x="13"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5" name="Freeform 96"/>
              <p:cNvSpPr>
                <a:spLocks/>
              </p:cNvSpPr>
              <p:nvPr/>
            </p:nvSpPr>
            <p:spPr bwMode="auto">
              <a:xfrm>
                <a:off x="2876551" y="3876675"/>
                <a:ext cx="44450" cy="36513"/>
              </a:xfrm>
              <a:custGeom>
                <a:avLst/>
                <a:gdLst>
                  <a:gd name="T0" fmla="*/ 1 w 59"/>
                  <a:gd name="T1" fmla="*/ 49 h 49"/>
                  <a:gd name="T2" fmla="*/ 7 w 59"/>
                  <a:gd name="T3" fmla="*/ 49 h 49"/>
                  <a:gd name="T4" fmla="*/ 14 w 59"/>
                  <a:gd name="T5" fmla="*/ 46 h 49"/>
                  <a:gd name="T6" fmla="*/ 18 w 59"/>
                  <a:gd name="T7" fmla="*/ 48 h 49"/>
                  <a:gd name="T8" fmla="*/ 25 w 59"/>
                  <a:gd name="T9" fmla="*/ 40 h 49"/>
                  <a:gd name="T10" fmla="*/ 29 w 59"/>
                  <a:gd name="T11" fmla="*/ 32 h 49"/>
                  <a:gd name="T12" fmla="*/ 35 w 59"/>
                  <a:gd name="T13" fmla="*/ 30 h 49"/>
                  <a:gd name="T14" fmla="*/ 39 w 59"/>
                  <a:gd name="T15" fmla="*/ 34 h 49"/>
                  <a:gd name="T16" fmla="*/ 43 w 59"/>
                  <a:gd name="T17" fmla="*/ 29 h 49"/>
                  <a:gd name="T18" fmla="*/ 48 w 59"/>
                  <a:gd name="T19" fmla="*/ 23 h 49"/>
                  <a:gd name="T20" fmla="*/ 51 w 59"/>
                  <a:gd name="T21" fmla="*/ 17 h 49"/>
                  <a:gd name="T22" fmla="*/ 53 w 59"/>
                  <a:gd name="T23" fmla="*/ 11 h 49"/>
                  <a:gd name="T24" fmla="*/ 55 w 59"/>
                  <a:gd name="T25" fmla="*/ 7 h 49"/>
                  <a:gd name="T26" fmla="*/ 55 w 59"/>
                  <a:gd name="T27" fmla="*/ 4 h 49"/>
                  <a:gd name="T28" fmla="*/ 57 w 59"/>
                  <a:gd name="T29" fmla="*/ 0 h 49"/>
                  <a:gd name="T30" fmla="*/ 51 w 59"/>
                  <a:gd name="T31" fmla="*/ 4 h 49"/>
                  <a:gd name="T32" fmla="*/ 45 w 59"/>
                  <a:gd name="T33" fmla="*/ 8 h 49"/>
                  <a:gd name="T34" fmla="*/ 35 w 59"/>
                  <a:gd name="T35" fmla="*/ 12 h 49"/>
                  <a:gd name="T36" fmla="*/ 25 w 59"/>
                  <a:gd name="T37" fmla="*/ 20 h 49"/>
                  <a:gd name="T38" fmla="*/ 16 w 59"/>
                  <a:gd name="T39" fmla="*/ 29 h 49"/>
                  <a:gd name="T40" fmla="*/ 10 w 59"/>
                  <a:gd name="T41" fmla="*/ 35 h 49"/>
                  <a:gd name="T42" fmla="*/ 2 w 59"/>
                  <a:gd name="T43" fmla="*/ 40 h 49"/>
                  <a:gd name="T44" fmla="*/ 3 w 59"/>
                  <a:gd name="T45" fmla="*/ 43 h 49"/>
                  <a:gd name="T46" fmla="*/ 2 w 59"/>
                  <a:gd name="T47" fmla="*/ 45 h 49"/>
                  <a:gd name="T48" fmla="*/ 1 w 59"/>
                  <a:gd name="T4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49">
                    <a:moveTo>
                      <a:pt x="1" y="49"/>
                    </a:moveTo>
                    <a:cubicBezTo>
                      <a:pt x="4" y="48"/>
                      <a:pt x="6" y="46"/>
                      <a:pt x="7" y="49"/>
                    </a:cubicBezTo>
                    <a:cubicBezTo>
                      <a:pt x="10" y="49"/>
                      <a:pt x="11" y="44"/>
                      <a:pt x="14" y="46"/>
                    </a:cubicBezTo>
                    <a:cubicBezTo>
                      <a:pt x="15" y="46"/>
                      <a:pt x="16" y="49"/>
                      <a:pt x="18" y="48"/>
                    </a:cubicBezTo>
                    <a:cubicBezTo>
                      <a:pt x="21" y="47"/>
                      <a:pt x="24" y="42"/>
                      <a:pt x="25" y="40"/>
                    </a:cubicBezTo>
                    <a:cubicBezTo>
                      <a:pt x="27" y="37"/>
                      <a:pt x="26" y="35"/>
                      <a:pt x="29" y="32"/>
                    </a:cubicBezTo>
                    <a:cubicBezTo>
                      <a:pt x="30" y="31"/>
                      <a:pt x="35" y="27"/>
                      <a:pt x="35" y="30"/>
                    </a:cubicBezTo>
                    <a:cubicBezTo>
                      <a:pt x="35" y="32"/>
                      <a:pt x="38" y="37"/>
                      <a:pt x="39" y="34"/>
                    </a:cubicBezTo>
                    <a:cubicBezTo>
                      <a:pt x="41" y="33"/>
                      <a:pt x="42" y="31"/>
                      <a:pt x="43" y="29"/>
                    </a:cubicBezTo>
                    <a:cubicBezTo>
                      <a:pt x="44" y="27"/>
                      <a:pt x="46" y="25"/>
                      <a:pt x="48" y="23"/>
                    </a:cubicBezTo>
                    <a:cubicBezTo>
                      <a:pt x="50" y="22"/>
                      <a:pt x="51" y="19"/>
                      <a:pt x="51" y="17"/>
                    </a:cubicBezTo>
                    <a:cubicBezTo>
                      <a:pt x="51" y="15"/>
                      <a:pt x="50" y="13"/>
                      <a:pt x="53" y="11"/>
                    </a:cubicBezTo>
                    <a:cubicBezTo>
                      <a:pt x="56" y="9"/>
                      <a:pt x="57" y="9"/>
                      <a:pt x="55" y="7"/>
                    </a:cubicBezTo>
                    <a:cubicBezTo>
                      <a:pt x="55" y="6"/>
                      <a:pt x="53" y="6"/>
                      <a:pt x="55" y="4"/>
                    </a:cubicBezTo>
                    <a:cubicBezTo>
                      <a:pt x="55" y="4"/>
                      <a:pt x="59" y="0"/>
                      <a:pt x="57" y="0"/>
                    </a:cubicBezTo>
                    <a:cubicBezTo>
                      <a:pt x="55" y="0"/>
                      <a:pt x="52" y="3"/>
                      <a:pt x="51" y="4"/>
                    </a:cubicBezTo>
                    <a:cubicBezTo>
                      <a:pt x="49" y="5"/>
                      <a:pt x="47" y="7"/>
                      <a:pt x="45" y="8"/>
                    </a:cubicBezTo>
                    <a:cubicBezTo>
                      <a:pt x="42" y="10"/>
                      <a:pt x="38" y="10"/>
                      <a:pt x="35" y="12"/>
                    </a:cubicBezTo>
                    <a:cubicBezTo>
                      <a:pt x="32" y="15"/>
                      <a:pt x="28" y="18"/>
                      <a:pt x="25" y="20"/>
                    </a:cubicBezTo>
                    <a:cubicBezTo>
                      <a:pt x="21" y="23"/>
                      <a:pt x="19" y="25"/>
                      <a:pt x="16" y="29"/>
                    </a:cubicBezTo>
                    <a:cubicBezTo>
                      <a:pt x="15" y="31"/>
                      <a:pt x="13" y="33"/>
                      <a:pt x="10" y="35"/>
                    </a:cubicBezTo>
                    <a:cubicBezTo>
                      <a:pt x="8" y="36"/>
                      <a:pt x="3" y="37"/>
                      <a:pt x="2" y="40"/>
                    </a:cubicBezTo>
                    <a:cubicBezTo>
                      <a:pt x="2" y="41"/>
                      <a:pt x="3" y="42"/>
                      <a:pt x="3" y="43"/>
                    </a:cubicBezTo>
                    <a:cubicBezTo>
                      <a:pt x="3" y="43"/>
                      <a:pt x="3" y="44"/>
                      <a:pt x="2" y="45"/>
                    </a:cubicBezTo>
                    <a:cubicBezTo>
                      <a:pt x="2" y="46"/>
                      <a:pt x="0" y="49"/>
                      <a:pt x="1" y="4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6" name="Freeform 97"/>
              <p:cNvSpPr>
                <a:spLocks/>
              </p:cNvSpPr>
              <p:nvPr/>
            </p:nvSpPr>
            <p:spPr bwMode="auto">
              <a:xfrm>
                <a:off x="3124201" y="4075113"/>
                <a:ext cx="9525" cy="4763"/>
              </a:xfrm>
              <a:custGeom>
                <a:avLst/>
                <a:gdLst>
                  <a:gd name="T0" fmla="*/ 8 w 12"/>
                  <a:gd name="T1" fmla="*/ 3 h 7"/>
                  <a:gd name="T2" fmla="*/ 5 w 12"/>
                  <a:gd name="T3" fmla="*/ 7 h 7"/>
                  <a:gd name="T4" fmla="*/ 8 w 12"/>
                  <a:gd name="T5" fmla="*/ 3 h 7"/>
                </a:gdLst>
                <a:ahLst/>
                <a:cxnLst>
                  <a:cxn ang="0">
                    <a:pos x="T0" y="T1"/>
                  </a:cxn>
                  <a:cxn ang="0">
                    <a:pos x="T2" y="T3"/>
                  </a:cxn>
                  <a:cxn ang="0">
                    <a:pos x="T4" y="T5"/>
                  </a:cxn>
                </a:cxnLst>
                <a:rect l="0" t="0" r="r" b="b"/>
                <a:pathLst>
                  <a:path w="12" h="7">
                    <a:moveTo>
                      <a:pt x="8" y="3"/>
                    </a:moveTo>
                    <a:cubicBezTo>
                      <a:pt x="4" y="0"/>
                      <a:pt x="0" y="5"/>
                      <a:pt x="5" y="7"/>
                    </a:cubicBezTo>
                    <a:cubicBezTo>
                      <a:pt x="7" y="7"/>
                      <a:pt x="12" y="5"/>
                      <a:pt x="8"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7" name="Freeform 98"/>
              <p:cNvSpPr>
                <a:spLocks/>
              </p:cNvSpPr>
              <p:nvPr/>
            </p:nvSpPr>
            <p:spPr bwMode="auto">
              <a:xfrm>
                <a:off x="3216276" y="4111625"/>
                <a:ext cx="6350" cy="4763"/>
              </a:xfrm>
              <a:custGeom>
                <a:avLst/>
                <a:gdLst>
                  <a:gd name="T0" fmla="*/ 2 w 9"/>
                  <a:gd name="T1" fmla="*/ 4 h 7"/>
                  <a:gd name="T2" fmla="*/ 6 w 9"/>
                  <a:gd name="T3" fmla="*/ 1 h 7"/>
                  <a:gd name="T4" fmla="*/ 2 w 9"/>
                  <a:gd name="T5" fmla="*/ 4 h 7"/>
                </a:gdLst>
                <a:ahLst/>
                <a:cxnLst>
                  <a:cxn ang="0">
                    <a:pos x="T0" y="T1"/>
                  </a:cxn>
                  <a:cxn ang="0">
                    <a:pos x="T2" y="T3"/>
                  </a:cxn>
                  <a:cxn ang="0">
                    <a:pos x="T4" y="T5"/>
                  </a:cxn>
                </a:cxnLst>
                <a:rect l="0" t="0" r="r" b="b"/>
                <a:pathLst>
                  <a:path w="9" h="7">
                    <a:moveTo>
                      <a:pt x="2" y="4"/>
                    </a:moveTo>
                    <a:cubicBezTo>
                      <a:pt x="4" y="7"/>
                      <a:pt x="9" y="3"/>
                      <a:pt x="6" y="1"/>
                    </a:cubicBezTo>
                    <a:cubicBezTo>
                      <a:pt x="4" y="0"/>
                      <a:pt x="0" y="1"/>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8" name="Freeform 99"/>
              <p:cNvSpPr>
                <a:spLocks/>
              </p:cNvSpPr>
              <p:nvPr/>
            </p:nvSpPr>
            <p:spPr bwMode="auto">
              <a:xfrm>
                <a:off x="3219451" y="4102100"/>
                <a:ext cx="6350" cy="4763"/>
              </a:xfrm>
              <a:custGeom>
                <a:avLst/>
                <a:gdLst>
                  <a:gd name="T0" fmla="*/ 3 w 7"/>
                  <a:gd name="T1" fmla="*/ 0 h 5"/>
                  <a:gd name="T2" fmla="*/ 5 w 7"/>
                  <a:gd name="T3" fmla="*/ 5 h 5"/>
                  <a:gd name="T4" fmla="*/ 5 w 7"/>
                  <a:gd name="T5" fmla="*/ 0 h 5"/>
                  <a:gd name="T6" fmla="*/ 3 w 7"/>
                  <a:gd name="T7" fmla="*/ 0 h 5"/>
                </a:gdLst>
                <a:ahLst/>
                <a:cxnLst>
                  <a:cxn ang="0">
                    <a:pos x="T0" y="T1"/>
                  </a:cxn>
                  <a:cxn ang="0">
                    <a:pos x="T2" y="T3"/>
                  </a:cxn>
                  <a:cxn ang="0">
                    <a:pos x="T4" y="T5"/>
                  </a:cxn>
                  <a:cxn ang="0">
                    <a:pos x="T6" y="T7"/>
                  </a:cxn>
                </a:cxnLst>
                <a:rect l="0" t="0" r="r" b="b"/>
                <a:pathLst>
                  <a:path w="7" h="5">
                    <a:moveTo>
                      <a:pt x="3" y="0"/>
                    </a:moveTo>
                    <a:cubicBezTo>
                      <a:pt x="0" y="0"/>
                      <a:pt x="2" y="5"/>
                      <a:pt x="5" y="5"/>
                    </a:cubicBezTo>
                    <a:cubicBezTo>
                      <a:pt x="7" y="5"/>
                      <a:pt x="7" y="0"/>
                      <a:pt x="5" y="0"/>
                    </a:cubicBezTo>
                    <a:lnTo>
                      <a:pt x="3" y="0"/>
                    </a:ln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89" name="Freeform 100"/>
              <p:cNvSpPr>
                <a:spLocks/>
              </p:cNvSpPr>
              <p:nvPr/>
            </p:nvSpPr>
            <p:spPr bwMode="auto">
              <a:xfrm>
                <a:off x="3048001" y="3922713"/>
                <a:ext cx="193675" cy="188913"/>
              </a:xfrm>
              <a:custGeom>
                <a:avLst/>
                <a:gdLst>
                  <a:gd name="T0" fmla="*/ 247 w 256"/>
                  <a:gd name="T1" fmla="*/ 167 h 250"/>
                  <a:gd name="T2" fmla="*/ 231 w 256"/>
                  <a:gd name="T3" fmla="*/ 143 h 250"/>
                  <a:gd name="T4" fmla="*/ 200 w 256"/>
                  <a:gd name="T5" fmla="*/ 119 h 250"/>
                  <a:gd name="T6" fmla="*/ 187 w 256"/>
                  <a:gd name="T7" fmla="*/ 101 h 250"/>
                  <a:gd name="T8" fmla="*/ 194 w 256"/>
                  <a:gd name="T9" fmla="*/ 93 h 250"/>
                  <a:gd name="T10" fmla="*/ 184 w 256"/>
                  <a:gd name="T11" fmla="*/ 80 h 250"/>
                  <a:gd name="T12" fmla="*/ 178 w 256"/>
                  <a:gd name="T13" fmla="*/ 80 h 250"/>
                  <a:gd name="T14" fmla="*/ 166 w 256"/>
                  <a:gd name="T15" fmla="*/ 65 h 250"/>
                  <a:gd name="T16" fmla="*/ 153 w 256"/>
                  <a:gd name="T17" fmla="*/ 62 h 250"/>
                  <a:gd name="T18" fmla="*/ 157 w 256"/>
                  <a:gd name="T19" fmla="*/ 50 h 250"/>
                  <a:gd name="T20" fmla="*/ 139 w 256"/>
                  <a:gd name="T21" fmla="*/ 45 h 250"/>
                  <a:gd name="T22" fmla="*/ 129 w 256"/>
                  <a:gd name="T23" fmla="*/ 38 h 250"/>
                  <a:gd name="T24" fmla="*/ 120 w 256"/>
                  <a:gd name="T25" fmla="*/ 27 h 250"/>
                  <a:gd name="T26" fmla="*/ 103 w 256"/>
                  <a:gd name="T27" fmla="*/ 5 h 250"/>
                  <a:gd name="T28" fmla="*/ 82 w 256"/>
                  <a:gd name="T29" fmla="*/ 12 h 250"/>
                  <a:gd name="T30" fmla="*/ 103 w 256"/>
                  <a:gd name="T31" fmla="*/ 24 h 250"/>
                  <a:gd name="T32" fmla="*/ 99 w 256"/>
                  <a:gd name="T33" fmla="*/ 34 h 250"/>
                  <a:gd name="T34" fmla="*/ 89 w 256"/>
                  <a:gd name="T35" fmla="*/ 36 h 250"/>
                  <a:gd name="T36" fmla="*/ 75 w 256"/>
                  <a:gd name="T37" fmla="*/ 38 h 250"/>
                  <a:gd name="T38" fmla="*/ 63 w 256"/>
                  <a:gd name="T39" fmla="*/ 3 h 250"/>
                  <a:gd name="T40" fmla="*/ 46 w 256"/>
                  <a:gd name="T41" fmla="*/ 9 h 250"/>
                  <a:gd name="T42" fmla="*/ 40 w 256"/>
                  <a:gd name="T43" fmla="*/ 20 h 250"/>
                  <a:gd name="T44" fmla="*/ 42 w 256"/>
                  <a:gd name="T45" fmla="*/ 45 h 250"/>
                  <a:gd name="T46" fmla="*/ 32 w 256"/>
                  <a:gd name="T47" fmla="*/ 38 h 250"/>
                  <a:gd name="T48" fmla="*/ 34 w 256"/>
                  <a:gd name="T49" fmla="*/ 17 h 250"/>
                  <a:gd name="T50" fmla="*/ 41 w 256"/>
                  <a:gd name="T51" fmla="*/ 0 h 250"/>
                  <a:gd name="T52" fmla="*/ 9 w 256"/>
                  <a:gd name="T53" fmla="*/ 17 h 250"/>
                  <a:gd name="T54" fmla="*/ 1 w 256"/>
                  <a:gd name="T55" fmla="*/ 53 h 250"/>
                  <a:gd name="T56" fmla="*/ 10 w 256"/>
                  <a:gd name="T57" fmla="*/ 61 h 250"/>
                  <a:gd name="T58" fmla="*/ 20 w 256"/>
                  <a:gd name="T59" fmla="*/ 78 h 250"/>
                  <a:gd name="T60" fmla="*/ 58 w 256"/>
                  <a:gd name="T61" fmla="*/ 84 h 250"/>
                  <a:gd name="T62" fmla="*/ 92 w 256"/>
                  <a:gd name="T63" fmla="*/ 85 h 250"/>
                  <a:gd name="T64" fmla="*/ 104 w 256"/>
                  <a:gd name="T65" fmla="*/ 74 h 250"/>
                  <a:gd name="T66" fmla="*/ 112 w 256"/>
                  <a:gd name="T67" fmla="*/ 89 h 250"/>
                  <a:gd name="T68" fmla="*/ 117 w 256"/>
                  <a:gd name="T69" fmla="*/ 99 h 250"/>
                  <a:gd name="T70" fmla="*/ 120 w 256"/>
                  <a:gd name="T71" fmla="*/ 105 h 250"/>
                  <a:gd name="T72" fmla="*/ 140 w 256"/>
                  <a:gd name="T73" fmla="*/ 115 h 250"/>
                  <a:gd name="T74" fmla="*/ 154 w 256"/>
                  <a:gd name="T75" fmla="*/ 142 h 250"/>
                  <a:gd name="T76" fmla="*/ 166 w 256"/>
                  <a:gd name="T77" fmla="*/ 149 h 250"/>
                  <a:gd name="T78" fmla="*/ 183 w 256"/>
                  <a:gd name="T79" fmla="*/ 158 h 250"/>
                  <a:gd name="T80" fmla="*/ 156 w 256"/>
                  <a:gd name="T81" fmla="*/ 155 h 250"/>
                  <a:gd name="T82" fmla="*/ 145 w 256"/>
                  <a:gd name="T83" fmla="*/ 172 h 250"/>
                  <a:gd name="T84" fmla="*/ 110 w 256"/>
                  <a:gd name="T85" fmla="*/ 180 h 250"/>
                  <a:gd name="T86" fmla="*/ 120 w 256"/>
                  <a:gd name="T87" fmla="*/ 202 h 250"/>
                  <a:gd name="T88" fmla="*/ 141 w 256"/>
                  <a:gd name="T89" fmla="*/ 198 h 250"/>
                  <a:gd name="T90" fmla="*/ 160 w 256"/>
                  <a:gd name="T91" fmla="*/ 212 h 250"/>
                  <a:gd name="T92" fmla="*/ 179 w 256"/>
                  <a:gd name="T93" fmla="*/ 231 h 250"/>
                  <a:gd name="T94" fmla="*/ 204 w 256"/>
                  <a:gd name="T95" fmla="*/ 245 h 250"/>
                  <a:gd name="T96" fmla="*/ 202 w 256"/>
                  <a:gd name="T97" fmla="*/ 228 h 250"/>
                  <a:gd name="T98" fmla="*/ 230 w 256"/>
                  <a:gd name="T99" fmla="*/ 234 h 250"/>
                  <a:gd name="T100" fmla="*/ 222 w 256"/>
                  <a:gd name="T101" fmla="*/ 203 h 250"/>
                  <a:gd name="T102" fmla="*/ 203 w 256"/>
                  <a:gd name="T103" fmla="*/ 179 h 250"/>
                  <a:gd name="T104" fmla="*/ 205 w 256"/>
                  <a:gd name="T105" fmla="*/ 159 h 250"/>
                  <a:gd name="T106" fmla="*/ 220 w 256"/>
                  <a:gd name="T107" fmla="*/ 178 h 250"/>
                  <a:gd name="T108" fmla="*/ 242 w 256"/>
                  <a:gd name="T109" fmla="*/ 17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6" h="250">
                    <a:moveTo>
                      <a:pt x="242" y="179"/>
                    </a:moveTo>
                    <a:cubicBezTo>
                      <a:pt x="244" y="180"/>
                      <a:pt x="244" y="176"/>
                      <a:pt x="244" y="175"/>
                    </a:cubicBezTo>
                    <a:cubicBezTo>
                      <a:pt x="245" y="172"/>
                      <a:pt x="246" y="170"/>
                      <a:pt x="247" y="167"/>
                    </a:cubicBezTo>
                    <a:cubicBezTo>
                      <a:pt x="250" y="163"/>
                      <a:pt x="256" y="158"/>
                      <a:pt x="253" y="152"/>
                    </a:cubicBezTo>
                    <a:cubicBezTo>
                      <a:pt x="249" y="145"/>
                      <a:pt x="244" y="150"/>
                      <a:pt x="239" y="150"/>
                    </a:cubicBezTo>
                    <a:cubicBezTo>
                      <a:pt x="236" y="150"/>
                      <a:pt x="235" y="144"/>
                      <a:pt x="231" y="143"/>
                    </a:cubicBezTo>
                    <a:cubicBezTo>
                      <a:pt x="227" y="142"/>
                      <a:pt x="229" y="137"/>
                      <a:pt x="226" y="134"/>
                    </a:cubicBezTo>
                    <a:cubicBezTo>
                      <a:pt x="220" y="130"/>
                      <a:pt x="212" y="131"/>
                      <a:pt x="207" y="126"/>
                    </a:cubicBezTo>
                    <a:cubicBezTo>
                      <a:pt x="205" y="124"/>
                      <a:pt x="203" y="121"/>
                      <a:pt x="200" y="119"/>
                    </a:cubicBezTo>
                    <a:cubicBezTo>
                      <a:pt x="198" y="118"/>
                      <a:pt x="196" y="117"/>
                      <a:pt x="194" y="116"/>
                    </a:cubicBezTo>
                    <a:cubicBezTo>
                      <a:pt x="191" y="114"/>
                      <a:pt x="191" y="111"/>
                      <a:pt x="191" y="109"/>
                    </a:cubicBezTo>
                    <a:cubicBezTo>
                      <a:pt x="191" y="105"/>
                      <a:pt x="189" y="104"/>
                      <a:pt x="187" y="101"/>
                    </a:cubicBezTo>
                    <a:cubicBezTo>
                      <a:pt x="186" y="98"/>
                      <a:pt x="191" y="98"/>
                      <a:pt x="193" y="98"/>
                    </a:cubicBezTo>
                    <a:cubicBezTo>
                      <a:pt x="195" y="98"/>
                      <a:pt x="203" y="100"/>
                      <a:pt x="203" y="99"/>
                    </a:cubicBezTo>
                    <a:cubicBezTo>
                      <a:pt x="205" y="95"/>
                      <a:pt x="196" y="95"/>
                      <a:pt x="194" y="93"/>
                    </a:cubicBezTo>
                    <a:cubicBezTo>
                      <a:pt x="192" y="91"/>
                      <a:pt x="192" y="89"/>
                      <a:pt x="195" y="88"/>
                    </a:cubicBezTo>
                    <a:cubicBezTo>
                      <a:pt x="197" y="88"/>
                      <a:pt x="197" y="86"/>
                      <a:pt x="197" y="84"/>
                    </a:cubicBezTo>
                    <a:cubicBezTo>
                      <a:pt x="195" y="80"/>
                      <a:pt x="188" y="77"/>
                      <a:pt x="184" y="80"/>
                    </a:cubicBezTo>
                    <a:cubicBezTo>
                      <a:pt x="181" y="82"/>
                      <a:pt x="180" y="89"/>
                      <a:pt x="175" y="88"/>
                    </a:cubicBezTo>
                    <a:cubicBezTo>
                      <a:pt x="173" y="88"/>
                      <a:pt x="173" y="86"/>
                      <a:pt x="173" y="84"/>
                    </a:cubicBezTo>
                    <a:cubicBezTo>
                      <a:pt x="173" y="82"/>
                      <a:pt x="175" y="81"/>
                      <a:pt x="178" y="80"/>
                    </a:cubicBezTo>
                    <a:cubicBezTo>
                      <a:pt x="183" y="78"/>
                      <a:pt x="186" y="74"/>
                      <a:pt x="184" y="69"/>
                    </a:cubicBezTo>
                    <a:cubicBezTo>
                      <a:pt x="179" y="68"/>
                      <a:pt x="175" y="67"/>
                      <a:pt x="171" y="68"/>
                    </a:cubicBezTo>
                    <a:cubicBezTo>
                      <a:pt x="167" y="70"/>
                      <a:pt x="166" y="67"/>
                      <a:pt x="166" y="65"/>
                    </a:cubicBezTo>
                    <a:cubicBezTo>
                      <a:pt x="165" y="61"/>
                      <a:pt x="158" y="64"/>
                      <a:pt x="156" y="65"/>
                    </a:cubicBezTo>
                    <a:cubicBezTo>
                      <a:pt x="156" y="65"/>
                      <a:pt x="153" y="66"/>
                      <a:pt x="152" y="65"/>
                    </a:cubicBezTo>
                    <a:cubicBezTo>
                      <a:pt x="152" y="64"/>
                      <a:pt x="152" y="62"/>
                      <a:pt x="153" y="62"/>
                    </a:cubicBezTo>
                    <a:cubicBezTo>
                      <a:pt x="154" y="61"/>
                      <a:pt x="155" y="60"/>
                      <a:pt x="157" y="60"/>
                    </a:cubicBezTo>
                    <a:cubicBezTo>
                      <a:pt x="159" y="60"/>
                      <a:pt x="161" y="59"/>
                      <a:pt x="162" y="58"/>
                    </a:cubicBezTo>
                    <a:cubicBezTo>
                      <a:pt x="163" y="55"/>
                      <a:pt x="160" y="51"/>
                      <a:pt x="157" y="50"/>
                    </a:cubicBezTo>
                    <a:cubicBezTo>
                      <a:pt x="154" y="48"/>
                      <a:pt x="149" y="48"/>
                      <a:pt x="146" y="49"/>
                    </a:cubicBezTo>
                    <a:cubicBezTo>
                      <a:pt x="142" y="50"/>
                      <a:pt x="142" y="52"/>
                      <a:pt x="141" y="55"/>
                    </a:cubicBezTo>
                    <a:cubicBezTo>
                      <a:pt x="136" y="55"/>
                      <a:pt x="146" y="45"/>
                      <a:pt x="139" y="45"/>
                    </a:cubicBezTo>
                    <a:cubicBezTo>
                      <a:pt x="136" y="46"/>
                      <a:pt x="134" y="47"/>
                      <a:pt x="132" y="49"/>
                    </a:cubicBezTo>
                    <a:cubicBezTo>
                      <a:pt x="129" y="52"/>
                      <a:pt x="128" y="45"/>
                      <a:pt x="130" y="44"/>
                    </a:cubicBezTo>
                    <a:cubicBezTo>
                      <a:pt x="133" y="42"/>
                      <a:pt x="134" y="39"/>
                      <a:pt x="129" y="38"/>
                    </a:cubicBezTo>
                    <a:cubicBezTo>
                      <a:pt x="123" y="36"/>
                      <a:pt x="128" y="33"/>
                      <a:pt x="127" y="30"/>
                    </a:cubicBezTo>
                    <a:cubicBezTo>
                      <a:pt x="127" y="29"/>
                      <a:pt x="127" y="27"/>
                      <a:pt x="125" y="26"/>
                    </a:cubicBezTo>
                    <a:cubicBezTo>
                      <a:pt x="123" y="26"/>
                      <a:pt x="121" y="27"/>
                      <a:pt x="120" y="27"/>
                    </a:cubicBezTo>
                    <a:cubicBezTo>
                      <a:pt x="117" y="27"/>
                      <a:pt x="113" y="23"/>
                      <a:pt x="112" y="21"/>
                    </a:cubicBezTo>
                    <a:cubicBezTo>
                      <a:pt x="119" y="23"/>
                      <a:pt x="119" y="18"/>
                      <a:pt x="115" y="14"/>
                    </a:cubicBezTo>
                    <a:cubicBezTo>
                      <a:pt x="112" y="11"/>
                      <a:pt x="109" y="6"/>
                      <a:pt x="103" y="5"/>
                    </a:cubicBezTo>
                    <a:cubicBezTo>
                      <a:pt x="99" y="5"/>
                      <a:pt x="96" y="5"/>
                      <a:pt x="93" y="5"/>
                    </a:cubicBezTo>
                    <a:cubicBezTo>
                      <a:pt x="90" y="5"/>
                      <a:pt x="86" y="4"/>
                      <a:pt x="83" y="4"/>
                    </a:cubicBezTo>
                    <a:cubicBezTo>
                      <a:pt x="77" y="2"/>
                      <a:pt x="80" y="10"/>
                      <a:pt x="82" y="12"/>
                    </a:cubicBezTo>
                    <a:cubicBezTo>
                      <a:pt x="84" y="15"/>
                      <a:pt x="88" y="22"/>
                      <a:pt x="92" y="22"/>
                    </a:cubicBezTo>
                    <a:cubicBezTo>
                      <a:pt x="95" y="22"/>
                      <a:pt x="97" y="21"/>
                      <a:pt x="100" y="21"/>
                    </a:cubicBezTo>
                    <a:cubicBezTo>
                      <a:pt x="102" y="21"/>
                      <a:pt x="105" y="23"/>
                      <a:pt x="103" y="24"/>
                    </a:cubicBezTo>
                    <a:cubicBezTo>
                      <a:pt x="101" y="25"/>
                      <a:pt x="99" y="24"/>
                      <a:pt x="97" y="25"/>
                    </a:cubicBezTo>
                    <a:cubicBezTo>
                      <a:pt x="96" y="26"/>
                      <a:pt x="99" y="29"/>
                      <a:pt x="100" y="30"/>
                    </a:cubicBezTo>
                    <a:cubicBezTo>
                      <a:pt x="100" y="31"/>
                      <a:pt x="101" y="34"/>
                      <a:pt x="99" y="34"/>
                    </a:cubicBezTo>
                    <a:cubicBezTo>
                      <a:pt x="98" y="35"/>
                      <a:pt x="94" y="35"/>
                      <a:pt x="94" y="36"/>
                    </a:cubicBezTo>
                    <a:cubicBezTo>
                      <a:pt x="93" y="37"/>
                      <a:pt x="94" y="39"/>
                      <a:pt x="92" y="39"/>
                    </a:cubicBezTo>
                    <a:cubicBezTo>
                      <a:pt x="91" y="39"/>
                      <a:pt x="89" y="37"/>
                      <a:pt x="89" y="36"/>
                    </a:cubicBezTo>
                    <a:cubicBezTo>
                      <a:pt x="87" y="35"/>
                      <a:pt x="86" y="31"/>
                      <a:pt x="83" y="33"/>
                    </a:cubicBezTo>
                    <a:cubicBezTo>
                      <a:pt x="81" y="35"/>
                      <a:pt x="80" y="37"/>
                      <a:pt x="78" y="39"/>
                    </a:cubicBezTo>
                    <a:cubicBezTo>
                      <a:pt x="77" y="41"/>
                      <a:pt x="75" y="39"/>
                      <a:pt x="75" y="38"/>
                    </a:cubicBezTo>
                    <a:cubicBezTo>
                      <a:pt x="73" y="35"/>
                      <a:pt x="75" y="33"/>
                      <a:pt x="76" y="31"/>
                    </a:cubicBezTo>
                    <a:cubicBezTo>
                      <a:pt x="82" y="24"/>
                      <a:pt x="79" y="12"/>
                      <a:pt x="73" y="5"/>
                    </a:cubicBezTo>
                    <a:cubicBezTo>
                      <a:pt x="71" y="3"/>
                      <a:pt x="67" y="2"/>
                      <a:pt x="63" y="3"/>
                    </a:cubicBezTo>
                    <a:cubicBezTo>
                      <a:pt x="60" y="4"/>
                      <a:pt x="58" y="3"/>
                      <a:pt x="56" y="4"/>
                    </a:cubicBezTo>
                    <a:cubicBezTo>
                      <a:pt x="54" y="6"/>
                      <a:pt x="54" y="8"/>
                      <a:pt x="51" y="9"/>
                    </a:cubicBezTo>
                    <a:cubicBezTo>
                      <a:pt x="50" y="9"/>
                      <a:pt x="48" y="9"/>
                      <a:pt x="46" y="9"/>
                    </a:cubicBezTo>
                    <a:cubicBezTo>
                      <a:pt x="46" y="10"/>
                      <a:pt x="45" y="14"/>
                      <a:pt x="45" y="14"/>
                    </a:cubicBezTo>
                    <a:cubicBezTo>
                      <a:pt x="44" y="16"/>
                      <a:pt x="46" y="17"/>
                      <a:pt x="44" y="18"/>
                    </a:cubicBezTo>
                    <a:cubicBezTo>
                      <a:pt x="43" y="19"/>
                      <a:pt x="41" y="19"/>
                      <a:pt x="40" y="20"/>
                    </a:cubicBezTo>
                    <a:cubicBezTo>
                      <a:pt x="37" y="22"/>
                      <a:pt x="40" y="27"/>
                      <a:pt x="42" y="28"/>
                    </a:cubicBezTo>
                    <a:cubicBezTo>
                      <a:pt x="46" y="32"/>
                      <a:pt x="45" y="32"/>
                      <a:pt x="40" y="35"/>
                    </a:cubicBezTo>
                    <a:cubicBezTo>
                      <a:pt x="35" y="37"/>
                      <a:pt x="40" y="43"/>
                      <a:pt x="42" y="45"/>
                    </a:cubicBezTo>
                    <a:cubicBezTo>
                      <a:pt x="44" y="47"/>
                      <a:pt x="48" y="53"/>
                      <a:pt x="42" y="51"/>
                    </a:cubicBezTo>
                    <a:cubicBezTo>
                      <a:pt x="36" y="50"/>
                      <a:pt x="37" y="47"/>
                      <a:pt x="35" y="44"/>
                    </a:cubicBezTo>
                    <a:cubicBezTo>
                      <a:pt x="34" y="42"/>
                      <a:pt x="32" y="40"/>
                      <a:pt x="32" y="38"/>
                    </a:cubicBezTo>
                    <a:cubicBezTo>
                      <a:pt x="32" y="35"/>
                      <a:pt x="34" y="32"/>
                      <a:pt x="33" y="29"/>
                    </a:cubicBezTo>
                    <a:cubicBezTo>
                      <a:pt x="32" y="27"/>
                      <a:pt x="31" y="26"/>
                      <a:pt x="30" y="24"/>
                    </a:cubicBezTo>
                    <a:cubicBezTo>
                      <a:pt x="30" y="21"/>
                      <a:pt x="32" y="19"/>
                      <a:pt x="34" y="17"/>
                    </a:cubicBezTo>
                    <a:cubicBezTo>
                      <a:pt x="36" y="16"/>
                      <a:pt x="37" y="14"/>
                      <a:pt x="40" y="13"/>
                    </a:cubicBezTo>
                    <a:cubicBezTo>
                      <a:pt x="42" y="11"/>
                      <a:pt x="42" y="8"/>
                      <a:pt x="44" y="7"/>
                    </a:cubicBezTo>
                    <a:cubicBezTo>
                      <a:pt x="50" y="3"/>
                      <a:pt x="47" y="0"/>
                      <a:pt x="41" y="0"/>
                    </a:cubicBezTo>
                    <a:cubicBezTo>
                      <a:pt x="34" y="0"/>
                      <a:pt x="27" y="2"/>
                      <a:pt x="22" y="6"/>
                    </a:cubicBezTo>
                    <a:cubicBezTo>
                      <a:pt x="20" y="7"/>
                      <a:pt x="17" y="9"/>
                      <a:pt x="14" y="10"/>
                    </a:cubicBezTo>
                    <a:cubicBezTo>
                      <a:pt x="12" y="12"/>
                      <a:pt x="11" y="15"/>
                      <a:pt x="9" y="17"/>
                    </a:cubicBezTo>
                    <a:cubicBezTo>
                      <a:pt x="6" y="23"/>
                      <a:pt x="2" y="29"/>
                      <a:pt x="1" y="36"/>
                    </a:cubicBezTo>
                    <a:cubicBezTo>
                      <a:pt x="1" y="38"/>
                      <a:pt x="1" y="41"/>
                      <a:pt x="1" y="44"/>
                    </a:cubicBezTo>
                    <a:cubicBezTo>
                      <a:pt x="1" y="47"/>
                      <a:pt x="0" y="51"/>
                      <a:pt x="1" y="53"/>
                    </a:cubicBezTo>
                    <a:cubicBezTo>
                      <a:pt x="4" y="57"/>
                      <a:pt x="12" y="57"/>
                      <a:pt x="17" y="59"/>
                    </a:cubicBezTo>
                    <a:cubicBezTo>
                      <a:pt x="18" y="60"/>
                      <a:pt x="22" y="63"/>
                      <a:pt x="20" y="63"/>
                    </a:cubicBezTo>
                    <a:cubicBezTo>
                      <a:pt x="17" y="64"/>
                      <a:pt x="12" y="61"/>
                      <a:pt x="10" y="61"/>
                    </a:cubicBezTo>
                    <a:cubicBezTo>
                      <a:pt x="7" y="60"/>
                      <a:pt x="6" y="62"/>
                      <a:pt x="6" y="65"/>
                    </a:cubicBezTo>
                    <a:cubicBezTo>
                      <a:pt x="6" y="68"/>
                      <a:pt x="10" y="69"/>
                      <a:pt x="12" y="71"/>
                    </a:cubicBezTo>
                    <a:cubicBezTo>
                      <a:pt x="15" y="73"/>
                      <a:pt x="17" y="76"/>
                      <a:pt x="20" y="78"/>
                    </a:cubicBezTo>
                    <a:cubicBezTo>
                      <a:pt x="23" y="80"/>
                      <a:pt x="27" y="80"/>
                      <a:pt x="31" y="80"/>
                    </a:cubicBezTo>
                    <a:cubicBezTo>
                      <a:pt x="37" y="81"/>
                      <a:pt x="41" y="84"/>
                      <a:pt x="48" y="84"/>
                    </a:cubicBezTo>
                    <a:cubicBezTo>
                      <a:pt x="51" y="84"/>
                      <a:pt x="55" y="84"/>
                      <a:pt x="58" y="84"/>
                    </a:cubicBezTo>
                    <a:cubicBezTo>
                      <a:pt x="63" y="84"/>
                      <a:pt x="68" y="85"/>
                      <a:pt x="72" y="85"/>
                    </a:cubicBezTo>
                    <a:cubicBezTo>
                      <a:pt x="76" y="85"/>
                      <a:pt x="77" y="83"/>
                      <a:pt x="80" y="82"/>
                    </a:cubicBezTo>
                    <a:cubicBezTo>
                      <a:pt x="84" y="82"/>
                      <a:pt x="88" y="84"/>
                      <a:pt x="92" y="85"/>
                    </a:cubicBezTo>
                    <a:cubicBezTo>
                      <a:pt x="96" y="85"/>
                      <a:pt x="102" y="84"/>
                      <a:pt x="99" y="79"/>
                    </a:cubicBezTo>
                    <a:cubicBezTo>
                      <a:pt x="98" y="79"/>
                      <a:pt x="92" y="73"/>
                      <a:pt x="92" y="72"/>
                    </a:cubicBezTo>
                    <a:cubicBezTo>
                      <a:pt x="96" y="70"/>
                      <a:pt x="102" y="70"/>
                      <a:pt x="104" y="74"/>
                    </a:cubicBezTo>
                    <a:cubicBezTo>
                      <a:pt x="105" y="75"/>
                      <a:pt x="107" y="79"/>
                      <a:pt x="107" y="81"/>
                    </a:cubicBezTo>
                    <a:cubicBezTo>
                      <a:pt x="107" y="84"/>
                      <a:pt x="105" y="86"/>
                      <a:pt x="108" y="88"/>
                    </a:cubicBezTo>
                    <a:cubicBezTo>
                      <a:pt x="109" y="88"/>
                      <a:pt x="110" y="89"/>
                      <a:pt x="112" y="89"/>
                    </a:cubicBezTo>
                    <a:cubicBezTo>
                      <a:pt x="113" y="90"/>
                      <a:pt x="115" y="89"/>
                      <a:pt x="116" y="90"/>
                    </a:cubicBezTo>
                    <a:cubicBezTo>
                      <a:pt x="117" y="91"/>
                      <a:pt x="113" y="94"/>
                      <a:pt x="113" y="95"/>
                    </a:cubicBezTo>
                    <a:cubicBezTo>
                      <a:pt x="112" y="97"/>
                      <a:pt x="116" y="99"/>
                      <a:pt x="117" y="99"/>
                    </a:cubicBezTo>
                    <a:cubicBezTo>
                      <a:pt x="119" y="98"/>
                      <a:pt x="120" y="96"/>
                      <a:pt x="123" y="98"/>
                    </a:cubicBezTo>
                    <a:cubicBezTo>
                      <a:pt x="125" y="99"/>
                      <a:pt x="126" y="102"/>
                      <a:pt x="125" y="103"/>
                    </a:cubicBezTo>
                    <a:cubicBezTo>
                      <a:pt x="124" y="105"/>
                      <a:pt x="121" y="104"/>
                      <a:pt x="120" y="105"/>
                    </a:cubicBezTo>
                    <a:cubicBezTo>
                      <a:pt x="116" y="107"/>
                      <a:pt x="121" y="110"/>
                      <a:pt x="124" y="110"/>
                    </a:cubicBezTo>
                    <a:cubicBezTo>
                      <a:pt x="127" y="111"/>
                      <a:pt x="128" y="109"/>
                      <a:pt x="131" y="108"/>
                    </a:cubicBezTo>
                    <a:cubicBezTo>
                      <a:pt x="135" y="106"/>
                      <a:pt x="139" y="113"/>
                      <a:pt x="140" y="115"/>
                    </a:cubicBezTo>
                    <a:cubicBezTo>
                      <a:pt x="142" y="118"/>
                      <a:pt x="145" y="119"/>
                      <a:pt x="147" y="122"/>
                    </a:cubicBezTo>
                    <a:cubicBezTo>
                      <a:pt x="149" y="124"/>
                      <a:pt x="152" y="126"/>
                      <a:pt x="153" y="129"/>
                    </a:cubicBezTo>
                    <a:cubicBezTo>
                      <a:pt x="154" y="133"/>
                      <a:pt x="155" y="138"/>
                      <a:pt x="154" y="142"/>
                    </a:cubicBezTo>
                    <a:cubicBezTo>
                      <a:pt x="153" y="145"/>
                      <a:pt x="150" y="149"/>
                      <a:pt x="151" y="152"/>
                    </a:cubicBezTo>
                    <a:cubicBezTo>
                      <a:pt x="152" y="155"/>
                      <a:pt x="160" y="153"/>
                      <a:pt x="162" y="153"/>
                    </a:cubicBezTo>
                    <a:cubicBezTo>
                      <a:pt x="165" y="152"/>
                      <a:pt x="164" y="151"/>
                      <a:pt x="166" y="149"/>
                    </a:cubicBezTo>
                    <a:cubicBezTo>
                      <a:pt x="167" y="147"/>
                      <a:pt x="171" y="147"/>
                      <a:pt x="173" y="148"/>
                    </a:cubicBezTo>
                    <a:cubicBezTo>
                      <a:pt x="176" y="148"/>
                      <a:pt x="177" y="151"/>
                      <a:pt x="178" y="152"/>
                    </a:cubicBezTo>
                    <a:cubicBezTo>
                      <a:pt x="179" y="155"/>
                      <a:pt x="182" y="156"/>
                      <a:pt x="183" y="158"/>
                    </a:cubicBezTo>
                    <a:cubicBezTo>
                      <a:pt x="184" y="162"/>
                      <a:pt x="174" y="167"/>
                      <a:pt x="171" y="168"/>
                    </a:cubicBezTo>
                    <a:cubicBezTo>
                      <a:pt x="168" y="169"/>
                      <a:pt x="165" y="159"/>
                      <a:pt x="164" y="157"/>
                    </a:cubicBezTo>
                    <a:cubicBezTo>
                      <a:pt x="162" y="155"/>
                      <a:pt x="159" y="155"/>
                      <a:pt x="156" y="155"/>
                    </a:cubicBezTo>
                    <a:cubicBezTo>
                      <a:pt x="153" y="155"/>
                      <a:pt x="149" y="153"/>
                      <a:pt x="146" y="156"/>
                    </a:cubicBezTo>
                    <a:cubicBezTo>
                      <a:pt x="144" y="158"/>
                      <a:pt x="137" y="163"/>
                      <a:pt x="141" y="166"/>
                    </a:cubicBezTo>
                    <a:cubicBezTo>
                      <a:pt x="143" y="168"/>
                      <a:pt x="145" y="169"/>
                      <a:pt x="145" y="172"/>
                    </a:cubicBezTo>
                    <a:cubicBezTo>
                      <a:pt x="145" y="174"/>
                      <a:pt x="145" y="176"/>
                      <a:pt x="143" y="177"/>
                    </a:cubicBezTo>
                    <a:cubicBezTo>
                      <a:pt x="138" y="180"/>
                      <a:pt x="128" y="180"/>
                      <a:pt x="123" y="179"/>
                    </a:cubicBezTo>
                    <a:cubicBezTo>
                      <a:pt x="118" y="178"/>
                      <a:pt x="112" y="174"/>
                      <a:pt x="110" y="180"/>
                    </a:cubicBezTo>
                    <a:cubicBezTo>
                      <a:pt x="109" y="183"/>
                      <a:pt x="108" y="185"/>
                      <a:pt x="107" y="188"/>
                    </a:cubicBezTo>
                    <a:cubicBezTo>
                      <a:pt x="106" y="190"/>
                      <a:pt x="105" y="193"/>
                      <a:pt x="106" y="196"/>
                    </a:cubicBezTo>
                    <a:cubicBezTo>
                      <a:pt x="108" y="199"/>
                      <a:pt x="116" y="205"/>
                      <a:pt x="120" y="202"/>
                    </a:cubicBezTo>
                    <a:cubicBezTo>
                      <a:pt x="123" y="199"/>
                      <a:pt x="124" y="201"/>
                      <a:pt x="127" y="200"/>
                    </a:cubicBezTo>
                    <a:cubicBezTo>
                      <a:pt x="129" y="200"/>
                      <a:pt x="128" y="198"/>
                      <a:pt x="129" y="196"/>
                    </a:cubicBezTo>
                    <a:cubicBezTo>
                      <a:pt x="130" y="191"/>
                      <a:pt x="138" y="200"/>
                      <a:pt x="141" y="198"/>
                    </a:cubicBezTo>
                    <a:cubicBezTo>
                      <a:pt x="144" y="196"/>
                      <a:pt x="144" y="196"/>
                      <a:pt x="147" y="198"/>
                    </a:cubicBezTo>
                    <a:cubicBezTo>
                      <a:pt x="150" y="199"/>
                      <a:pt x="153" y="201"/>
                      <a:pt x="154" y="204"/>
                    </a:cubicBezTo>
                    <a:cubicBezTo>
                      <a:pt x="156" y="206"/>
                      <a:pt x="157" y="211"/>
                      <a:pt x="160" y="212"/>
                    </a:cubicBezTo>
                    <a:cubicBezTo>
                      <a:pt x="162" y="213"/>
                      <a:pt x="165" y="212"/>
                      <a:pt x="165" y="215"/>
                    </a:cubicBezTo>
                    <a:cubicBezTo>
                      <a:pt x="165" y="219"/>
                      <a:pt x="166" y="226"/>
                      <a:pt x="172" y="226"/>
                    </a:cubicBezTo>
                    <a:cubicBezTo>
                      <a:pt x="176" y="226"/>
                      <a:pt x="176" y="229"/>
                      <a:pt x="179" y="231"/>
                    </a:cubicBezTo>
                    <a:cubicBezTo>
                      <a:pt x="182" y="232"/>
                      <a:pt x="185" y="231"/>
                      <a:pt x="188" y="234"/>
                    </a:cubicBezTo>
                    <a:cubicBezTo>
                      <a:pt x="190" y="236"/>
                      <a:pt x="192" y="238"/>
                      <a:pt x="194" y="240"/>
                    </a:cubicBezTo>
                    <a:cubicBezTo>
                      <a:pt x="197" y="243"/>
                      <a:pt x="201" y="244"/>
                      <a:pt x="204" y="245"/>
                    </a:cubicBezTo>
                    <a:cubicBezTo>
                      <a:pt x="207" y="246"/>
                      <a:pt x="211" y="250"/>
                      <a:pt x="214" y="248"/>
                    </a:cubicBezTo>
                    <a:cubicBezTo>
                      <a:pt x="216" y="247"/>
                      <a:pt x="216" y="244"/>
                      <a:pt x="215" y="241"/>
                    </a:cubicBezTo>
                    <a:cubicBezTo>
                      <a:pt x="212" y="235"/>
                      <a:pt x="207" y="232"/>
                      <a:pt x="202" y="228"/>
                    </a:cubicBezTo>
                    <a:cubicBezTo>
                      <a:pt x="196" y="224"/>
                      <a:pt x="192" y="221"/>
                      <a:pt x="192" y="214"/>
                    </a:cubicBezTo>
                    <a:cubicBezTo>
                      <a:pt x="196" y="212"/>
                      <a:pt x="212" y="225"/>
                      <a:pt x="213" y="228"/>
                    </a:cubicBezTo>
                    <a:cubicBezTo>
                      <a:pt x="216" y="233"/>
                      <a:pt x="225" y="237"/>
                      <a:pt x="230" y="234"/>
                    </a:cubicBezTo>
                    <a:cubicBezTo>
                      <a:pt x="232" y="232"/>
                      <a:pt x="232" y="228"/>
                      <a:pt x="231" y="226"/>
                    </a:cubicBezTo>
                    <a:cubicBezTo>
                      <a:pt x="229" y="223"/>
                      <a:pt x="232" y="221"/>
                      <a:pt x="232" y="218"/>
                    </a:cubicBezTo>
                    <a:cubicBezTo>
                      <a:pt x="231" y="211"/>
                      <a:pt x="225" y="208"/>
                      <a:pt x="222" y="203"/>
                    </a:cubicBezTo>
                    <a:cubicBezTo>
                      <a:pt x="221" y="200"/>
                      <a:pt x="221" y="198"/>
                      <a:pt x="219" y="196"/>
                    </a:cubicBezTo>
                    <a:cubicBezTo>
                      <a:pt x="217" y="194"/>
                      <a:pt x="214" y="193"/>
                      <a:pt x="212" y="192"/>
                    </a:cubicBezTo>
                    <a:cubicBezTo>
                      <a:pt x="208" y="189"/>
                      <a:pt x="207" y="182"/>
                      <a:pt x="203" y="179"/>
                    </a:cubicBezTo>
                    <a:cubicBezTo>
                      <a:pt x="197" y="176"/>
                      <a:pt x="195" y="170"/>
                      <a:pt x="193" y="165"/>
                    </a:cubicBezTo>
                    <a:cubicBezTo>
                      <a:pt x="196" y="164"/>
                      <a:pt x="202" y="172"/>
                      <a:pt x="203" y="169"/>
                    </a:cubicBezTo>
                    <a:cubicBezTo>
                      <a:pt x="204" y="167"/>
                      <a:pt x="202" y="158"/>
                      <a:pt x="205" y="159"/>
                    </a:cubicBezTo>
                    <a:cubicBezTo>
                      <a:pt x="208" y="160"/>
                      <a:pt x="211" y="165"/>
                      <a:pt x="213" y="167"/>
                    </a:cubicBezTo>
                    <a:cubicBezTo>
                      <a:pt x="216" y="169"/>
                      <a:pt x="224" y="164"/>
                      <a:pt x="225" y="167"/>
                    </a:cubicBezTo>
                    <a:cubicBezTo>
                      <a:pt x="227" y="171"/>
                      <a:pt x="218" y="172"/>
                      <a:pt x="220" y="178"/>
                    </a:cubicBezTo>
                    <a:cubicBezTo>
                      <a:pt x="221" y="182"/>
                      <a:pt x="228" y="185"/>
                      <a:pt x="231" y="187"/>
                    </a:cubicBezTo>
                    <a:cubicBezTo>
                      <a:pt x="237" y="192"/>
                      <a:pt x="237" y="186"/>
                      <a:pt x="236" y="182"/>
                    </a:cubicBezTo>
                    <a:cubicBezTo>
                      <a:pt x="235" y="176"/>
                      <a:pt x="237" y="177"/>
                      <a:pt x="242" y="17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0" name="Freeform 101"/>
              <p:cNvSpPr>
                <a:spLocks/>
              </p:cNvSpPr>
              <p:nvPr/>
            </p:nvSpPr>
            <p:spPr bwMode="auto">
              <a:xfrm>
                <a:off x="3132138" y="4081463"/>
                <a:ext cx="7938" cy="7938"/>
              </a:xfrm>
              <a:custGeom>
                <a:avLst/>
                <a:gdLst>
                  <a:gd name="T0" fmla="*/ 3 w 10"/>
                  <a:gd name="T1" fmla="*/ 1 h 9"/>
                  <a:gd name="T2" fmla="*/ 3 w 10"/>
                  <a:gd name="T3" fmla="*/ 5 h 9"/>
                  <a:gd name="T4" fmla="*/ 9 w 10"/>
                  <a:gd name="T5" fmla="*/ 6 h 9"/>
                  <a:gd name="T6" fmla="*/ 3 w 10"/>
                  <a:gd name="T7" fmla="*/ 1 h 9"/>
                </a:gdLst>
                <a:ahLst/>
                <a:cxnLst>
                  <a:cxn ang="0">
                    <a:pos x="T0" y="T1"/>
                  </a:cxn>
                  <a:cxn ang="0">
                    <a:pos x="T2" y="T3"/>
                  </a:cxn>
                  <a:cxn ang="0">
                    <a:pos x="T4" y="T5"/>
                  </a:cxn>
                  <a:cxn ang="0">
                    <a:pos x="T6" y="T7"/>
                  </a:cxn>
                </a:cxnLst>
                <a:rect l="0" t="0" r="r" b="b"/>
                <a:pathLst>
                  <a:path w="10" h="9">
                    <a:moveTo>
                      <a:pt x="3" y="1"/>
                    </a:moveTo>
                    <a:cubicBezTo>
                      <a:pt x="0" y="1"/>
                      <a:pt x="3" y="3"/>
                      <a:pt x="3" y="5"/>
                    </a:cubicBezTo>
                    <a:cubicBezTo>
                      <a:pt x="4" y="6"/>
                      <a:pt x="7" y="9"/>
                      <a:pt x="9" y="6"/>
                    </a:cubicBezTo>
                    <a:cubicBezTo>
                      <a:pt x="10" y="4"/>
                      <a:pt x="6" y="0"/>
                      <a:pt x="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1" name="Freeform 102"/>
              <p:cNvSpPr>
                <a:spLocks/>
              </p:cNvSpPr>
              <p:nvPr/>
            </p:nvSpPr>
            <p:spPr bwMode="auto">
              <a:xfrm>
                <a:off x="3197226" y="4129088"/>
                <a:ext cx="4763" cy="4763"/>
              </a:xfrm>
              <a:custGeom>
                <a:avLst/>
                <a:gdLst>
                  <a:gd name="T0" fmla="*/ 0 w 6"/>
                  <a:gd name="T1" fmla="*/ 3 h 7"/>
                  <a:gd name="T2" fmla="*/ 3 w 6"/>
                  <a:gd name="T3" fmla="*/ 7 h 7"/>
                  <a:gd name="T4" fmla="*/ 6 w 6"/>
                  <a:gd name="T5" fmla="*/ 2 h 7"/>
                  <a:gd name="T6" fmla="*/ 1 w 6"/>
                  <a:gd name="T7" fmla="*/ 0 h 7"/>
                  <a:gd name="T8" fmla="*/ 0 w 6"/>
                  <a:gd name="T9" fmla="*/ 3 h 7"/>
                </a:gdLst>
                <a:ahLst/>
                <a:cxnLst>
                  <a:cxn ang="0">
                    <a:pos x="T0" y="T1"/>
                  </a:cxn>
                  <a:cxn ang="0">
                    <a:pos x="T2" y="T3"/>
                  </a:cxn>
                  <a:cxn ang="0">
                    <a:pos x="T4" y="T5"/>
                  </a:cxn>
                  <a:cxn ang="0">
                    <a:pos x="T6" y="T7"/>
                  </a:cxn>
                  <a:cxn ang="0">
                    <a:pos x="T8" y="T9"/>
                  </a:cxn>
                </a:cxnLst>
                <a:rect l="0" t="0" r="r" b="b"/>
                <a:pathLst>
                  <a:path w="6" h="7">
                    <a:moveTo>
                      <a:pt x="0" y="3"/>
                    </a:moveTo>
                    <a:cubicBezTo>
                      <a:pt x="0" y="6"/>
                      <a:pt x="1" y="6"/>
                      <a:pt x="3" y="7"/>
                    </a:cubicBezTo>
                    <a:cubicBezTo>
                      <a:pt x="5" y="7"/>
                      <a:pt x="6" y="3"/>
                      <a:pt x="6" y="2"/>
                    </a:cubicBezTo>
                    <a:cubicBezTo>
                      <a:pt x="1" y="0"/>
                      <a:pt x="1" y="0"/>
                      <a:pt x="1" y="0"/>
                    </a:cubicBezTo>
                    <a:cubicBezTo>
                      <a:pt x="0" y="0"/>
                      <a:pt x="0" y="3"/>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2" name="Freeform 103"/>
              <p:cNvSpPr>
                <a:spLocks/>
              </p:cNvSpPr>
              <p:nvPr/>
            </p:nvSpPr>
            <p:spPr bwMode="auto">
              <a:xfrm>
                <a:off x="3416301" y="4354513"/>
                <a:ext cx="3175" cy="4763"/>
              </a:xfrm>
              <a:custGeom>
                <a:avLst/>
                <a:gdLst>
                  <a:gd name="T0" fmla="*/ 0 w 5"/>
                  <a:gd name="T1" fmla="*/ 2 h 7"/>
                  <a:gd name="T2" fmla="*/ 2 w 5"/>
                  <a:gd name="T3" fmla="*/ 6 h 7"/>
                  <a:gd name="T4" fmla="*/ 5 w 5"/>
                  <a:gd name="T5" fmla="*/ 0 h 7"/>
                  <a:gd name="T6" fmla="*/ 0 w 5"/>
                  <a:gd name="T7" fmla="*/ 2 h 7"/>
                </a:gdLst>
                <a:ahLst/>
                <a:cxnLst>
                  <a:cxn ang="0">
                    <a:pos x="T0" y="T1"/>
                  </a:cxn>
                  <a:cxn ang="0">
                    <a:pos x="T2" y="T3"/>
                  </a:cxn>
                  <a:cxn ang="0">
                    <a:pos x="T4" y="T5"/>
                  </a:cxn>
                  <a:cxn ang="0">
                    <a:pos x="T6" y="T7"/>
                  </a:cxn>
                </a:cxnLst>
                <a:rect l="0" t="0" r="r" b="b"/>
                <a:pathLst>
                  <a:path w="5" h="7">
                    <a:moveTo>
                      <a:pt x="0" y="2"/>
                    </a:moveTo>
                    <a:cubicBezTo>
                      <a:pt x="0" y="4"/>
                      <a:pt x="0" y="5"/>
                      <a:pt x="2" y="6"/>
                    </a:cubicBezTo>
                    <a:cubicBezTo>
                      <a:pt x="5" y="7"/>
                      <a:pt x="5" y="0"/>
                      <a:pt x="5" y="0"/>
                    </a:cubicBezTo>
                    <a:cubicBezTo>
                      <a:pt x="3" y="0"/>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3" name="Freeform 104"/>
              <p:cNvSpPr>
                <a:spLocks/>
              </p:cNvSpPr>
              <p:nvPr/>
            </p:nvSpPr>
            <p:spPr bwMode="auto">
              <a:xfrm>
                <a:off x="3411538" y="4340225"/>
                <a:ext cx="14288" cy="12700"/>
              </a:xfrm>
              <a:custGeom>
                <a:avLst/>
                <a:gdLst>
                  <a:gd name="T0" fmla="*/ 18 w 19"/>
                  <a:gd name="T1" fmla="*/ 5 h 17"/>
                  <a:gd name="T2" fmla="*/ 9 w 19"/>
                  <a:gd name="T3" fmla="*/ 3 h 17"/>
                  <a:gd name="T4" fmla="*/ 6 w 19"/>
                  <a:gd name="T5" fmla="*/ 9 h 17"/>
                  <a:gd name="T6" fmla="*/ 2 w 19"/>
                  <a:gd name="T7" fmla="*/ 11 h 17"/>
                  <a:gd name="T8" fmla="*/ 10 w 19"/>
                  <a:gd name="T9" fmla="*/ 13 h 17"/>
                  <a:gd name="T10" fmla="*/ 18 w 19"/>
                  <a:gd name="T11" fmla="*/ 5 h 17"/>
                </a:gdLst>
                <a:ahLst/>
                <a:cxnLst>
                  <a:cxn ang="0">
                    <a:pos x="T0" y="T1"/>
                  </a:cxn>
                  <a:cxn ang="0">
                    <a:pos x="T2" y="T3"/>
                  </a:cxn>
                  <a:cxn ang="0">
                    <a:pos x="T4" y="T5"/>
                  </a:cxn>
                  <a:cxn ang="0">
                    <a:pos x="T6" y="T7"/>
                  </a:cxn>
                  <a:cxn ang="0">
                    <a:pos x="T8" y="T9"/>
                  </a:cxn>
                  <a:cxn ang="0">
                    <a:pos x="T10" y="T11"/>
                  </a:cxn>
                </a:cxnLst>
                <a:rect l="0" t="0" r="r" b="b"/>
                <a:pathLst>
                  <a:path w="19" h="17">
                    <a:moveTo>
                      <a:pt x="18" y="5"/>
                    </a:moveTo>
                    <a:cubicBezTo>
                      <a:pt x="17" y="2"/>
                      <a:pt x="12" y="0"/>
                      <a:pt x="9" y="3"/>
                    </a:cubicBezTo>
                    <a:cubicBezTo>
                      <a:pt x="8" y="5"/>
                      <a:pt x="7" y="8"/>
                      <a:pt x="6" y="9"/>
                    </a:cubicBezTo>
                    <a:cubicBezTo>
                      <a:pt x="5" y="10"/>
                      <a:pt x="3" y="10"/>
                      <a:pt x="2" y="11"/>
                    </a:cubicBezTo>
                    <a:cubicBezTo>
                      <a:pt x="0" y="15"/>
                      <a:pt x="8" y="17"/>
                      <a:pt x="10" y="13"/>
                    </a:cubicBezTo>
                    <a:cubicBezTo>
                      <a:pt x="12" y="9"/>
                      <a:pt x="19" y="12"/>
                      <a:pt x="18"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4" name="Freeform 105"/>
              <p:cNvSpPr>
                <a:spLocks/>
              </p:cNvSpPr>
              <p:nvPr/>
            </p:nvSpPr>
            <p:spPr bwMode="auto">
              <a:xfrm>
                <a:off x="3424238" y="3940175"/>
                <a:ext cx="9525" cy="11113"/>
              </a:xfrm>
              <a:custGeom>
                <a:avLst/>
                <a:gdLst>
                  <a:gd name="T0" fmla="*/ 11 w 12"/>
                  <a:gd name="T1" fmla="*/ 13 h 14"/>
                  <a:gd name="T2" fmla="*/ 9 w 12"/>
                  <a:gd name="T3" fmla="*/ 7 h 14"/>
                  <a:gd name="T4" fmla="*/ 3 w 12"/>
                  <a:gd name="T5" fmla="*/ 0 h 14"/>
                  <a:gd name="T6" fmla="*/ 0 w 12"/>
                  <a:gd name="T7" fmla="*/ 2 h 14"/>
                  <a:gd name="T8" fmla="*/ 2 w 12"/>
                  <a:gd name="T9" fmla="*/ 7 h 14"/>
                  <a:gd name="T10" fmla="*/ 11 w 12"/>
                  <a:gd name="T11" fmla="*/ 13 h 14"/>
                </a:gdLst>
                <a:ahLst/>
                <a:cxnLst>
                  <a:cxn ang="0">
                    <a:pos x="T0" y="T1"/>
                  </a:cxn>
                  <a:cxn ang="0">
                    <a:pos x="T2" y="T3"/>
                  </a:cxn>
                  <a:cxn ang="0">
                    <a:pos x="T4" y="T5"/>
                  </a:cxn>
                  <a:cxn ang="0">
                    <a:pos x="T6" y="T7"/>
                  </a:cxn>
                  <a:cxn ang="0">
                    <a:pos x="T8" y="T9"/>
                  </a:cxn>
                  <a:cxn ang="0">
                    <a:pos x="T10" y="T11"/>
                  </a:cxn>
                </a:cxnLst>
                <a:rect l="0" t="0" r="r" b="b"/>
                <a:pathLst>
                  <a:path w="12" h="14">
                    <a:moveTo>
                      <a:pt x="11" y="13"/>
                    </a:moveTo>
                    <a:cubicBezTo>
                      <a:pt x="12" y="12"/>
                      <a:pt x="10" y="8"/>
                      <a:pt x="9" y="7"/>
                    </a:cubicBezTo>
                    <a:cubicBezTo>
                      <a:pt x="7" y="5"/>
                      <a:pt x="3" y="3"/>
                      <a:pt x="3" y="0"/>
                    </a:cubicBezTo>
                    <a:cubicBezTo>
                      <a:pt x="2" y="1"/>
                      <a:pt x="0" y="1"/>
                      <a:pt x="0" y="2"/>
                    </a:cubicBezTo>
                    <a:cubicBezTo>
                      <a:pt x="0" y="3"/>
                      <a:pt x="0" y="6"/>
                      <a:pt x="2" y="7"/>
                    </a:cubicBezTo>
                    <a:cubicBezTo>
                      <a:pt x="3" y="10"/>
                      <a:pt x="10" y="14"/>
                      <a:pt x="11"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5" name="Freeform 106"/>
              <p:cNvSpPr>
                <a:spLocks/>
              </p:cNvSpPr>
              <p:nvPr/>
            </p:nvSpPr>
            <p:spPr bwMode="auto">
              <a:xfrm>
                <a:off x="3432176" y="4068763"/>
                <a:ext cx="42863" cy="44450"/>
              </a:xfrm>
              <a:custGeom>
                <a:avLst/>
                <a:gdLst>
                  <a:gd name="T0" fmla="*/ 1 w 57"/>
                  <a:gd name="T1" fmla="*/ 16 h 59"/>
                  <a:gd name="T2" fmla="*/ 8 w 57"/>
                  <a:gd name="T3" fmla="*/ 16 h 59"/>
                  <a:gd name="T4" fmla="*/ 15 w 57"/>
                  <a:gd name="T5" fmla="*/ 23 h 59"/>
                  <a:gd name="T6" fmla="*/ 11 w 57"/>
                  <a:gd name="T7" fmla="*/ 26 h 59"/>
                  <a:gd name="T8" fmla="*/ 5 w 57"/>
                  <a:gd name="T9" fmla="*/ 27 h 59"/>
                  <a:gd name="T10" fmla="*/ 7 w 57"/>
                  <a:gd name="T11" fmla="*/ 32 h 59"/>
                  <a:gd name="T12" fmla="*/ 13 w 57"/>
                  <a:gd name="T13" fmla="*/ 33 h 59"/>
                  <a:gd name="T14" fmla="*/ 17 w 57"/>
                  <a:gd name="T15" fmla="*/ 39 h 59"/>
                  <a:gd name="T16" fmla="*/ 13 w 57"/>
                  <a:gd name="T17" fmla="*/ 40 h 59"/>
                  <a:gd name="T18" fmla="*/ 12 w 57"/>
                  <a:gd name="T19" fmla="*/ 44 h 59"/>
                  <a:gd name="T20" fmla="*/ 17 w 57"/>
                  <a:gd name="T21" fmla="*/ 50 h 59"/>
                  <a:gd name="T22" fmla="*/ 23 w 57"/>
                  <a:gd name="T23" fmla="*/ 48 h 59"/>
                  <a:gd name="T24" fmla="*/ 29 w 57"/>
                  <a:gd name="T25" fmla="*/ 54 h 59"/>
                  <a:gd name="T26" fmla="*/ 38 w 57"/>
                  <a:gd name="T27" fmla="*/ 53 h 59"/>
                  <a:gd name="T28" fmla="*/ 44 w 57"/>
                  <a:gd name="T29" fmla="*/ 49 h 59"/>
                  <a:gd name="T30" fmla="*/ 47 w 57"/>
                  <a:gd name="T31" fmla="*/ 47 h 59"/>
                  <a:gd name="T32" fmla="*/ 49 w 57"/>
                  <a:gd name="T33" fmla="*/ 44 h 59"/>
                  <a:gd name="T34" fmla="*/ 54 w 57"/>
                  <a:gd name="T35" fmla="*/ 42 h 59"/>
                  <a:gd name="T36" fmla="*/ 55 w 57"/>
                  <a:gd name="T37" fmla="*/ 37 h 59"/>
                  <a:gd name="T38" fmla="*/ 57 w 57"/>
                  <a:gd name="T39" fmla="*/ 32 h 59"/>
                  <a:gd name="T40" fmla="*/ 54 w 57"/>
                  <a:gd name="T41" fmla="*/ 26 h 59"/>
                  <a:gd name="T42" fmla="*/ 49 w 57"/>
                  <a:gd name="T43" fmla="*/ 18 h 59"/>
                  <a:gd name="T44" fmla="*/ 49 w 57"/>
                  <a:gd name="T45" fmla="*/ 14 h 59"/>
                  <a:gd name="T46" fmla="*/ 48 w 57"/>
                  <a:gd name="T47" fmla="*/ 11 h 59"/>
                  <a:gd name="T48" fmla="*/ 44 w 57"/>
                  <a:gd name="T49" fmla="*/ 9 h 59"/>
                  <a:gd name="T50" fmla="*/ 41 w 57"/>
                  <a:gd name="T51" fmla="*/ 7 h 59"/>
                  <a:gd name="T52" fmla="*/ 39 w 57"/>
                  <a:gd name="T53" fmla="*/ 12 h 59"/>
                  <a:gd name="T54" fmla="*/ 35 w 57"/>
                  <a:gd name="T55" fmla="*/ 11 h 59"/>
                  <a:gd name="T56" fmla="*/ 31 w 57"/>
                  <a:gd name="T57" fmla="*/ 13 h 59"/>
                  <a:gd name="T58" fmla="*/ 27 w 57"/>
                  <a:gd name="T59" fmla="*/ 9 h 59"/>
                  <a:gd name="T60" fmla="*/ 26 w 57"/>
                  <a:gd name="T61" fmla="*/ 14 h 59"/>
                  <a:gd name="T62" fmla="*/ 22 w 57"/>
                  <a:gd name="T63" fmla="*/ 10 h 59"/>
                  <a:gd name="T64" fmla="*/ 21 w 57"/>
                  <a:gd name="T65" fmla="*/ 16 h 59"/>
                  <a:gd name="T66" fmla="*/ 18 w 57"/>
                  <a:gd name="T67" fmla="*/ 16 h 59"/>
                  <a:gd name="T68" fmla="*/ 19 w 57"/>
                  <a:gd name="T69" fmla="*/ 13 h 59"/>
                  <a:gd name="T70" fmla="*/ 16 w 57"/>
                  <a:gd name="T71" fmla="*/ 8 h 59"/>
                  <a:gd name="T72" fmla="*/ 10 w 57"/>
                  <a:gd name="T73" fmla="*/ 2 h 59"/>
                  <a:gd name="T74" fmla="*/ 9 w 57"/>
                  <a:gd name="T75" fmla="*/ 8 h 59"/>
                  <a:gd name="T76" fmla="*/ 7 w 57"/>
                  <a:gd name="T77" fmla="*/ 7 h 59"/>
                  <a:gd name="T78" fmla="*/ 4 w 57"/>
                  <a:gd name="T79" fmla="*/ 7 h 59"/>
                  <a:gd name="T80" fmla="*/ 3 w 57"/>
                  <a:gd name="T81" fmla="*/ 13 h 59"/>
                  <a:gd name="T82" fmla="*/ 1 w 57"/>
                  <a:gd name="T83" fmla="*/ 1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9">
                    <a:moveTo>
                      <a:pt x="1" y="16"/>
                    </a:moveTo>
                    <a:cubicBezTo>
                      <a:pt x="3" y="22"/>
                      <a:pt x="6" y="16"/>
                      <a:pt x="8" y="16"/>
                    </a:cubicBezTo>
                    <a:cubicBezTo>
                      <a:pt x="10" y="16"/>
                      <a:pt x="16" y="19"/>
                      <a:pt x="15" y="23"/>
                    </a:cubicBezTo>
                    <a:cubicBezTo>
                      <a:pt x="15" y="25"/>
                      <a:pt x="13" y="26"/>
                      <a:pt x="11" y="26"/>
                    </a:cubicBezTo>
                    <a:cubicBezTo>
                      <a:pt x="8" y="26"/>
                      <a:pt x="7" y="25"/>
                      <a:pt x="5" y="27"/>
                    </a:cubicBezTo>
                    <a:cubicBezTo>
                      <a:pt x="4" y="29"/>
                      <a:pt x="5" y="31"/>
                      <a:pt x="7" y="32"/>
                    </a:cubicBezTo>
                    <a:cubicBezTo>
                      <a:pt x="9" y="32"/>
                      <a:pt x="11" y="32"/>
                      <a:pt x="13" y="33"/>
                    </a:cubicBezTo>
                    <a:cubicBezTo>
                      <a:pt x="15" y="34"/>
                      <a:pt x="17" y="36"/>
                      <a:pt x="17" y="39"/>
                    </a:cubicBezTo>
                    <a:cubicBezTo>
                      <a:pt x="17" y="42"/>
                      <a:pt x="15" y="39"/>
                      <a:pt x="13" y="40"/>
                    </a:cubicBezTo>
                    <a:cubicBezTo>
                      <a:pt x="12" y="40"/>
                      <a:pt x="11" y="42"/>
                      <a:pt x="12" y="44"/>
                    </a:cubicBezTo>
                    <a:cubicBezTo>
                      <a:pt x="12" y="47"/>
                      <a:pt x="16" y="49"/>
                      <a:pt x="17" y="50"/>
                    </a:cubicBezTo>
                    <a:cubicBezTo>
                      <a:pt x="19" y="50"/>
                      <a:pt x="21" y="48"/>
                      <a:pt x="23" y="48"/>
                    </a:cubicBezTo>
                    <a:cubicBezTo>
                      <a:pt x="26" y="49"/>
                      <a:pt x="27" y="52"/>
                      <a:pt x="29" y="54"/>
                    </a:cubicBezTo>
                    <a:cubicBezTo>
                      <a:pt x="33" y="59"/>
                      <a:pt x="38" y="59"/>
                      <a:pt x="38" y="53"/>
                    </a:cubicBezTo>
                    <a:cubicBezTo>
                      <a:pt x="39" y="50"/>
                      <a:pt x="42" y="50"/>
                      <a:pt x="44" y="49"/>
                    </a:cubicBezTo>
                    <a:cubicBezTo>
                      <a:pt x="45" y="48"/>
                      <a:pt x="46" y="47"/>
                      <a:pt x="47" y="47"/>
                    </a:cubicBezTo>
                    <a:cubicBezTo>
                      <a:pt x="48" y="46"/>
                      <a:pt x="48" y="45"/>
                      <a:pt x="49" y="44"/>
                    </a:cubicBezTo>
                    <a:cubicBezTo>
                      <a:pt x="51" y="44"/>
                      <a:pt x="53" y="44"/>
                      <a:pt x="54" y="42"/>
                    </a:cubicBezTo>
                    <a:cubicBezTo>
                      <a:pt x="55" y="41"/>
                      <a:pt x="55" y="38"/>
                      <a:pt x="55" y="37"/>
                    </a:cubicBezTo>
                    <a:cubicBezTo>
                      <a:pt x="56" y="35"/>
                      <a:pt x="57" y="34"/>
                      <a:pt x="57" y="32"/>
                    </a:cubicBezTo>
                    <a:cubicBezTo>
                      <a:pt x="57" y="29"/>
                      <a:pt x="55" y="28"/>
                      <a:pt x="54" y="26"/>
                    </a:cubicBezTo>
                    <a:cubicBezTo>
                      <a:pt x="53" y="23"/>
                      <a:pt x="50" y="21"/>
                      <a:pt x="49" y="18"/>
                    </a:cubicBezTo>
                    <a:cubicBezTo>
                      <a:pt x="48" y="16"/>
                      <a:pt x="48" y="14"/>
                      <a:pt x="49" y="14"/>
                    </a:cubicBezTo>
                    <a:cubicBezTo>
                      <a:pt x="49" y="13"/>
                      <a:pt x="50" y="9"/>
                      <a:pt x="48" y="11"/>
                    </a:cubicBezTo>
                    <a:cubicBezTo>
                      <a:pt x="46" y="12"/>
                      <a:pt x="46" y="13"/>
                      <a:pt x="44" y="9"/>
                    </a:cubicBezTo>
                    <a:cubicBezTo>
                      <a:pt x="43" y="8"/>
                      <a:pt x="42" y="7"/>
                      <a:pt x="41" y="7"/>
                    </a:cubicBezTo>
                    <a:cubicBezTo>
                      <a:pt x="40" y="8"/>
                      <a:pt x="40" y="11"/>
                      <a:pt x="39" y="12"/>
                    </a:cubicBezTo>
                    <a:cubicBezTo>
                      <a:pt x="38" y="12"/>
                      <a:pt x="36" y="11"/>
                      <a:pt x="35" y="11"/>
                    </a:cubicBezTo>
                    <a:cubicBezTo>
                      <a:pt x="34" y="11"/>
                      <a:pt x="33" y="13"/>
                      <a:pt x="31" y="13"/>
                    </a:cubicBezTo>
                    <a:cubicBezTo>
                      <a:pt x="30" y="12"/>
                      <a:pt x="29" y="8"/>
                      <a:pt x="27" y="9"/>
                    </a:cubicBezTo>
                    <a:cubicBezTo>
                      <a:pt x="25" y="9"/>
                      <a:pt x="26" y="12"/>
                      <a:pt x="26" y="14"/>
                    </a:cubicBezTo>
                    <a:cubicBezTo>
                      <a:pt x="26" y="18"/>
                      <a:pt x="23" y="10"/>
                      <a:pt x="22" y="10"/>
                    </a:cubicBezTo>
                    <a:cubicBezTo>
                      <a:pt x="21" y="11"/>
                      <a:pt x="21" y="15"/>
                      <a:pt x="21" y="16"/>
                    </a:cubicBezTo>
                    <a:cubicBezTo>
                      <a:pt x="21" y="17"/>
                      <a:pt x="19" y="19"/>
                      <a:pt x="18" y="16"/>
                    </a:cubicBezTo>
                    <a:cubicBezTo>
                      <a:pt x="18" y="16"/>
                      <a:pt x="19" y="14"/>
                      <a:pt x="19" y="13"/>
                    </a:cubicBezTo>
                    <a:cubicBezTo>
                      <a:pt x="18" y="11"/>
                      <a:pt x="17" y="11"/>
                      <a:pt x="16" y="8"/>
                    </a:cubicBezTo>
                    <a:cubicBezTo>
                      <a:pt x="16" y="6"/>
                      <a:pt x="11" y="3"/>
                      <a:pt x="10" y="2"/>
                    </a:cubicBezTo>
                    <a:cubicBezTo>
                      <a:pt x="7" y="0"/>
                      <a:pt x="9" y="6"/>
                      <a:pt x="9" y="8"/>
                    </a:cubicBezTo>
                    <a:cubicBezTo>
                      <a:pt x="10" y="10"/>
                      <a:pt x="8" y="8"/>
                      <a:pt x="7" y="7"/>
                    </a:cubicBezTo>
                    <a:cubicBezTo>
                      <a:pt x="6" y="4"/>
                      <a:pt x="4" y="5"/>
                      <a:pt x="4" y="7"/>
                    </a:cubicBezTo>
                    <a:cubicBezTo>
                      <a:pt x="4" y="9"/>
                      <a:pt x="4" y="12"/>
                      <a:pt x="3" y="13"/>
                    </a:cubicBezTo>
                    <a:cubicBezTo>
                      <a:pt x="3" y="14"/>
                      <a:pt x="0" y="14"/>
                      <a:pt x="1" y="1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6" name="Freeform 107"/>
              <p:cNvSpPr>
                <a:spLocks/>
              </p:cNvSpPr>
              <p:nvPr/>
            </p:nvSpPr>
            <p:spPr bwMode="auto">
              <a:xfrm>
                <a:off x="3416301" y="3917950"/>
                <a:ext cx="6350" cy="15875"/>
              </a:xfrm>
              <a:custGeom>
                <a:avLst/>
                <a:gdLst>
                  <a:gd name="T0" fmla="*/ 0 w 8"/>
                  <a:gd name="T1" fmla="*/ 5 h 21"/>
                  <a:gd name="T2" fmla="*/ 6 w 8"/>
                  <a:gd name="T3" fmla="*/ 17 h 21"/>
                  <a:gd name="T4" fmla="*/ 8 w 8"/>
                  <a:gd name="T5" fmla="*/ 16 h 21"/>
                  <a:gd name="T6" fmla="*/ 6 w 8"/>
                  <a:gd name="T7" fmla="*/ 10 h 21"/>
                  <a:gd name="T8" fmla="*/ 3 w 8"/>
                  <a:gd name="T9" fmla="*/ 3 h 21"/>
                  <a:gd name="T10" fmla="*/ 0 w 8"/>
                  <a:gd name="T11" fmla="*/ 5 h 21"/>
                </a:gdLst>
                <a:ahLst/>
                <a:cxnLst>
                  <a:cxn ang="0">
                    <a:pos x="T0" y="T1"/>
                  </a:cxn>
                  <a:cxn ang="0">
                    <a:pos x="T2" y="T3"/>
                  </a:cxn>
                  <a:cxn ang="0">
                    <a:pos x="T4" y="T5"/>
                  </a:cxn>
                  <a:cxn ang="0">
                    <a:pos x="T6" y="T7"/>
                  </a:cxn>
                  <a:cxn ang="0">
                    <a:pos x="T8" y="T9"/>
                  </a:cxn>
                  <a:cxn ang="0">
                    <a:pos x="T10" y="T11"/>
                  </a:cxn>
                </a:cxnLst>
                <a:rect l="0" t="0" r="r" b="b"/>
                <a:pathLst>
                  <a:path w="8" h="21">
                    <a:moveTo>
                      <a:pt x="0" y="5"/>
                    </a:moveTo>
                    <a:cubicBezTo>
                      <a:pt x="1" y="9"/>
                      <a:pt x="5" y="13"/>
                      <a:pt x="6" y="17"/>
                    </a:cubicBezTo>
                    <a:cubicBezTo>
                      <a:pt x="7" y="21"/>
                      <a:pt x="8" y="17"/>
                      <a:pt x="8" y="16"/>
                    </a:cubicBezTo>
                    <a:cubicBezTo>
                      <a:pt x="8" y="14"/>
                      <a:pt x="7" y="12"/>
                      <a:pt x="6" y="10"/>
                    </a:cubicBezTo>
                    <a:cubicBezTo>
                      <a:pt x="5" y="8"/>
                      <a:pt x="5" y="5"/>
                      <a:pt x="3" y="3"/>
                    </a:cubicBezTo>
                    <a:cubicBezTo>
                      <a:pt x="0" y="0"/>
                      <a:pt x="0" y="3"/>
                      <a:pt x="0"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7" name="Freeform 108"/>
              <p:cNvSpPr>
                <a:spLocks/>
              </p:cNvSpPr>
              <p:nvPr/>
            </p:nvSpPr>
            <p:spPr bwMode="auto">
              <a:xfrm>
                <a:off x="3425826" y="4348163"/>
                <a:ext cx="4763" cy="7938"/>
              </a:xfrm>
              <a:custGeom>
                <a:avLst/>
                <a:gdLst>
                  <a:gd name="T0" fmla="*/ 0 w 7"/>
                  <a:gd name="T1" fmla="*/ 6 h 10"/>
                  <a:gd name="T2" fmla="*/ 5 w 7"/>
                  <a:gd name="T3" fmla="*/ 10 h 10"/>
                  <a:gd name="T4" fmla="*/ 6 w 7"/>
                  <a:gd name="T5" fmla="*/ 4 h 10"/>
                  <a:gd name="T6" fmla="*/ 3 w 7"/>
                  <a:gd name="T7" fmla="*/ 0 h 10"/>
                  <a:gd name="T8" fmla="*/ 0 w 7"/>
                  <a:gd name="T9" fmla="*/ 6 h 10"/>
                </a:gdLst>
                <a:ahLst/>
                <a:cxnLst>
                  <a:cxn ang="0">
                    <a:pos x="T0" y="T1"/>
                  </a:cxn>
                  <a:cxn ang="0">
                    <a:pos x="T2" y="T3"/>
                  </a:cxn>
                  <a:cxn ang="0">
                    <a:pos x="T4" y="T5"/>
                  </a:cxn>
                  <a:cxn ang="0">
                    <a:pos x="T6" y="T7"/>
                  </a:cxn>
                  <a:cxn ang="0">
                    <a:pos x="T8" y="T9"/>
                  </a:cxn>
                </a:cxnLst>
                <a:rect l="0" t="0" r="r" b="b"/>
                <a:pathLst>
                  <a:path w="7" h="10">
                    <a:moveTo>
                      <a:pt x="0" y="6"/>
                    </a:moveTo>
                    <a:cubicBezTo>
                      <a:pt x="0" y="9"/>
                      <a:pt x="3" y="10"/>
                      <a:pt x="5" y="10"/>
                    </a:cubicBezTo>
                    <a:cubicBezTo>
                      <a:pt x="7" y="9"/>
                      <a:pt x="7" y="6"/>
                      <a:pt x="6" y="4"/>
                    </a:cubicBezTo>
                    <a:cubicBezTo>
                      <a:pt x="6" y="3"/>
                      <a:pt x="2" y="2"/>
                      <a:pt x="3" y="0"/>
                    </a:cubicBezTo>
                    <a:cubicBezTo>
                      <a:pt x="1" y="0"/>
                      <a:pt x="0" y="4"/>
                      <a:pt x="0"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8" name="Freeform 109"/>
              <p:cNvSpPr>
                <a:spLocks/>
              </p:cNvSpPr>
              <p:nvPr/>
            </p:nvSpPr>
            <p:spPr bwMode="auto">
              <a:xfrm>
                <a:off x="3411538" y="3970338"/>
                <a:ext cx="14288" cy="19050"/>
              </a:xfrm>
              <a:custGeom>
                <a:avLst/>
                <a:gdLst>
                  <a:gd name="T0" fmla="*/ 12 w 18"/>
                  <a:gd name="T1" fmla="*/ 7 h 25"/>
                  <a:gd name="T2" fmla="*/ 1 w 18"/>
                  <a:gd name="T3" fmla="*/ 3 h 25"/>
                  <a:gd name="T4" fmla="*/ 5 w 18"/>
                  <a:gd name="T5" fmla="*/ 15 h 25"/>
                  <a:gd name="T6" fmla="*/ 11 w 18"/>
                  <a:gd name="T7" fmla="*/ 20 h 25"/>
                  <a:gd name="T8" fmla="*/ 17 w 18"/>
                  <a:gd name="T9" fmla="*/ 23 h 25"/>
                  <a:gd name="T10" fmla="*/ 17 w 18"/>
                  <a:gd name="T11" fmla="*/ 16 h 25"/>
                  <a:gd name="T12" fmla="*/ 12 w 18"/>
                  <a:gd name="T13" fmla="*/ 7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2" y="7"/>
                    </a:moveTo>
                    <a:cubicBezTo>
                      <a:pt x="9" y="5"/>
                      <a:pt x="3" y="0"/>
                      <a:pt x="1" y="3"/>
                    </a:cubicBezTo>
                    <a:cubicBezTo>
                      <a:pt x="0" y="5"/>
                      <a:pt x="2" y="11"/>
                      <a:pt x="5" y="15"/>
                    </a:cubicBezTo>
                    <a:cubicBezTo>
                      <a:pt x="6" y="18"/>
                      <a:pt x="9" y="19"/>
                      <a:pt x="11" y="20"/>
                    </a:cubicBezTo>
                    <a:cubicBezTo>
                      <a:pt x="13" y="21"/>
                      <a:pt x="16" y="25"/>
                      <a:pt x="17" y="23"/>
                    </a:cubicBezTo>
                    <a:cubicBezTo>
                      <a:pt x="18" y="21"/>
                      <a:pt x="17" y="18"/>
                      <a:pt x="17" y="16"/>
                    </a:cubicBezTo>
                    <a:cubicBezTo>
                      <a:pt x="16" y="12"/>
                      <a:pt x="15" y="10"/>
                      <a:pt x="12"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199" name="Freeform 110"/>
              <p:cNvSpPr>
                <a:spLocks/>
              </p:cNvSpPr>
              <p:nvPr/>
            </p:nvSpPr>
            <p:spPr bwMode="auto">
              <a:xfrm>
                <a:off x="3500438" y="3914775"/>
                <a:ext cx="7938" cy="12700"/>
              </a:xfrm>
              <a:custGeom>
                <a:avLst/>
                <a:gdLst>
                  <a:gd name="T0" fmla="*/ 6 w 10"/>
                  <a:gd name="T1" fmla="*/ 10 h 16"/>
                  <a:gd name="T2" fmla="*/ 4 w 10"/>
                  <a:gd name="T3" fmla="*/ 6 h 16"/>
                  <a:gd name="T4" fmla="*/ 1 w 10"/>
                  <a:gd name="T5" fmla="*/ 2 h 16"/>
                  <a:gd name="T6" fmla="*/ 0 w 10"/>
                  <a:gd name="T7" fmla="*/ 2 h 16"/>
                  <a:gd name="T8" fmla="*/ 3 w 10"/>
                  <a:gd name="T9" fmla="*/ 6 h 16"/>
                  <a:gd name="T10" fmla="*/ 7 w 10"/>
                  <a:gd name="T11" fmla="*/ 13 h 16"/>
                  <a:gd name="T12" fmla="*/ 6 w 10"/>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6" y="10"/>
                    </a:moveTo>
                    <a:cubicBezTo>
                      <a:pt x="6" y="8"/>
                      <a:pt x="5" y="7"/>
                      <a:pt x="4" y="6"/>
                    </a:cubicBezTo>
                    <a:cubicBezTo>
                      <a:pt x="3" y="4"/>
                      <a:pt x="3" y="3"/>
                      <a:pt x="1" y="2"/>
                    </a:cubicBezTo>
                    <a:cubicBezTo>
                      <a:pt x="0" y="0"/>
                      <a:pt x="0" y="1"/>
                      <a:pt x="0" y="2"/>
                    </a:cubicBezTo>
                    <a:cubicBezTo>
                      <a:pt x="0" y="3"/>
                      <a:pt x="2" y="5"/>
                      <a:pt x="3" y="6"/>
                    </a:cubicBezTo>
                    <a:cubicBezTo>
                      <a:pt x="5" y="8"/>
                      <a:pt x="6" y="11"/>
                      <a:pt x="7" y="13"/>
                    </a:cubicBezTo>
                    <a:cubicBezTo>
                      <a:pt x="10" y="16"/>
                      <a:pt x="7" y="11"/>
                      <a:pt x="6" y="1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0" name="Freeform 111"/>
              <p:cNvSpPr>
                <a:spLocks/>
              </p:cNvSpPr>
              <p:nvPr/>
            </p:nvSpPr>
            <p:spPr bwMode="auto">
              <a:xfrm>
                <a:off x="3590926" y="3929063"/>
                <a:ext cx="0" cy="1588"/>
              </a:xfrm>
              <a:custGeom>
                <a:avLst/>
                <a:gdLst>
                  <a:gd name="T0" fmla="*/ 2 w 2"/>
                  <a:gd name="T1" fmla="*/ 2 h 2"/>
                  <a:gd name="T2" fmla="*/ 2 w 2"/>
                  <a:gd name="T3" fmla="*/ 2 h 2"/>
                  <a:gd name="T4" fmla="*/ 2 w 2"/>
                  <a:gd name="T5" fmla="*/ 2 h 2"/>
                </a:gdLst>
                <a:ahLst/>
                <a:cxnLst>
                  <a:cxn ang="0">
                    <a:pos x="T0" y="T1"/>
                  </a:cxn>
                  <a:cxn ang="0">
                    <a:pos x="T2" y="T3"/>
                  </a:cxn>
                  <a:cxn ang="0">
                    <a:pos x="T4" y="T5"/>
                  </a:cxn>
                </a:cxnLst>
                <a:rect l="0" t="0" r="r" b="b"/>
                <a:pathLst>
                  <a:path w="2" h="2">
                    <a:moveTo>
                      <a:pt x="2" y="2"/>
                    </a:moveTo>
                    <a:cubicBezTo>
                      <a:pt x="2" y="2"/>
                      <a:pt x="2" y="2"/>
                      <a:pt x="2" y="2"/>
                    </a:cubicBezTo>
                    <a:cubicBezTo>
                      <a:pt x="0" y="0"/>
                      <a:pt x="1" y="2"/>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1" name="Freeform 112"/>
              <p:cNvSpPr>
                <a:spLocks/>
              </p:cNvSpPr>
              <p:nvPr/>
            </p:nvSpPr>
            <p:spPr bwMode="auto">
              <a:xfrm>
                <a:off x="3595688" y="3905250"/>
                <a:ext cx="4763" cy="6350"/>
              </a:xfrm>
              <a:custGeom>
                <a:avLst/>
                <a:gdLst>
                  <a:gd name="T0" fmla="*/ 3 w 5"/>
                  <a:gd name="T1" fmla="*/ 9 h 9"/>
                  <a:gd name="T2" fmla="*/ 1 w 5"/>
                  <a:gd name="T3" fmla="*/ 1 h 9"/>
                  <a:gd name="T4" fmla="*/ 0 w 5"/>
                  <a:gd name="T5" fmla="*/ 4 h 9"/>
                  <a:gd name="T6" fmla="*/ 2 w 5"/>
                  <a:gd name="T7" fmla="*/ 7 h 9"/>
                  <a:gd name="T8" fmla="*/ 3 w 5"/>
                  <a:gd name="T9" fmla="*/ 9 h 9"/>
                </a:gdLst>
                <a:ahLst/>
                <a:cxnLst>
                  <a:cxn ang="0">
                    <a:pos x="T0" y="T1"/>
                  </a:cxn>
                  <a:cxn ang="0">
                    <a:pos x="T2" y="T3"/>
                  </a:cxn>
                  <a:cxn ang="0">
                    <a:pos x="T4" y="T5"/>
                  </a:cxn>
                  <a:cxn ang="0">
                    <a:pos x="T6" y="T7"/>
                  </a:cxn>
                  <a:cxn ang="0">
                    <a:pos x="T8" y="T9"/>
                  </a:cxn>
                </a:cxnLst>
                <a:rect l="0" t="0" r="r" b="b"/>
                <a:pathLst>
                  <a:path w="5" h="9">
                    <a:moveTo>
                      <a:pt x="3" y="9"/>
                    </a:moveTo>
                    <a:cubicBezTo>
                      <a:pt x="4" y="8"/>
                      <a:pt x="5" y="4"/>
                      <a:pt x="1" y="1"/>
                    </a:cubicBezTo>
                    <a:cubicBezTo>
                      <a:pt x="0" y="0"/>
                      <a:pt x="0" y="3"/>
                      <a:pt x="0" y="4"/>
                    </a:cubicBezTo>
                    <a:cubicBezTo>
                      <a:pt x="1" y="5"/>
                      <a:pt x="1" y="6"/>
                      <a:pt x="2" y="7"/>
                    </a:cubicBezTo>
                    <a:cubicBezTo>
                      <a:pt x="2" y="7"/>
                      <a:pt x="3" y="9"/>
                      <a:pt x="3"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2" name="Freeform 113"/>
              <p:cNvSpPr>
                <a:spLocks/>
              </p:cNvSpPr>
              <p:nvPr/>
            </p:nvSpPr>
            <p:spPr bwMode="auto">
              <a:xfrm>
                <a:off x="3589338" y="3932238"/>
                <a:ext cx="4763" cy="6350"/>
              </a:xfrm>
              <a:custGeom>
                <a:avLst/>
                <a:gdLst>
                  <a:gd name="T0" fmla="*/ 0 w 7"/>
                  <a:gd name="T1" fmla="*/ 1 h 10"/>
                  <a:gd name="T2" fmla="*/ 0 w 7"/>
                  <a:gd name="T3" fmla="*/ 4 h 10"/>
                  <a:gd name="T4" fmla="*/ 1 w 7"/>
                  <a:gd name="T5" fmla="*/ 5 h 10"/>
                  <a:gd name="T6" fmla="*/ 4 w 7"/>
                  <a:gd name="T7" fmla="*/ 8 h 10"/>
                  <a:gd name="T8" fmla="*/ 7 w 7"/>
                  <a:gd name="T9" fmla="*/ 10 h 10"/>
                  <a:gd name="T10" fmla="*/ 5 w 7"/>
                  <a:gd name="T11" fmla="*/ 6 h 10"/>
                  <a:gd name="T12" fmla="*/ 5 w 7"/>
                  <a:gd name="T13" fmla="*/ 5 h 10"/>
                  <a:gd name="T14" fmla="*/ 4 w 7"/>
                  <a:gd name="T15" fmla="*/ 5 h 10"/>
                  <a:gd name="T16" fmla="*/ 2 w 7"/>
                  <a:gd name="T17" fmla="*/ 1 h 10"/>
                  <a:gd name="T18" fmla="*/ 0 w 7"/>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0" y="1"/>
                    </a:moveTo>
                    <a:cubicBezTo>
                      <a:pt x="0" y="1"/>
                      <a:pt x="0" y="3"/>
                      <a:pt x="0" y="4"/>
                    </a:cubicBezTo>
                    <a:cubicBezTo>
                      <a:pt x="0" y="5"/>
                      <a:pt x="1" y="5"/>
                      <a:pt x="1" y="5"/>
                    </a:cubicBezTo>
                    <a:cubicBezTo>
                      <a:pt x="2" y="5"/>
                      <a:pt x="3" y="7"/>
                      <a:pt x="4" y="8"/>
                    </a:cubicBezTo>
                    <a:cubicBezTo>
                      <a:pt x="5" y="9"/>
                      <a:pt x="6" y="10"/>
                      <a:pt x="7" y="10"/>
                    </a:cubicBezTo>
                    <a:cubicBezTo>
                      <a:pt x="7" y="9"/>
                      <a:pt x="6" y="7"/>
                      <a:pt x="5" y="6"/>
                    </a:cubicBezTo>
                    <a:cubicBezTo>
                      <a:pt x="5" y="6"/>
                      <a:pt x="5" y="5"/>
                      <a:pt x="5" y="5"/>
                    </a:cubicBezTo>
                    <a:cubicBezTo>
                      <a:pt x="4" y="4"/>
                      <a:pt x="4" y="5"/>
                      <a:pt x="4" y="5"/>
                    </a:cubicBezTo>
                    <a:cubicBezTo>
                      <a:pt x="2" y="4"/>
                      <a:pt x="2" y="2"/>
                      <a:pt x="2" y="1"/>
                    </a:cubicBezTo>
                    <a:cubicBezTo>
                      <a:pt x="1" y="0"/>
                      <a:pt x="0"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3" name="Freeform 114"/>
              <p:cNvSpPr>
                <a:spLocks/>
              </p:cNvSpPr>
              <p:nvPr/>
            </p:nvSpPr>
            <p:spPr bwMode="auto">
              <a:xfrm>
                <a:off x="3592513" y="3913188"/>
                <a:ext cx="14288" cy="26988"/>
              </a:xfrm>
              <a:custGeom>
                <a:avLst/>
                <a:gdLst>
                  <a:gd name="T0" fmla="*/ 4 w 20"/>
                  <a:gd name="T1" fmla="*/ 9 h 36"/>
                  <a:gd name="T2" fmla="*/ 2 w 20"/>
                  <a:gd name="T3" fmla="*/ 9 h 36"/>
                  <a:gd name="T4" fmla="*/ 3 w 20"/>
                  <a:gd name="T5" fmla="*/ 13 h 36"/>
                  <a:gd name="T6" fmla="*/ 6 w 20"/>
                  <a:gd name="T7" fmla="*/ 15 h 36"/>
                  <a:gd name="T8" fmla="*/ 7 w 20"/>
                  <a:gd name="T9" fmla="*/ 18 h 36"/>
                  <a:gd name="T10" fmla="*/ 5 w 20"/>
                  <a:gd name="T11" fmla="*/ 17 h 36"/>
                  <a:gd name="T12" fmla="*/ 2 w 20"/>
                  <a:gd name="T13" fmla="*/ 13 h 36"/>
                  <a:gd name="T14" fmla="*/ 2 w 20"/>
                  <a:gd name="T15" fmla="*/ 16 h 36"/>
                  <a:gd name="T16" fmla="*/ 3 w 20"/>
                  <a:gd name="T17" fmla="*/ 22 h 36"/>
                  <a:gd name="T18" fmla="*/ 8 w 20"/>
                  <a:gd name="T19" fmla="*/ 26 h 36"/>
                  <a:gd name="T20" fmla="*/ 9 w 20"/>
                  <a:gd name="T21" fmla="*/ 29 h 36"/>
                  <a:gd name="T22" fmla="*/ 11 w 20"/>
                  <a:gd name="T23" fmla="*/ 31 h 36"/>
                  <a:gd name="T24" fmla="*/ 13 w 20"/>
                  <a:gd name="T25" fmla="*/ 34 h 36"/>
                  <a:gd name="T26" fmla="*/ 15 w 20"/>
                  <a:gd name="T27" fmla="*/ 34 h 36"/>
                  <a:gd name="T28" fmla="*/ 17 w 20"/>
                  <a:gd name="T29" fmla="*/ 36 h 36"/>
                  <a:gd name="T30" fmla="*/ 18 w 20"/>
                  <a:gd name="T31" fmla="*/ 34 h 36"/>
                  <a:gd name="T32" fmla="*/ 19 w 20"/>
                  <a:gd name="T33" fmla="*/ 30 h 36"/>
                  <a:gd name="T34" fmla="*/ 17 w 20"/>
                  <a:gd name="T35" fmla="*/ 27 h 36"/>
                  <a:gd name="T36" fmla="*/ 15 w 20"/>
                  <a:gd name="T37" fmla="*/ 25 h 36"/>
                  <a:gd name="T38" fmla="*/ 13 w 20"/>
                  <a:gd name="T39" fmla="*/ 23 h 36"/>
                  <a:gd name="T40" fmla="*/ 13 w 20"/>
                  <a:gd name="T41" fmla="*/ 20 h 36"/>
                  <a:gd name="T42" fmla="*/ 15 w 20"/>
                  <a:gd name="T43" fmla="*/ 19 h 36"/>
                  <a:gd name="T44" fmla="*/ 14 w 20"/>
                  <a:gd name="T45" fmla="*/ 16 h 36"/>
                  <a:gd name="T46" fmla="*/ 13 w 20"/>
                  <a:gd name="T47" fmla="*/ 13 h 36"/>
                  <a:gd name="T48" fmla="*/ 9 w 20"/>
                  <a:gd name="T49" fmla="*/ 7 h 36"/>
                  <a:gd name="T50" fmla="*/ 12 w 20"/>
                  <a:gd name="T51" fmla="*/ 7 h 36"/>
                  <a:gd name="T52" fmla="*/ 13 w 20"/>
                  <a:gd name="T53" fmla="*/ 6 h 36"/>
                  <a:gd name="T54" fmla="*/ 11 w 20"/>
                  <a:gd name="T55" fmla="*/ 3 h 36"/>
                  <a:gd name="T56" fmla="*/ 9 w 20"/>
                  <a:gd name="T57" fmla="*/ 4 h 36"/>
                  <a:gd name="T58" fmla="*/ 6 w 20"/>
                  <a:gd name="T59" fmla="*/ 1 h 36"/>
                  <a:gd name="T60" fmla="*/ 5 w 20"/>
                  <a:gd name="T61" fmla="*/ 1 h 36"/>
                  <a:gd name="T62" fmla="*/ 4 w 20"/>
                  <a:gd name="T63" fmla="*/ 3 h 36"/>
                  <a:gd name="T64" fmla="*/ 5 w 20"/>
                  <a:gd name="T65" fmla="*/ 6 h 36"/>
                  <a:gd name="T66" fmla="*/ 7 w 20"/>
                  <a:gd name="T67" fmla="*/ 8 h 36"/>
                  <a:gd name="T68" fmla="*/ 7 w 20"/>
                  <a:gd name="T69" fmla="*/ 11 h 36"/>
                  <a:gd name="T70" fmla="*/ 4 w 20"/>
                  <a:gd name="T71"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 h="36">
                    <a:moveTo>
                      <a:pt x="4" y="9"/>
                    </a:moveTo>
                    <a:cubicBezTo>
                      <a:pt x="2" y="8"/>
                      <a:pt x="0" y="6"/>
                      <a:pt x="2" y="9"/>
                    </a:cubicBezTo>
                    <a:cubicBezTo>
                      <a:pt x="2" y="10"/>
                      <a:pt x="3" y="12"/>
                      <a:pt x="3" y="13"/>
                    </a:cubicBezTo>
                    <a:cubicBezTo>
                      <a:pt x="4" y="14"/>
                      <a:pt x="5" y="14"/>
                      <a:pt x="6" y="15"/>
                    </a:cubicBezTo>
                    <a:cubicBezTo>
                      <a:pt x="6" y="16"/>
                      <a:pt x="7" y="18"/>
                      <a:pt x="7" y="18"/>
                    </a:cubicBezTo>
                    <a:cubicBezTo>
                      <a:pt x="6" y="18"/>
                      <a:pt x="5" y="17"/>
                      <a:pt x="5" y="17"/>
                    </a:cubicBezTo>
                    <a:cubicBezTo>
                      <a:pt x="4" y="16"/>
                      <a:pt x="3" y="13"/>
                      <a:pt x="2" y="13"/>
                    </a:cubicBezTo>
                    <a:cubicBezTo>
                      <a:pt x="1" y="12"/>
                      <a:pt x="2" y="15"/>
                      <a:pt x="2" y="16"/>
                    </a:cubicBezTo>
                    <a:cubicBezTo>
                      <a:pt x="2" y="18"/>
                      <a:pt x="2" y="20"/>
                      <a:pt x="3" y="22"/>
                    </a:cubicBezTo>
                    <a:cubicBezTo>
                      <a:pt x="5" y="23"/>
                      <a:pt x="7" y="24"/>
                      <a:pt x="8" y="26"/>
                    </a:cubicBezTo>
                    <a:cubicBezTo>
                      <a:pt x="8" y="27"/>
                      <a:pt x="8" y="29"/>
                      <a:pt x="9" y="29"/>
                    </a:cubicBezTo>
                    <a:cubicBezTo>
                      <a:pt x="10" y="30"/>
                      <a:pt x="10" y="30"/>
                      <a:pt x="11" y="31"/>
                    </a:cubicBezTo>
                    <a:cubicBezTo>
                      <a:pt x="12" y="32"/>
                      <a:pt x="12" y="34"/>
                      <a:pt x="13" y="34"/>
                    </a:cubicBezTo>
                    <a:cubicBezTo>
                      <a:pt x="14" y="35"/>
                      <a:pt x="14" y="33"/>
                      <a:pt x="15" y="34"/>
                    </a:cubicBezTo>
                    <a:cubicBezTo>
                      <a:pt x="16" y="35"/>
                      <a:pt x="17" y="36"/>
                      <a:pt x="17" y="36"/>
                    </a:cubicBezTo>
                    <a:cubicBezTo>
                      <a:pt x="18" y="36"/>
                      <a:pt x="18" y="35"/>
                      <a:pt x="18" y="34"/>
                    </a:cubicBezTo>
                    <a:cubicBezTo>
                      <a:pt x="17" y="32"/>
                      <a:pt x="20" y="33"/>
                      <a:pt x="19" y="30"/>
                    </a:cubicBezTo>
                    <a:cubicBezTo>
                      <a:pt x="18" y="29"/>
                      <a:pt x="17" y="28"/>
                      <a:pt x="17" y="27"/>
                    </a:cubicBezTo>
                    <a:cubicBezTo>
                      <a:pt x="17" y="26"/>
                      <a:pt x="16" y="25"/>
                      <a:pt x="15" y="25"/>
                    </a:cubicBezTo>
                    <a:cubicBezTo>
                      <a:pt x="15" y="24"/>
                      <a:pt x="14" y="24"/>
                      <a:pt x="13" y="23"/>
                    </a:cubicBezTo>
                    <a:cubicBezTo>
                      <a:pt x="13" y="22"/>
                      <a:pt x="12" y="19"/>
                      <a:pt x="13" y="20"/>
                    </a:cubicBezTo>
                    <a:cubicBezTo>
                      <a:pt x="14" y="20"/>
                      <a:pt x="16" y="21"/>
                      <a:pt x="15" y="19"/>
                    </a:cubicBezTo>
                    <a:cubicBezTo>
                      <a:pt x="15" y="18"/>
                      <a:pt x="15" y="17"/>
                      <a:pt x="14" y="16"/>
                    </a:cubicBezTo>
                    <a:cubicBezTo>
                      <a:pt x="13" y="14"/>
                      <a:pt x="13" y="14"/>
                      <a:pt x="13" y="13"/>
                    </a:cubicBezTo>
                    <a:cubicBezTo>
                      <a:pt x="13" y="11"/>
                      <a:pt x="10" y="9"/>
                      <a:pt x="9" y="7"/>
                    </a:cubicBezTo>
                    <a:cubicBezTo>
                      <a:pt x="9" y="6"/>
                      <a:pt x="11" y="7"/>
                      <a:pt x="12" y="7"/>
                    </a:cubicBezTo>
                    <a:cubicBezTo>
                      <a:pt x="13" y="7"/>
                      <a:pt x="14" y="8"/>
                      <a:pt x="13" y="6"/>
                    </a:cubicBezTo>
                    <a:cubicBezTo>
                      <a:pt x="13" y="5"/>
                      <a:pt x="12" y="3"/>
                      <a:pt x="11" y="3"/>
                    </a:cubicBezTo>
                    <a:cubicBezTo>
                      <a:pt x="10" y="2"/>
                      <a:pt x="10" y="4"/>
                      <a:pt x="9" y="4"/>
                    </a:cubicBezTo>
                    <a:cubicBezTo>
                      <a:pt x="8" y="4"/>
                      <a:pt x="7" y="2"/>
                      <a:pt x="6" y="1"/>
                    </a:cubicBezTo>
                    <a:cubicBezTo>
                      <a:pt x="5" y="0"/>
                      <a:pt x="5" y="1"/>
                      <a:pt x="5" y="1"/>
                    </a:cubicBezTo>
                    <a:cubicBezTo>
                      <a:pt x="5" y="3"/>
                      <a:pt x="5" y="4"/>
                      <a:pt x="4" y="3"/>
                    </a:cubicBezTo>
                    <a:cubicBezTo>
                      <a:pt x="2" y="2"/>
                      <a:pt x="2" y="5"/>
                      <a:pt x="5" y="6"/>
                    </a:cubicBezTo>
                    <a:cubicBezTo>
                      <a:pt x="5" y="6"/>
                      <a:pt x="6" y="7"/>
                      <a:pt x="7" y="8"/>
                    </a:cubicBezTo>
                    <a:cubicBezTo>
                      <a:pt x="7" y="9"/>
                      <a:pt x="7" y="11"/>
                      <a:pt x="7" y="11"/>
                    </a:cubicBezTo>
                    <a:cubicBezTo>
                      <a:pt x="6" y="11"/>
                      <a:pt x="5" y="10"/>
                      <a:pt x="4"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4" name="Freeform 115"/>
              <p:cNvSpPr>
                <a:spLocks/>
              </p:cNvSpPr>
              <p:nvPr/>
            </p:nvSpPr>
            <p:spPr bwMode="auto">
              <a:xfrm>
                <a:off x="3609976" y="3917950"/>
                <a:ext cx="7938" cy="15875"/>
              </a:xfrm>
              <a:custGeom>
                <a:avLst/>
                <a:gdLst>
                  <a:gd name="T0" fmla="*/ 8 w 9"/>
                  <a:gd name="T1" fmla="*/ 17 h 20"/>
                  <a:gd name="T2" fmla="*/ 6 w 9"/>
                  <a:gd name="T3" fmla="*/ 12 h 20"/>
                  <a:gd name="T4" fmla="*/ 5 w 9"/>
                  <a:gd name="T5" fmla="*/ 7 h 20"/>
                  <a:gd name="T6" fmla="*/ 0 w 9"/>
                  <a:gd name="T7" fmla="*/ 8 h 20"/>
                  <a:gd name="T8" fmla="*/ 1 w 9"/>
                  <a:gd name="T9" fmla="*/ 13 h 20"/>
                  <a:gd name="T10" fmla="*/ 2 w 9"/>
                  <a:gd name="T11" fmla="*/ 15 h 20"/>
                  <a:gd name="T12" fmla="*/ 4 w 9"/>
                  <a:gd name="T13" fmla="*/ 19 h 20"/>
                  <a:gd name="T14" fmla="*/ 6 w 9"/>
                  <a:gd name="T15" fmla="*/ 20 h 20"/>
                  <a:gd name="T16" fmla="*/ 6 w 9"/>
                  <a:gd name="T17" fmla="*/ 17 h 20"/>
                  <a:gd name="T18" fmla="*/ 8 w 9"/>
                  <a:gd name="T19"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20">
                    <a:moveTo>
                      <a:pt x="8" y="17"/>
                    </a:moveTo>
                    <a:cubicBezTo>
                      <a:pt x="8" y="16"/>
                      <a:pt x="7" y="14"/>
                      <a:pt x="6" y="12"/>
                    </a:cubicBezTo>
                    <a:cubicBezTo>
                      <a:pt x="6" y="11"/>
                      <a:pt x="5" y="9"/>
                      <a:pt x="5" y="7"/>
                    </a:cubicBezTo>
                    <a:cubicBezTo>
                      <a:pt x="2" y="0"/>
                      <a:pt x="1" y="7"/>
                      <a:pt x="0" y="8"/>
                    </a:cubicBezTo>
                    <a:cubicBezTo>
                      <a:pt x="0" y="9"/>
                      <a:pt x="2" y="12"/>
                      <a:pt x="1" y="13"/>
                    </a:cubicBezTo>
                    <a:cubicBezTo>
                      <a:pt x="1" y="13"/>
                      <a:pt x="1" y="15"/>
                      <a:pt x="2" y="15"/>
                    </a:cubicBezTo>
                    <a:cubicBezTo>
                      <a:pt x="3" y="17"/>
                      <a:pt x="3" y="17"/>
                      <a:pt x="4" y="19"/>
                    </a:cubicBezTo>
                    <a:cubicBezTo>
                      <a:pt x="5" y="19"/>
                      <a:pt x="5" y="20"/>
                      <a:pt x="6" y="20"/>
                    </a:cubicBezTo>
                    <a:cubicBezTo>
                      <a:pt x="6" y="19"/>
                      <a:pt x="6" y="18"/>
                      <a:pt x="6" y="17"/>
                    </a:cubicBezTo>
                    <a:cubicBezTo>
                      <a:pt x="5" y="15"/>
                      <a:pt x="9" y="19"/>
                      <a:pt x="8" y="1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5" name="Freeform 116"/>
              <p:cNvSpPr>
                <a:spLocks/>
              </p:cNvSpPr>
              <p:nvPr/>
            </p:nvSpPr>
            <p:spPr bwMode="auto">
              <a:xfrm>
                <a:off x="2987676" y="3987800"/>
                <a:ext cx="25400" cy="26988"/>
              </a:xfrm>
              <a:custGeom>
                <a:avLst/>
                <a:gdLst>
                  <a:gd name="T0" fmla="*/ 20 w 34"/>
                  <a:gd name="T1" fmla="*/ 4 h 35"/>
                  <a:gd name="T2" fmla="*/ 13 w 34"/>
                  <a:gd name="T3" fmla="*/ 3 h 35"/>
                  <a:gd name="T4" fmla="*/ 3 w 34"/>
                  <a:gd name="T5" fmla="*/ 18 h 35"/>
                  <a:gd name="T6" fmla="*/ 0 w 34"/>
                  <a:gd name="T7" fmla="*/ 23 h 35"/>
                  <a:gd name="T8" fmla="*/ 5 w 34"/>
                  <a:gd name="T9" fmla="*/ 25 h 35"/>
                  <a:gd name="T10" fmla="*/ 11 w 34"/>
                  <a:gd name="T11" fmla="*/ 33 h 35"/>
                  <a:gd name="T12" fmla="*/ 23 w 34"/>
                  <a:gd name="T13" fmla="*/ 34 h 35"/>
                  <a:gd name="T14" fmla="*/ 33 w 34"/>
                  <a:gd name="T15" fmla="*/ 25 h 35"/>
                  <a:gd name="T16" fmla="*/ 26 w 34"/>
                  <a:gd name="T17" fmla="*/ 15 h 35"/>
                  <a:gd name="T18" fmla="*/ 21 w 34"/>
                  <a:gd name="T19" fmla="*/ 10 h 35"/>
                  <a:gd name="T20" fmla="*/ 20 w 34"/>
                  <a:gd name="T21"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20" y="4"/>
                    </a:moveTo>
                    <a:cubicBezTo>
                      <a:pt x="19" y="0"/>
                      <a:pt x="16" y="0"/>
                      <a:pt x="13" y="3"/>
                    </a:cubicBezTo>
                    <a:cubicBezTo>
                      <a:pt x="9" y="8"/>
                      <a:pt x="7" y="13"/>
                      <a:pt x="3" y="18"/>
                    </a:cubicBezTo>
                    <a:cubicBezTo>
                      <a:pt x="1" y="19"/>
                      <a:pt x="0" y="21"/>
                      <a:pt x="0" y="23"/>
                    </a:cubicBezTo>
                    <a:cubicBezTo>
                      <a:pt x="0" y="26"/>
                      <a:pt x="4" y="25"/>
                      <a:pt x="5" y="25"/>
                    </a:cubicBezTo>
                    <a:cubicBezTo>
                      <a:pt x="9" y="24"/>
                      <a:pt x="8" y="31"/>
                      <a:pt x="11" y="33"/>
                    </a:cubicBezTo>
                    <a:cubicBezTo>
                      <a:pt x="14" y="35"/>
                      <a:pt x="19" y="35"/>
                      <a:pt x="23" y="34"/>
                    </a:cubicBezTo>
                    <a:cubicBezTo>
                      <a:pt x="27" y="34"/>
                      <a:pt x="34" y="28"/>
                      <a:pt x="33" y="25"/>
                    </a:cubicBezTo>
                    <a:cubicBezTo>
                      <a:pt x="32" y="21"/>
                      <a:pt x="28" y="18"/>
                      <a:pt x="26" y="15"/>
                    </a:cubicBezTo>
                    <a:cubicBezTo>
                      <a:pt x="25" y="13"/>
                      <a:pt x="23" y="12"/>
                      <a:pt x="21" y="10"/>
                    </a:cubicBezTo>
                    <a:cubicBezTo>
                      <a:pt x="19" y="8"/>
                      <a:pt x="20" y="6"/>
                      <a:pt x="20"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6" name="Freeform 117"/>
              <p:cNvSpPr>
                <a:spLocks/>
              </p:cNvSpPr>
              <p:nvPr/>
            </p:nvSpPr>
            <p:spPr bwMode="auto">
              <a:xfrm>
                <a:off x="3559176" y="3919538"/>
                <a:ext cx="3175" cy="3175"/>
              </a:xfrm>
              <a:custGeom>
                <a:avLst/>
                <a:gdLst>
                  <a:gd name="T0" fmla="*/ 4 w 4"/>
                  <a:gd name="T1" fmla="*/ 4 h 4"/>
                  <a:gd name="T2" fmla="*/ 4 w 4"/>
                  <a:gd name="T3" fmla="*/ 2 h 4"/>
                  <a:gd name="T4" fmla="*/ 1 w 4"/>
                  <a:gd name="T5" fmla="*/ 1 h 4"/>
                  <a:gd name="T6" fmla="*/ 1 w 4"/>
                  <a:gd name="T7" fmla="*/ 2 h 4"/>
                  <a:gd name="T8" fmla="*/ 4 w 4"/>
                  <a:gd name="T9" fmla="*/ 4 h 4"/>
                </a:gdLst>
                <a:ahLst/>
                <a:cxnLst>
                  <a:cxn ang="0">
                    <a:pos x="T0" y="T1"/>
                  </a:cxn>
                  <a:cxn ang="0">
                    <a:pos x="T2" y="T3"/>
                  </a:cxn>
                  <a:cxn ang="0">
                    <a:pos x="T4" y="T5"/>
                  </a:cxn>
                  <a:cxn ang="0">
                    <a:pos x="T6" y="T7"/>
                  </a:cxn>
                  <a:cxn ang="0">
                    <a:pos x="T8" y="T9"/>
                  </a:cxn>
                </a:cxnLst>
                <a:rect l="0" t="0" r="r" b="b"/>
                <a:pathLst>
                  <a:path w="4" h="4">
                    <a:moveTo>
                      <a:pt x="4" y="4"/>
                    </a:moveTo>
                    <a:cubicBezTo>
                      <a:pt x="4" y="4"/>
                      <a:pt x="4" y="3"/>
                      <a:pt x="4" y="2"/>
                    </a:cubicBezTo>
                    <a:cubicBezTo>
                      <a:pt x="3" y="2"/>
                      <a:pt x="2" y="1"/>
                      <a:pt x="1" y="1"/>
                    </a:cubicBezTo>
                    <a:cubicBezTo>
                      <a:pt x="0" y="0"/>
                      <a:pt x="0" y="1"/>
                      <a:pt x="1" y="2"/>
                    </a:cubicBezTo>
                    <a:cubicBezTo>
                      <a:pt x="2" y="3"/>
                      <a:pt x="3" y="4"/>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7" name="Freeform 118"/>
              <p:cNvSpPr>
                <a:spLocks/>
              </p:cNvSpPr>
              <p:nvPr/>
            </p:nvSpPr>
            <p:spPr bwMode="auto">
              <a:xfrm>
                <a:off x="3606801" y="3940175"/>
                <a:ext cx="4763" cy="6350"/>
              </a:xfrm>
              <a:custGeom>
                <a:avLst/>
                <a:gdLst>
                  <a:gd name="T0" fmla="*/ 1 w 6"/>
                  <a:gd name="T1" fmla="*/ 1 h 8"/>
                  <a:gd name="T2" fmla="*/ 0 w 6"/>
                  <a:gd name="T3" fmla="*/ 4 h 8"/>
                  <a:gd name="T4" fmla="*/ 3 w 6"/>
                  <a:gd name="T5" fmla="*/ 6 h 8"/>
                  <a:gd name="T6" fmla="*/ 6 w 6"/>
                  <a:gd name="T7" fmla="*/ 8 h 8"/>
                  <a:gd name="T8" fmla="*/ 3 w 6"/>
                  <a:gd name="T9" fmla="*/ 3 h 8"/>
                  <a:gd name="T10" fmla="*/ 1 w 6"/>
                  <a:gd name="T11" fmla="*/ 1 h 8"/>
                </a:gdLst>
                <a:ahLst/>
                <a:cxnLst>
                  <a:cxn ang="0">
                    <a:pos x="T0" y="T1"/>
                  </a:cxn>
                  <a:cxn ang="0">
                    <a:pos x="T2" y="T3"/>
                  </a:cxn>
                  <a:cxn ang="0">
                    <a:pos x="T4" y="T5"/>
                  </a:cxn>
                  <a:cxn ang="0">
                    <a:pos x="T6" y="T7"/>
                  </a:cxn>
                  <a:cxn ang="0">
                    <a:pos x="T8" y="T9"/>
                  </a:cxn>
                  <a:cxn ang="0">
                    <a:pos x="T10" y="T11"/>
                  </a:cxn>
                </a:cxnLst>
                <a:rect l="0" t="0" r="r" b="b"/>
                <a:pathLst>
                  <a:path w="6" h="8">
                    <a:moveTo>
                      <a:pt x="1" y="1"/>
                    </a:moveTo>
                    <a:cubicBezTo>
                      <a:pt x="0" y="1"/>
                      <a:pt x="0" y="2"/>
                      <a:pt x="0" y="4"/>
                    </a:cubicBezTo>
                    <a:cubicBezTo>
                      <a:pt x="1" y="6"/>
                      <a:pt x="3" y="6"/>
                      <a:pt x="3" y="6"/>
                    </a:cubicBezTo>
                    <a:cubicBezTo>
                      <a:pt x="4" y="6"/>
                      <a:pt x="5" y="7"/>
                      <a:pt x="6" y="8"/>
                    </a:cubicBezTo>
                    <a:cubicBezTo>
                      <a:pt x="6" y="6"/>
                      <a:pt x="5" y="4"/>
                      <a:pt x="3" y="3"/>
                    </a:cubicBezTo>
                    <a:cubicBezTo>
                      <a:pt x="2" y="2"/>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8" name="Freeform 119"/>
              <p:cNvSpPr>
                <a:spLocks/>
              </p:cNvSpPr>
              <p:nvPr/>
            </p:nvSpPr>
            <p:spPr bwMode="auto">
              <a:xfrm>
                <a:off x="3548063" y="3913188"/>
                <a:ext cx="4763" cy="4763"/>
              </a:xfrm>
              <a:custGeom>
                <a:avLst/>
                <a:gdLst>
                  <a:gd name="T0" fmla="*/ 5 w 7"/>
                  <a:gd name="T1" fmla="*/ 4 h 5"/>
                  <a:gd name="T2" fmla="*/ 6 w 7"/>
                  <a:gd name="T3" fmla="*/ 2 h 5"/>
                  <a:gd name="T4" fmla="*/ 4 w 7"/>
                  <a:gd name="T5" fmla="*/ 2 h 5"/>
                  <a:gd name="T6" fmla="*/ 0 w 7"/>
                  <a:gd name="T7" fmla="*/ 2 h 5"/>
                  <a:gd name="T8" fmla="*/ 2 w 7"/>
                  <a:gd name="T9" fmla="*/ 4 h 5"/>
                  <a:gd name="T10" fmla="*/ 5 w 7"/>
                  <a:gd name="T11" fmla="*/ 4 h 5"/>
                </a:gdLst>
                <a:ahLst/>
                <a:cxnLst>
                  <a:cxn ang="0">
                    <a:pos x="T0" y="T1"/>
                  </a:cxn>
                  <a:cxn ang="0">
                    <a:pos x="T2" y="T3"/>
                  </a:cxn>
                  <a:cxn ang="0">
                    <a:pos x="T4" y="T5"/>
                  </a:cxn>
                  <a:cxn ang="0">
                    <a:pos x="T6" y="T7"/>
                  </a:cxn>
                  <a:cxn ang="0">
                    <a:pos x="T8" y="T9"/>
                  </a:cxn>
                  <a:cxn ang="0">
                    <a:pos x="T10" y="T11"/>
                  </a:cxn>
                </a:cxnLst>
                <a:rect l="0" t="0" r="r" b="b"/>
                <a:pathLst>
                  <a:path w="7" h="5">
                    <a:moveTo>
                      <a:pt x="5" y="4"/>
                    </a:moveTo>
                    <a:cubicBezTo>
                      <a:pt x="6" y="4"/>
                      <a:pt x="7" y="3"/>
                      <a:pt x="6" y="2"/>
                    </a:cubicBezTo>
                    <a:cubicBezTo>
                      <a:pt x="4" y="0"/>
                      <a:pt x="4" y="2"/>
                      <a:pt x="4" y="2"/>
                    </a:cubicBezTo>
                    <a:cubicBezTo>
                      <a:pt x="3" y="2"/>
                      <a:pt x="0" y="1"/>
                      <a:pt x="0" y="2"/>
                    </a:cubicBezTo>
                    <a:cubicBezTo>
                      <a:pt x="0" y="2"/>
                      <a:pt x="2" y="4"/>
                      <a:pt x="2" y="4"/>
                    </a:cubicBezTo>
                    <a:cubicBezTo>
                      <a:pt x="4" y="5"/>
                      <a:pt x="4" y="4"/>
                      <a:pt x="5"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09" name="Freeform 120"/>
              <p:cNvSpPr>
                <a:spLocks/>
              </p:cNvSpPr>
              <p:nvPr/>
            </p:nvSpPr>
            <p:spPr bwMode="auto">
              <a:xfrm>
                <a:off x="3590926" y="3913188"/>
                <a:ext cx="1588" cy="3175"/>
              </a:xfrm>
              <a:custGeom>
                <a:avLst/>
                <a:gdLst>
                  <a:gd name="T0" fmla="*/ 3 w 4"/>
                  <a:gd name="T1" fmla="*/ 4 h 5"/>
                  <a:gd name="T2" fmla="*/ 1 w 4"/>
                  <a:gd name="T3" fmla="*/ 1 h 5"/>
                  <a:gd name="T4" fmla="*/ 1 w 4"/>
                  <a:gd name="T5" fmla="*/ 2 h 5"/>
                  <a:gd name="T6" fmla="*/ 3 w 4"/>
                  <a:gd name="T7" fmla="*/ 4 h 5"/>
                </a:gdLst>
                <a:ahLst/>
                <a:cxnLst>
                  <a:cxn ang="0">
                    <a:pos x="T0" y="T1"/>
                  </a:cxn>
                  <a:cxn ang="0">
                    <a:pos x="T2" y="T3"/>
                  </a:cxn>
                  <a:cxn ang="0">
                    <a:pos x="T4" y="T5"/>
                  </a:cxn>
                  <a:cxn ang="0">
                    <a:pos x="T6" y="T7"/>
                  </a:cxn>
                </a:cxnLst>
                <a:rect l="0" t="0" r="r" b="b"/>
                <a:pathLst>
                  <a:path w="4" h="5">
                    <a:moveTo>
                      <a:pt x="3" y="4"/>
                    </a:moveTo>
                    <a:cubicBezTo>
                      <a:pt x="3" y="2"/>
                      <a:pt x="2" y="1"/>
                      <a:pt x="1" y="1"/>
                    </a:cubicBezTo>
                    <a:cubicBezTo>
                      <a:pt x="0" y="0"/>
                      <a:pt x="0" y="1"/>
                      <a:pt x="1" y="2"/>
                    </a:cubicBezTo>
                    <a:cubicBezTo>
                      <a:pt x="2" y="3"/>
                      <a:pt x="4" y="5"/>
                      <a:pt x="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0" name="Freeform 121"/>
              <p:cNvSpPr>
                <a:spLocks/>
              </p:cNvSpPr>
              <p:nvPr/>
            </p:nvSpPr>
            <p:spPr bwMode="auto">
              <a:xfrm>
                <a:off x="3546476" y="3933825"/>
                <a:ext cx="4763" cy="3175"/>
              </a:xfrm>
              <a:custGeom>
                <a:avLst/>
                <a:gdLst>
                  <a:gd name="T0" fmla="*/ 2 w 7"/>
                  <a:gd name="T1" fmla="*/ 3 h 5"/>
                  <a:gd name="T2" fmla="*/ 3 w 7"/>
                  <a:gd name="T3" fmla="*/ 3 h 5"/>
                  <a:gd name="T4" fmla="*/ 4 w 7"/>
                  <a:gd name="T5" fmla="*/ 3 h 5"/>
                  <a:gd name="T6" fmla="*/ 6 w 7"/>
                  <a:gd name="T7" fmla="*/ 2 h 5"/>
                  <a:gd name="T8" fmla="*/ 2 w 7"/>
                  <a:gd name="T9" fmla="*/ 0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2" y="3"/>
                      <a:pt x="2" y="3"/>
                      <a:pt x="3" y="3"/>
                    </a:cubicBezTo>
                    <a:cubicBezTo>
                      <a:pt x="3" y="2"/>
                      <a:pt x="4" y="3"/>
                      <a:pt x="4" y="3"/>
                    </a:cubicBezTo>
                    <a:cubicBezTo>
                      <a:pt x="5" y="3"/>
                      <a:pt x="7" y="5"/>
                      <a:pt x="6" y="2"/>
                    </a:cubicBezTo>
                    <a:cubicBezTo>
                      <a:pt x="5" y="1"/>
                      <a:pt x="3" y="1"/>
                      <a:pt x="2" y="0"/>
                    </a:cubicBezTo>
                    <a:cubicBezTo>
                      <a:pt x="1" y="0"/>
                      <a:pt x="0" y="2"/>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1" name="Freeform 122"/>
              <p:cNvSpPr>
                <a:spLocks/>
              </p:cNvSpPr>
              <p:nvPr/>
            </p:nvSpPr>
            <p:spPr bwMode="auto">
              <a:xfrm>
                <a:off x="3575051" y="3914775"/>
                <a:ext cx="15875" cy="19050"/>
              </a:xfrm>
              <a:custGeom>
                <a:avLst/>
                <a:gdLst>
                  <a:gd name="T0" fmla="*/ 12 w 22"/>
                  <a:gd name="T1" fmla="*/ 6 h 25"/>
                  <a:gd name="T2" fmla="*/ 8 w 22"/>
                  <a:gd name="T3" fmla="*/ 3 h 25"/>
                  <a:gd name="T4" fmla="*/ 4 w 22"/>
                  <a:gd name="T5" fmla="*/ 1 h 25"/>
                  <a:gd name="T6" fmla="*/ 1 w 22"/>
                  <a:gd name="T7" fmla="*/ 2 h 25"/>
                  <a:gd name="T8" fmla="*/ 3 w 22"/>
                  <a:gd name="T9" fmla="*/ 9 h 25"/>
                  <a:gd name="T10" fmla="*/ 6 w 22"/>
                  <a:gd name="T11" fmla="*/ 11 h 25"/>
                  <a:gd name="T12" fmla="*/ 6 w 22"/>
                  <a:gd name="T13" fmla="*/ 8 h 25"/>
                  <a:gd name="T14" fmla="*/ 7 w 22"/>
                  <a:gd name="T15" fmla="*/ 8 h 25"/>
                  <a:gd name="T16" fmla="*/ 8 w 22"/>
                  <a:gd name="T17" fmla="*/ 11 h 25"/>
                  <a:gd name="T18" fmla="*/ 10 w 22"/>
                  <a:gd name="T19" fmla="*/ 14 h 25"/>
                  <a:gd name="T20" fmla="*/ 12 w 22"/>
                  <a:gd name="T21" fmla="*/ 19 h 25"/>
                  <a:gd name="T22" fmla="*/ 15 w 22"/>
                  <a:gd name="T23" fmla="*/ 23 h 25"/>
                  <a:gd name="T24" fmla="*/ 17 w 22"/>
                  <a:gd name="T25" fmla="*/ 24 h 25"/>
                  <a:gd name="T26" fmla="*/ 17 w 22"/>
                  <a:gd name="T27" fmla="*/ 23 h 25"/>
                  <a:gd name="T28" fmla="*/ 17 w 22"/>
                  <a:gd name="T29" fmla="*/ 23 h 25"/>
                  <a:gd name="T30" fmla="*/ 16 w 22"/>
                  <a:gd name="T31" fmla="*/ 19 h 25"/>
                  <a:gd name="T32" fmla="*/ 17 w 22"/>
                  <a:gd name="T33" fmla="*/ 18 h 25"/>
                  <a:gd name="T34" fmla="*/ 19 w 22"/>
                  <a:gd name="T35" fmla="*/ 18 h 25"/>
                  <a:gd name="T36" fmla="*/ 19 w 22"/>
                  <a:gd name="T37" fmla="*/ 16 h 25"/>
                  <a:gd name="T38" fmla="*/ 20 w 22"/>
                  <a:gd name="T39" fmla="*/ 13 h 25"/>
                  <a:gd name="T40" fmla="*/ 18 w 22"/>
                  <a:gd name="T41" fmla="*/ 9 h 25"/>
                  <a:gd name="T42" fmla="*/ 17 w 22"/>
                  <a:gd name="T43" fmla="*/ 6 h 25"/>
                  <a:gd name="T44" fmla="*/ 14 w 22"/>
                  <a:gd name="T45" fmla="*/ 4 h 25"/>
                  <a:gd name="T46" fmla="*/ 14 w 22"/>
                  <a:gd name="T47" fmla="*/ 6 h 25"/>
                  <a:gd name="T48" fmla="*/ 12 w 22"/>
                  <a:gd name="T49"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25">
                    <a:moveTo>
                      <a:pt x="12" y="6"/>
                    </a:moveTo>
                    <a:cubicBezTo>
                      <a:pt x="10" y="5"/>
                      <a:pt x="9" y="4"/>
                      <a:pt x="8" y="3"/>
                    </a:cubicBezTo>
                    <a:cubicBezTo>
                      <a:pt x="7" y="2"/>
                      <a:pt x="5" y="1"/>
                      <a:pt x="4" y="1"/>
                    </a:cubicBezTo>
                    <a:cubicBezTo>
                      <a:pt x="2" y="0"/>
                      <a:pt x="2" y="1"/>
                      <a:pt x="1" y="2"/>
                    </a:cubicBezTo>
                    <a:cubicBezTo>
                      <a:pt x="0" y="4"/>
                      <a:pt x="0" y="6"/>
                      <a:pt x="3" y="9"/>
                    </a:cubicBezTo>
                    <a:cubicBezTo>
                      <a:pt x="4" y="11"/>
                      <a:pt x="6" y="12"/>
                      <a:pt x="6" y="11"/>
                    </a:cubicBezTo>
                    <a:cubicBezTo>
                      <a:pt x="7" y="10"/>
                      <a:pt x="6" y="9"/>
                      <a:pt x="6" y="8"/>
                    </a:cubicBezTo>
                    <a:cubicBezTo>
                      <a:pt x="6" y="6"/>
                      <a:pt x="7" y="7"/>
                      <a:pt x="7" y="8"/>
                    </a:cubicBezTo>
                    <a:cubicBezTo>
                      <a:pt x="8" y="9"/>
                      <a:pt x="8" y="10"/>
                      <a:pt x="8" y="11"/>
                    </a:cubicBezTo>
                    <a:cubicBezTo>
                      <a:pt x="9" y="12"/>
                      <a:pt x="10" y="13"/>
                      <a:pt x="10" y="14"/>
                    </a:cubicBezTo>
                    <a:cubicBezTo>
                      <a:pt x="10" y="16"/>
                      <a:pt x="10" y="17"/>
                      <a:pt x="12" y="19"/>
                    </a:cubicBezTo>
                    <a:cubicBezTo>
                      <a:pt x="13" y="20"/>
                      <a:pt x="14" y="21"/>
                      <a:pt x="15" y="23"/>
                    </a:cubicBezTo>
                    <a:cubicBezTo>
                      <a:pt x="16" y="24"/>
                      <a:pt x="17" y="25"/>
                      <a:pt x="17" y="24"/>
                    </a:cubicBezTo>
                    <a:cubicBezTo>
                      <a:pt x="17" y="24"/>
                      <a:pt x="17" y="23"/>
                      <a:pt x="17" y="23"/>
                    </a:cubicBezTo>
                    <a:cubicBezTo>
                      <a:pt x="17" y="23"/>
                      <a:pt x="17" y="23"/>
                      <a:pt x="17" y="23"/>
                    </a:cubicBezTo>
                    <a:cubicBezTo>
                      <a:pt x="18" y="22"/>
                      <a:pt x="17" y="20"/>
                      <a:pt x="16" y="19"/>
                    </a:cubicBezTo>
                    <a:cubicBezTo>
                      <a:pt x="15" y="17"/>
                      <a:pt x="16" y="17"/>
                      <a:pt x="17" y="18"/>
                    </a:cubicBezTo>
                    <a:cubicBezTo>
                      <a:pt x="19" y="19"/>
                      <a:pt x="20" y="21"/>
                      <a:pt x="19" y="18"/>
                    </a:cubicBezTo>
                    <a:cubicBezTo>
                      <a:pt x="18" y="16"/>
                      <a:pt x="18" y="15"/>
                      <a:pt x="19" y="16"/>
                    </a:cubicBezTo>
                    <a:cubicBezTo>
                      <a:pt x="20" y="16"/>
                      <a:pt x="22" y="15"/>
                      <a:pt x="20" y="13"/>
                    </a:cubicBezTo>
                    <a:cubicBezTo>
                      <a:pt x="20" y="11"/>
                      <a:pt x="18" y="11"/>
                      <a:pt x="18" y="9"/>
                    </a:cubicBezTo>
                    <a:cubicBezTo>
                      <a:pt x="17" y="8"/>
                      <a:pt x="17" y="7"/>
                      <a:pt x="17" y="6"/>
                    </a:cubicBezTo>
                    <a:cubicBezTo>
                      <a:pt x="16" y="5"/>
                      <a:pt x="14" y="3"/>
                      <a:pt x="14" y="4"/>
                    </a:cubicBezTo>
                    <a:cubicBezTo>
                      <a:pt x="13" y="4"/>
                      <a:pt x="14" y="5"/>
                      <a:pt x="14" y="6"/>
                    </a:cubicBezTo>
                    <a:cubicBezTo>
                      <a:pt x="14" y="7"/>
                      <a:pt x="12" y="6"/>
                      <a:pt x="1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2" name="Freeform 123"/>
              <p:cNvSpPr>
                <a:spLocks/>
              </p:cNvSpPr>
              <p:nvPr/>
            </p:nvSpPr>
            <p:spPr bwMode="auto">
              <a:xfrm>
                <a:off x="3586163" y="3914775"/>
                <a:ext cx="1588" cy="3175"/>
              </a:xfrm>
              <a:custGeom>
                <a:avLst/>
                <a:gdLst>
                  <a:gd name="T0" fmla="*/ 2 w 2"/>
                  <a:gd name="T1" fmla="*/ 4 h 4"/>
                  <a:gd name="T2" fmla="*/ 2 w 2"/>
                  <a:gd name="T3" fmla="*/ 2 h 4"/>
                  <a:gd name="T4" fmla="*/ 0 w 2"/>
                  <a:gd name="T5" fmla="*/ 1 h 4"/>
                  <a:gd name="T6" fmla="*/ 1 w 2"/>
                  <a:gd name="T7" fmla="*/ 3 h 4"/>
                  <a:gd name="T8" fmla="*/ 2 w 2"/>
                  <a:gd name="T9" fmla="*/ 4 h 4"/>
                </a:gdLst>
                <a:ahLst/>
                <a:cxnLst>
                  <a:cxn ang="0">
                    <a:pos x="T0" y="T1"/>
                  </a:cxn>
                  <a:cxn ang="0">
                    <a:pos x="T2" y="T3"/>
                  </a:cxn>
                  <a:cxn ang="0">
                    <a:pos x="T4" y="T5"/>
                  </a:cxn>
                  <a:cxn ang="0">
                    <a:pos x="T6" y="T7"/>
                  </a:cxn>
                  <a:cxn ang="0">
                    <a:pos x="T8" y="T9"/>
                  </a:cxn>
                </a:cxnLst>
                <a:rect l="0" t="0" r="r" b="b"/>
                <a:pathLst>
                  <a:path w="2" h="4">
                    <a:moveTo>
                      <a:pt x="2" y="4"/>
                    </a:moveTo>
                    <a:cubicBezTo>
                      <a:pt x="2" y="4"/>
                      <a:pt x="2" y="2"/>
                      <a:pt x="2" y="2"/>
                    </a:cubicBezTo>
                    <a:cubicBezTo>
                      <a:pt x="1" y="1"/>
                      <a:pt x="1" y="1"/>
                      <a:pt x="0" y="1"/>
                    </a:cubicBezTo>
                    <a:cubicBezTo>
                      <a:pt x="0" y="0"/>
                      <a:pt x="0" y="2"/>
                      <a:pt x="1" y="3"/>
                    </a:cubicBezTo>
                    <a:cubicBezTo>
                      <a:pt x="1" y="3"/>
                      <a:pt x="2" y="4"/>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3" name="Freeform 124"/>
              <p:cNvSpPr>
                <a:spLocks/>
              </p:cNvSpPr>
              <p:nvPr/>
            </p:nvSpPr>
            <p:spPr bwMode="auto">
              <a:xfrm>
                <a:off x="3621088" y="3998913"/>
                <a:ext cx="20638" cy="76200"/>
              </a:xfrm>
              <a:custGeom>
                <a:avLst/>
                <a:gdLst>
                  <a:gd name="T0" fmla="*/ 2 w 27"/>
                  <a:gd name="T1" fmla="*/ 30 h 100"/>
                  <a:gd name="T2" fmla="*/ 3 w 27"/>
                  <a:gd name="T3" fmla="*/ 36 h 100"/>
                  <a:gd name="T4" fmla="*/ 2 w 27"/>
                  <a:gd name="T5" fmla="*/ 44 h 100"/>
                  <a:gd name="T6" fmla="*/ 3 w 27"/>
                  <a:gd name="T7" fmla="*/ 53 h 100"/>
                  <a:gd name="T8" fmla="*/ 2 w 27"/>
                  <a:gd name="T9" fmla="*/ 60 h 100"/>
                  <a:gd name="T10" fmla="*/ 1 w 27"/>
                  <a:gd name="T11" fmla="*/ 63 h 100"/>
                  <a:gd name="T12" fmla="*/ 2 w 27"/>
                  <a:gd name="T13" fmla="*/ 68 h 100"/>
                  <a:gd name="T14" fmla="*/ 1 w 27"/>
                  <a:gd name="T15" fmla="*/ 79 h 100"/>
                  <a:gd name="T16" fmla="*/ 9 w 27"/>
                  <a:gd name="T17" fmla="*/ 90 h 100"/>
                  <a:gd name="T18" fmla="*/ 11 w 27"/>
                  <a:gd name="T19" fmla="*/ 96 h 100"/>
                  <a:gd name="T20" fmla="*/ 14 w 27"/>
                  <a:gd name="T21" fmla="*/ 98 h 100"/>
                  <a:gd name="T22" fmla="*/ 18 w 27"/>
                  <a:gd name="T23" fmla="*/ 99 h 100"/>
                  <a:gd name="T24" fmla="*/ 14 w 27"/>
                  <a:gd name="T25" fmla="*/ 91 h 100"/>
                  <a:gd name="T26" fmla="*/ 9 w 27"/>
                  <a:gd name="T27" fmla="*/ 76 h 100"/>
                  <a:gd name="T28" fmla="*/ 9 w 27"/>
                  <a:gd name="T29" fmla="*/ 59 h 100"/>
                  <a:gd name="T30" fmla="*/ 10 w 27"/>
                  <a:gd name="T31" fmla="*/ 56 h 100"/>
                  <a:gd name="T32" fmla="*/ 9 w 27"/>
                  <a:gd name="T33" fmla="*/ 51 h 100"/>
                  <a:gd name="T34" fmla="*/ 9 w 27"/>
                  <a:gd name="T35" fmla="*/ 49 h 100"/>
                  <a:gd name="T36" fmla="*/ 8 w 27"/>
                  <a:gd name="T37" fmla="*/ 43 h 100"/>
                  <a:gd name="T38" fmla="*/ 11 w 27"/>
                  <a:gd name="T39" fmla="*/ 42 h 100"/>
                  <a:gd name="T40" fmla="*/ 11 w 27"/>
                  <a:gd name="T41" fmla="*/ 38 h 100"/>
                  <a:gd name="T42" fmla="*/ 13 w 27"/>
                  <a:gd name="T43" fmla="*/ 36 h 100"/>
                  <a:gd name="T44" fmla="*/ 15 w 27"/>
                  <a:gd name="T45" fmla="*/ 31 h 100"/>
                  <a:gd name="T46" fmla="*/ 17 w 27"/>
                  <a:gd name="T47" fmla="*/ 25 h 100"/>
                  <a:gd name="T48" fmla="*/ 21 w 27"/>
                  <a:gd name="T49" fmla="*/ 19 h 100"/>
                  <a:gd name="T50" fmla="*/ 25 w 27"/>
                  <a:gd name="T51" fmla="*/ 18 h 100"/>
                  <a:gd name="T52" fmla="*/ 26 w 27"/>
                  <a:gd name="T53" fmla="*/ 6 h 100"/>
                  <a:gd name="T54" fmla="*/ 20 w 27"/>
                  <a:gd name="T55" fmla="*/ 2 h 100"/>
                  <a:gd name="T56" fmla="*/ 18 w 27"/>
                  <a:gd name="T57" fmla="*/ 9 h 100"/>
                  <a:gd name="T58" fmla="*/ 14 w 27"/>
                  <a:gd name="T59" fmla="*/ 10 h 100"/>
                  <a:gd name="T60" fmla="*/ 11 w 27"/>
                  <a:gd name="T61" fmla="*/ 9 h 100"/>
                  <a:gd name="T62" fmla="*/ 8 w 27"/>
                  <a:gd name="T63" fmla="*/ 11 h 100"/>
                  <a:gd name="T64" fmla="*/ 6 w 27"/>
                  <a:gd name="T65" fmla="*/ 14 h 100"/>
                  <a:gd name="T66" fmla="*/ 5 w 27"/>
                  <a:gd name="T67" fmla="*/ 23 h 100"/>
                  <a:gd name="T68" fmla="*/ 2 w 27"/>
                  <a:gd name="T69"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00">
                    <a:moveTo>
                      <a:pt x="1" y="24"/>
                    </a:moveTo>
                    <a:cubicBezTo>
                      <a:pt x="0" y="24"/>
                      <a:pt x="1" y="29"/>
                      <a:pt x="2" y="30"/>
                    </a:cubicBezTo>
                    <a:cubicBezTo>
                      <a:pt x="2" y="31"/>
                      <a:pt x="3" y="31"/>
                      <a:pt x="3" y="32"/>
                    </a:cubicBezTo>
                    <a:cubicBezTo>
                      <a:pt x="3" y="33"/>
                      <a:pt x="3" y="35"/>
                      <a:pt x="3" y="36"/>
                    </a:cubicBezTo>
                    <a:cubicBezTo>
                      <a:pt x="3" y="37"/>
                      <a:pt x="3" y="38"/>
                      <a:pt x="2" y="39"/>
                    </a:cubicBezTo>
                    <a:cubicBezTo>
                      <a:pt x="2" y="41"/>
                      <a:pt x="2" y="42"/>
                      <a:pt x="2" y="44"/>
                    </a:cubicBezTo>
                    <a:cubicBezTo>
                      <a:pt x="2" y="45"/>
                      <a:pt x="0" y="48"/>
                      <a:pt x="2" y="49"/>
                    </a:cubicBezTo>
                    <a:cubicBezTo>
                      <a:pt x="3" y="50"/>
                      <a:pt x="3" y="52"/>
                      <a:pt x="3" y="53"/>
                    </a:cubicBezTo>
                    <a:cubicBezTo>
                      <a:pt x="3" y="54"/>
                      <a:pt x="3" y="55"/>
                      <a:pt x="2" y="55"/>
                    </a:cubicBezTo>
                    <a:cubicBezTo>
                      <a:pt x="1" y="55"/>
                      <a:pt x="1" y="57"/>
                      <a:pt x="2" y="60"/>
                    </a:cubicBezTo>
                    <a:cubicBezTo>
                      <a:pt x="2" y="61"/>
                      <a:pt x="1" y="61"/>
                      <a:pt x="1" y="60"/>
                    </a:cubicBezTo>
                    <a:cubicBezTo>
                      <a:pt x="0" y="60"/>
                      <a:pt x="1" y="62"/>
                      <a:pt x="1" y="63"/>
                    </a:cubicBezTo>
                    <a:cubicBezTo>
                      <a:pt x="1" y="65"/>
                      <a:pt x="1" y="64"/>
                      <a:pt x="2" y="65"/>
                    </a:cubicBezTo>
                    <a:cubicBezTo>
                      <a:pt x="2" y="66"/>
                      <a:pt x="2" y="67"/>
                      <a:pt x="2" y="68"/>
                    </a:cubicBezTo>
                    <a:cubicBezTo>
                      <a:pt x="2" y="70"/>
                      <a:pt x="3" y="73"/>
                      <a:pt x="1" y="73"/>
                    </a:cubicBezTo>
                    <a:cubicBezTo>
                      <a:pt x="0" y="72"/>
                      <a:pt x="1" y="77"/>
                      <a:pt x="1" y="79"/>
                    </a:cubicBezTo>
                    <a:cubicBezTo>
                      <a:pt x="3" y="83"/>
                      <a:pt x="4" y="82"/>
                      <a:pt x="6" y="83"/>
                    </a:cubicBezTo>
                    <a:cubicBezTo>
                      <a:pt x="6" y="83"/>
                      <a:pt x="9" y="89"/>
                      <a:pt x="9" y="90"/>
                    </a:cubicBezTo>
                    <a:cubicBezTo>
                      <a:pt x="9" y="91"/>
                      <a:pt x="8" y="92"/>
                      <a:pt x="9" y="94"/>
                    </a:cubicBezTo>
                    <a:cubicBezTo>
                      <a:pt x="9" y="95"/>
                      <a:pt x="10" y="95"/>
                      <a:pt x="11" y="96"/>
                    </a:cubicBezTo>
                    <a:cubicBezTo>
                      <a:pt x="12" y="96"/>
                      <a:pt x="12" y="96"/>
                      <a:pt x="13" y="98"/>
                    </a:cubicBezTo>
                    <a:cubicBezTo>
                      <a:pt x="13" y="99"/>
                      <a:pt x="14" y="98"/>
                      <a:pt x="14" y="98"/>
                    </a:cubicBezTo>
                    <a:cubicBezTo>
                      <a:pt x="14" y="97"/>
                      <a:pt x="15" y="96"/>
                      <a:pt x="16" y="97"/>
                    </a:cubicBezTo>
                    <a:cubicBezTo>
                      <a:pt x="16" y="98"/>
                      <a:pt x="17" y="100"/>
                      <a:pt x="18" y="99"/>
                    </a:cubicBezTo>
                    <a:cubicBezTo>
                      <a:pt x="18" y="98"/>
                      <a:pt x="16" y="95"/>
                      <a:pt x="16" y="94"/>
                    </a:cubicBezTo>
                    <a:cubicBezTo>
                      <a:pt x="15" y="93"/>
                      <a:pt x="15" y="93"/>
                      <a:pt x="14" y="91"/>
                    </a:cubicBezTo>
                    <a:cubicBezTo>
                      <a:pt x="14" y="89"/>
                      <a:pt x="13" y="88"/>
                      <a:pt x="12" y="87"/>
                    </a:cubicBezTo>
                    <a:cubicBezTo>
                      <a:pt x="11" y="84"/>
                      <a:pt x="10" y="79"/>
                      <a:pt x="9" y="76"/>
                    </a:cubicBezTo>
                    <a:cubicBezTo>
                      <a:pt x="9" y="72"/>
                      <a:pt x="8" y="69"/>
                      <a:pt x="9" y="66"/>
                    </a:cubicBezTo>
                    <a:cubicBezTo>
                      <a:pt x="9" y="64"/>
                      <a:pt x="8" y="59"/>
                      <a:pt x="9" y="59"/>
                    </a:cubicBezTo>
                    <a:cubicBezTo>
                      <a:pt x="10" y="59"/>
                      <a:pt x="9" y="58"/>
                      <a:pt x="9" y="56"/>
                    </a:cubicBezTo>
                    <a:cubicBezTo>
                      <a:pt x="9" y="56"/>
                      <a:pt x="10" y="56"/>
                      <a:pt x="10" y="56"/>
                    </a:cubicBezTo>
                    <a:cubicBezTo>
                      <a:pt x="10" y="55"/>
                      <a:pt x="9" y="54"/>
                      <a:pt x="9" y="53"/>
                    </a:cubicBezTo>
                    <a:cubicBezTo>
                      <a:pt x="8" y="53"/>
                      <a:pt x="8" y="51"/>
                      <a:pt x="9" y="51"/>
                    </a:cubicBezTo>
                    <a:cubicBezTo>
                      <a:pt x="9" y="52"/>
                      <a:pt x="10" y="53"/>
                      <a:pt x="10" y="52"/>
                    </a:cubicBezTo>
                    <a:cubicBezTo>
                      <a:pt x="10" y="52"/>
                      <a:pt x="9" y="49"/>
                      <a:pt x="9" y="49"/>
                    </a:cubicBezTo>
                    <a:cubicBezTo>
                      <a:pt x="11" y="49"/>
                      <a:pt x="9" y="46"/>
                      <a:pt x="8" y="45"/>
                    </a:cubicBezTo>
                    <a:cubicBezTo>
                      <a:pt x="7" y="44"/>
                      <a:pt x="7" y="42"/>
                      <a:pt x="8" y="43"/>
                    </a:cubicBezTo>
                    <a:cubicBezTo>
                      <a:pt x="9" y="43"/>
                      <a:pt x="10" y="45"/>
                      <a:pt x="11" y="46"/>
                    </a:cubicBezTo>
                    <a:cubicBezTo>
                      <a:pt x="11" y="46"/>
                      <a:pt x="11" y="43"/>
                      <a:pt x="11" y="42"/>
                    </a:cubicBezTo>
                    <a:cubicBezTo>
                      <a:pt x="10" y="41"/>
                      <a:pt x="11" y="41"/>
                      <a:pt x="11" y="41"/>
                    </a:cubicBezTo>
                    <a:cubicBezTo>
                      <a:pt x="12" y="40"/>
                      <a:pt x="11" y="39"/>
                      <a:pt x="11" y="38"/>
                    </a:cubicBezTo>
                    <a:cubicBezTo>
                      <a:pt x="11" y="37"/>
                      <a:pt x="11" y="37"/>
                      <a:pt x="12" y="37"/>
                    </a:cubicBezTo>
                    <a:cubicBezTo>
                      <a:pt x="13" y="38"/>
                      <a:pt x="13" y="38"/>
                      <a:pt x="13" y="36"/>
                    </a:cubicBezTo>
                    <a:cubicBezTo>
                      <a:pt x="13" y="35"/>
                      <a:pt x="13" y="33"/>
                      <a:pt x="13" y="33"/>
                    </a:cubicBezTo>
                    <a:cubicBezTo>
                      <a:pt x="14" y="32"/>
                      <a:pt x="15" y="32"/>
                      <a:pt x="15" y="31"/>
                    </a:cubicBezTo>
                    <a:cubicBezTo>
                      <a:pt x="15" y="30"/>
                      <a:pt x="15" y="28"/>
                      <a:pt x="15" y="27"/>
                    </a:cubicBezTo>
                    <a:cubicBezTo>
                      <a:pt x="16" y="27"/>
                      <a:pt x="17" y="26"/>
                      <a:pt x="17" y="25"/>
                    </a:cubicBezTo>
                    <a:cubicBezTo>
                      <a:pt x="18" y="24"/>
                      <a:pt x="18" y="21"/>
                      <a:pt x="19" y="22"/>
                    </a:cubicBezTo>
                    <a:cubicBezTo>
                      <a:pt x="20" y="22"/>
                      <a:pt x="21" y="20"/>
                      <a:pt x="21" y="19"/>
                    </a:cubicBezTo>
                    <a:cubicBezTo>
                      <a:pt x="22" y="18"/>
                      <a:pt x="22" y="18"/>
                      <a:pt x="23" y="18"/>
                    </a:cubicBezTo>
                    <a:cubicBezTo>
                      <a:pt x="23" y="18"/>
                      <a:pt x="24" y="19"/>
                      <a:pt x="25" y="18"/>
                    </a:cubicBezTo>
                    <a:cubicBezTo>
                      <a:pt x="26" y="17"/>
                      <a:pt x="26" y="16"/>
                      <a:pt x="27" y="13"/>
                    </a:cubicBezTo>
                    <a:cubicBezTo>
                      <a:pt x="27" y="11"/>
                      <a:pt x="27" y="9"/>
                      <a:pt x="26" y="6"/>
                    </a:cubicBezTo>
                    <a:cubicBezTo>
                      <a:pt x="26" y="4"/>
                      <a:pt x="25" y="2"/>
                      <a:pt x="23" y="1"/>
                    </a:cubicBezTo>
                    <a:cubicBezTo>
                      <a:pt x="22" y="0"/>
                      <a:pt x="21" y="2"/>
                      <a:pt x="20" y="2"/>
                    </a:cubicBezTo>
                    <a:cubicBezTo>
                      <a:pt x="19" y="3"/>
                      <a:pt x="19" y="4"/>
                      <a:pt x="19" y="6"/>
                    </a:cubicBezTo>
                    <a:cubicBezTo>
                      <a:pt x="20" y="8"/>
                      <a:pt x="19" y="8"/>
                      <a:pt x="18" y="9"/>
                    </a:cubicBezTo>
                    <a:cubicBezTo>
                      <a:pt x="18" y="9"/>
                      <a:pt x="17" y="10"/>
                      <a:pt x="17" y="10"/>
                    </a:cubicBezTo>
                    <a:cubicBezTo>
                      <a:pt x="16" y="11"/>
                      <a:pt x="15" y="10"/>
                      <a:pt x="14" y="10"/>
                    </a:cubicBezTo>
                    <a:cubicBezTo>
                      <a:pt x="14" y="10"/>
                      <a:pt x="14" y="11"/>
                      <a:pt x="13" y="11"/>
                    </a:cubicBezTo>
                    <a:cubicBezTo>
                      <a:pt x="12" y="10"/>
                      <a:pt x="12" y="9"/>
                      <a:pt x="11" y="9"/>
                    </a:cubicBezTo>
                    <a:cubicBezTo>
                      <a:pt x="9" y="8"/>
                      <a:pt x="10" y="10"/>
                      <a:pt x="10" y="12"/>
                    </a:cubicBezTo>
                    <a:cubicBezTo>
                      <a:pt x="10" y="15"/>
                      <a:pt x="9" y="11"/>
                      <a:pt x="8" y="11"/>
                    </a:cubicBezTo>
                    <a:cubicBezTo>
                      <a:pt x="8" y="11"/>
                      <a:pt x="8" y="13"/>
                      <a:pt x="8" y="13"/>
                    </a:cubicBezTo>
                    <a:cubicBezTo>
                      <a:pt x="8" y="14"/>
                      <a:pt x="7" y="13"/>
                      <a:pt x="6" y="14"/>
                    </a:cubicBezTo>
                    <a:cubicBezTo>
                      <a:pt x="5" y="15"/>
                      <a:pt x="7" y="19"/>
                      <a:pt x="5" y="18"/>
                    </a:cubicBezTo>
                    <a:cubicBezTo>
                      <a:pt x="3" y="17"/>
                      <a:pt x="6" y="22"/>
                      <a:pt x="5" y="23"/>
                    </a:cubicBezTo>
                    <a:cubicBezTo>
                      <a:pt x="4" y="24"/>
                      <a:pt x="4" y="23"/>
                      <a:pt x="3" y="22"/>
                    </a:cubicBezTo>
                    <a:cubicBezTo>
                      <a:pt x="2" y="22"/>
                      <a:pt x="2" y="24"/>
                      <a:pt x="2" y="24"/>
                    </a:cubicBezTo>
                    <a:cubicBezTo>
                      <a:pt x="2" y="25"/>
                      <a:pt x="1" y="24"/>
                      <a:pt x="1" y="2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4" name="Freeform 125"/>
              <p:cNvSpPr>
                <a:spLocks/>
              </p:cNvSpPr>
              <p:nvPr/>
            </p:nvSpPr>
            <p:spPr bwMode="auto">
              <a:xfrm>
                <a:off x="3667126" y="4056063"/>
                <a:ext cx="3175" cy="6350"/>
              </a:xfrm>
              <a:custGeom>
                <a:avLst/>
                <a:gdLst>
                  <a:gd name="T0" fmla="*/ 3 w 5"/>
                  <a:gd name="T1" fmla="*/ 7 h 8"/>
                  <a:gd name="T2" fmla="*/ 2 w 5"/>
                  <a:gd name="T3" fmla="*/ 1 h 8"/>
                  <a:gd name="T4" fmla="*/ 3 w 5"/>
                  <a:gd name="T5" fmla="*/ 7 h 8"/>
                </a:gdLst>
                <a:ahLst/>
                <a:cxnLst>
                  <a:cxn ang="0">
                    <a:pos x="T0" y="T1"/>
                  </a:cxn>
                  <a:cxn ang="0">
                    <a:pos x="T2" y="T3"/>
                  </a:cxn>
                  <a:cxn ang="0">
                    <a:pos x="T4" y="T5"/>
                  </a:cxn>
                </a:cxnLst>
                <a:rect l="0" t="0" r="r" b="b"/>
                <a:pathLst>
                  <a:path w="5" h="8">
                    <a:moveTo>
                      <a:pt x="3" y="7"/>
                    </a:moveTo>
                    <a:cubicBezTo>
                      <a:pt x="4" y="8"/>
                      <a:pt x="5" y="0"/>
                      <a:pt x="2" y="1"/>
                    </a:cubicBezTo>
                    <a:cubicBezTo>
                      <a:pt x="0" y="1"/>
                      <a:pt x="1" y="6"/>
                      <a:pt x="3"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5" name="Freeform 126"/>
              <p:cNvSpPr>
                <a:spLocks/>
              </p:cNvSpPr>
              <p:nvPr/>
            </p:nvSpPr>
            <p:spPr bwMode="auto">
              <a:xfrm>
                <a:off x="3644901" y="3941763"/>
                <a:ext cx="3175" cy="6350"/>
              </a:xfrm>
              <a:custGeom>
                <a:avLst/>
                <a:gdLst>
                  <a:gd name="T0" fmla="*/ 3 w 4"/>
                  <a:gd name="T1" fmla="*/ 5 h 8"/>
                  <a:gd name="T2" fmla="*/ 1 w 4"/>
                  <a:gd name="T3" fmla="*/ 2 h 8"/>
                  <a:gd name="T4" fmla="*/ 0 w 4"/>
                  <a:gd name="T5" fmla="*/ 5 h 8"/>
                  <a:gd name="T6" fmla="*/ 3 w 4"/>
                  <a:gd name="T7" fmla="*/ 7 h 8"/>
                  <a:gd name="T8" fmla="*/ 3 w 4"/>
                  <a:gd name="T9" fmla="*/ 5 h 8"/>
                </a:gdLst>
                <a:ahLst/>
                <a:cxnLst>
                  <a:cxn ang="0">
                    <a:pos x="T0" y="T1"/>
                  </a:cxn>
                  <a:cxn ang="0">
                    <a:pos x="T2" y="T3"/>
                  </a:cxn>
                  <a:cxn ang="0">
                    <a:pos x="T4" y="T5"/>
                  </a:cxn>
                  <a:cxn ang="0">
                    <a:pos x="T6" y="T7"/>
                  </a:cxn>
                  <a:cxn ang="0">
                    <a:pos x="T8" y="T9"/>
                  </a:cxn>
                </a:cxnLst>
                <a:rect l="0" t="0" r="r" b="b"/>
                <a:pathLst>
                  <a:path w="4" h="8">
                    <a:moveTo>
                      <a:pt x="3" y="5"/>
                    </a:moveTo>
                    <a:cubicBezTo>
                      <a:pt x="3" y="4"/>
                      <a:pt x="1" y="0"/>
                      <a:pt x="1" y="2"/>
                    </a:cubicBezTo>
                    <a:cubicBezTo>
                      <a:pt x="0" y="2"/>
                      <a:pt x="0" y="3"/>
                      <a:pt x="0" y="5"/>
                    </a:cubicBezTo>
                    <a:cubicBezTo>
                      <a:pt x="1" y="6"/>
                      <a:pt x="2" y="6"/>
                      <a:pt x="3" y="7"/>
                    </a:cubicBezTo>
                    <a:cubicBezTo>
                      <a:pt x="4" y="8"/>
                      <a:pt x="4" y="6"/>
                      <a:pt x="3"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6" name="Freeform 127"/>
              <p:cNvSpPr>
                <a:spLocks/>
              </p:cNvSpPr>
              <p:nvPr/>
            </p:nvSpPr>
            <p:spPr bwMode="auto">
              <a:xfrm>
                <a:off x="3644901" y="3963988"/>
                <a:ext cx="3175" cy="4763"/>
              </a:xfrm>
              <a:custGeom>
                <a:avLst/>
                <a:gdLst>
                  <a:gd name="T0" fmla="*/ 1 w 4"/>
                  <a:gd name="T1" fmla="*/ 2 h 6"/>
                  <a:gd name="T2" fmla="*/ 3 w 4"/>
                  <a:gd name="T3" fmla="*/ 5 h 6"/>
                  <a:gd name="T4" fmla="*/ 3 w 4"/>
                  <a:gd name="T5" fmla="*/ 4 h 6"/>
                  <a:gd name="T6" fmla="*/ 1 w 4"/>
                  <a:gd name="T7" fmla="*/ 1 h 6"/>
                  <a:gd name="T8" fmla="*/ 1 w 4"/>
                  <a:gd name="T9" fmla="*/ 2 h 6"/>
                </a:gdLst>
                <a:ahLst/>
                <a:cxnLst>
                  <a:cxn ang="0">
                    <a:pos x="T0" y="T1"/>
                  </a:cxn>
                  <a:cxn ang="0">
                    <a:pos x="T2" y="T3"/>
                  </a:cxn>
                  <a:cxn ang="0">
                    <a:pos x="T4" y="T5"/>
                  </a:cxn>
                  <a:cxn ang="0">
                    <a:pos x="T6" y="T7"/>
                  </a:cxn>
                  <a:cxn ang="0">
                    <a:pos x="T8" y="T9"/>
                  </a:cxn>
                </a:cxnLst>
                <a:rect l="0" t="0" r="r" b="b"/>
                <a:pathLst>
                  <a:path w="4" h="6">
                    <a:moveTo>
                      <a:pt x="1" y="2"/>
                    </a:moveTo>
                    <a:cubicBezTo>
                      <a:pt x="2" y="3"/>
                      <a:pt x="2" y="4"/>
                      <a:pt x="3" y="5"/>
                    </a:cubicBezTo>
                    <a:cubicBezTo>
                      <a:pt x="4" y="6"/>
                      <a:pt x="4" y="4"/>
                      <a:pt x="3" y="4"/>
                    </a:cubicBezTo>
                    <a:cubicBezTo>
                      <a:pt x="3" y="2"/>
                      <a:pt x="2" y="2"/>
                      <a:pt x="1" y="1"/>
                    </a:cubicBezTo>
                    <a:cubicBezTo>
                      <a:pt x="0" y="0"/>
                      <a:pt x="0" y="1"/>
                      <a:pt x="1"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7" name="Freeform 128"/>
              <p:cNvSpPr>
                <a:spLocks/>
              </p:cNvSpPr>
              <p:nvPr/>
            </p:nvSpPr>
            <p:spPr bwMode="auto">
              <a:xfrm>
                <a:off x="3652838" y="4048125"/>
                <a:ext cx="1588" cy="4763"/>
              </a:xfrm>
              <a:custGeom>
                <a:avLst/>
                <a:gdLst>
                  <a:gd name="T0" fmla="*/ 4 w 4"/>
                  <a:gd name="T1" fmla="*/ 7 h 7"/>
                  <a:gd name="T2" fmla="*/ 2 w 4"/>
                  <a:gd name="T3" fmla="*/ 2 h 7"/>
                  <a:gd name="T4" fmla="*/ 1 w 4"/>
                  <a:gd name="T5" fmla="*/ 2 h 7"/>
                  <a:gd name="T6" fmla="*/ 2 w 4"/>
                  <a:gd name="T7" fmla="*/ 6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cubicBezTo>
                      <a:pt x="4" y="6"/>
                      <a:pt x="3" y="3"/>
                      <a:pt x="2" y="2"/>
                    </a:cubicBezTo>
                    <a:cubicBezTo>
                      <a:pt x="2" y="0"/>
                      <a:pt x="1" y="0"/>
                      <a:pt x="1" y="2"/>
                    </a:cubicBezTo>
                    <a:cubicBezTo>
                      <a:pt x="1" y="3"/>
                      <a:pt x="0" y="5"/>
                      <a:pt x="2" y="6"/>
                    </a:cubicBezTo>
                    <a:cubicBezTo>
                      <a:pt x="2" y="7"/>
                      <a:pt x="4" y="7"/>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8" name="Freeform 129"/>
              <p:cNvSpPr>
                <a:spLocks/>
              </p:cNvSpPr>
              <p:nvPr/>
            </p:nvSpPr>
            <p:spPr bwMode="auto">
              <a:xfrm>
                <a:off x="3668713" y="4029075"/>
                <a:ext cx="1588" cy="4763"/>
              </a:xfrm>
              <a:custGeom>
                <a:avLst/>
                <a:gdLst>
                  <a:gd name="T0" fmla="*/ 1 w 3"/>
                  <a:gd name="T1" fmla="*/ 0 h 7"/>
                  <a:gd name="T2" fmla="*/ 0 w 3"/>
                  <a:gd name="T3" fmla="*/ 1 h 7"/>
                  <a:gd name="T4" fmla="*/ 1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0"/>
                      <a:pt x="0" y="1"/>
                    </a:cubicBezTo>
                    <a:cubicBezTo>
                      <a:pt x="0" y="2"/>
                      <a:pt x="0" y="4"/>
                      <a:pt x="1" y="5"/>
                    </a:cubicBezTo>
                    <a:cubicBezTo>
                      <a:pt x="3" y="7"/>
                      <a:pt x="2" y="2"/>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19" name="Freeform 130"/>
              <p:cNvSpPr>
                <a:spLocks/>
              </p:cNvSpPr>
              <p:nvPr/>
            </p:nvSpPr>
            <p:spPr bwMode="auto">
              <a:xfrm>
                <a:off x="3678238" y="4008438"/>
                <a:ext cx="0" cy="3175"/>
              </a:xfrm>
              <a:custGeom>
                <a:avLst/>
                <a:gdLst>
                  <a:gd name="T0" fmla="*/ 1 w 1"/>
                  <a:gd name="T1" fmla="*/ 3 h 3"/>
                  <a:gd name="T2" fmla="*/ 0 w 1"/>
                  <a:gd name="T3" fmla="*/ 0 h 3"/>
                  <a:gd name="T4" fmla="*/ 1 w 1"/>
                  <a:gd name="T5" fmla="*/ 3 h 3"/>
                </a:gdLst>
                <a:ahLst/>
                <a:cxnLst>
                  <a:cxn ang="0">
                    <a:pos x="T0" y="T1"/>
                  </a:cxn>
                  <a:cxn ang="0">
                    <a:pos x="T2" y="T3"/>
                  </a:cxn>
                  <a:cxn ang="0">
                    <a:pos x="T4" y="T5"/>
                  </a:cxn>
                </a:cxnLst>
                <a:rect l="0" t="0" r="r" b="b"/>
                <a:pathLst>
                  <a:path w="1" h="3">
                    <a:moveTo>
                      <a:pt x="1" y="3"/>
                    </a:moveTo>
                    <a:cubicBezTo>
                      <a:pt x="0" y="2"/>
                      <a:pt x="0" y="1"/>
                      <a:pt x="0" y="0"/>
                    </a:cubicBezTo>
                    <a:cubicBezTo>
                      <a:pt x="0" y="1"/>
                      <a:pt x="0" y="2"/>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0" name="Freeform 131"/>
              <p:cNvSpPr>
                <a:spLocks/>
              </p:cNvSpPr>
              <p:nvPr/>
            </p:nvSpPr>
            <p:spPr bwMode="auto">
              <a:xfrm>
                <a:off x="3605213" y="3913188"/>
                <a:ext cx="1588" cy="3175"/>
              </a:xfrm>
              <a:custGeom>
                <a:avLst/>
                <a:gdLst>
                  <a:gd name="T0" fmla="*/ 2 w 3"/>
                  <a:gd name="T1" fmla="*/ 3 h 4"/>
                  <a:gd name="T2" fmla="*/ 3 w 3"/>
                  <a:gd name="T3" fmla="*/ 2 h 4"/>
                  <a:gd name="T4" fmla="*/ 1 w 3"/>
                  <a:gd name="T5" fmla="*/ 1 h 4"/>
                  <a:gd name="T6" fmla="*/ 2 w 3"/>
                  <a:gd name="T7" fmla="*/ 3 h 4"/>
                </a:gdLst>
                <a:ahLst/>
                <a:cxnLst>
                  <a:cxn ang="0">
                    <a:pos x="T0" y="T1"/>
                  </a:cxn>
                  <a:cxn ang="0">
                    <a:pos x="T2" y="T3"/>
                  </a:cxn>
                  <a:cxn ang="0">
                    <a:pos x="T4" y="T5"/>
                  </a:cxn>
                  <a:cxn ang="0">
                    <a:pos x="T6" y="T7"/>
                  </a:cxn>
                </a:cxnLst>
                <a:rect l="0" t="0" r="r" b="b"/>
                <a:pathLst>
                  <a:path w="3" h="4">
                    <a:moveTo>
                      <a:pt x="2" y="3"/>
                    </a:moveTo>
                    <a:cubicBezTo>
                      <a:pt x="3" y="4"/>
                      <a:pt x="3" y="3"/>
                      <a:pt x="3" y="2"/>
                    </a:cubicBezTo>
                    <a:cubicBezTo>
                      <a:pt x="2" y="2"/>
                      <a:pt x="1" y="1"/>
                      <a:pt x="1" y="1"/>
                    </a:cubicBezTo>
                    <a:cubicBezTo>
                      <a:pt x="0" y="0"/>
                      <a:pt x="2" y="3"/>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1" name="Freeform 132"/>
              <p:cNvSpPr>
                <a:spLocks/>
              </p:cNvSpPr>
              <p:nvPr/>
            </p:nvSpPr>
            <p:spPr bwMode="auto">
              <a:xfrm>
                <a:off x="3603626" y="3919538"/>
                <a:ext cx="1588" cy="3175"/>
              </a:xfrm>
              <a:custGeom>
                <a:avLst/>
                <a:gdLst>
                  <a:gd name="T0" fmla="*/ 1 w 3"/>
                  <a:gd name="T1" fmla="*/ 0 h 3"/>
                  <a:gd name="T2" fmla="*/ 2 w 3"/>
                  <a:gd name="T3" fmla="*/ 2 h 3"/>
                  <a:gd name="T4" fmla="*/ 3 w 3"/>
                  <a:gd name="T5" fmla="*/ 1 h 3"/>
                  <a:gd name="T6" fmla="*/ 1 w 3"/>
                  <a:gd name="T7" fmla="*/ 0 h 3"/>
                </a:gdLst>
                <a:ahLst/>
                <a:cxnLst>
                  <a:cxn ang="0">
                    <a:pos x="T0" y="T1"/>
                  </a:cxn>
                  <a:cxn ang="0">
                    <a:pos x="T2" y="T3"/>
                  </a:cxn>
                  <a:cxn ang="0">
                    <a:pos x="T4" y="T5"/>
                  </a:cxn>
                  <a:cxn ang="0">
                    <a:pos x="T6" y="T7"/>
                  </a:cxn>
                </a:cxnLst>
                <a:rect l="0" t="0" r="r" b="b"/>
                <a:pathLst>
                  <a:path w="3" h="3">
                    <a:moveTo>
                      <a:pt x="1" y="0"/>
                    </a:moveTo>
                    <a:cubicBezTo>
                      <a:pt x="0" y="0"/>
                      <a:pt x="1" y="2"/>
                      <a:pt x="2" y="2"/>
                    </a:cubicBezTo>
                    <a:cubicBezTo>
                      <a:pt x="2" y="3"/>
                      <a:pt x="3" y="3"/>
                      <a:pt x="3" y="1"/>
                    </a:cubicBezTo>
                    <a:cubicBezTo>
                      <a:pt x="2" y="1"/>
                      <a:pt x="1"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2" name="Freeform 133"/>
              <p:cNvSpPr>
                <a:spLocks/>
              </p:cNvSpPr>
              <p:nvPr/>
            </p:nvSpPr>
            <p:spPr bwMode="auto">
              <a:xfrm>
                <a:off x="3621088" y="4079875"/>
                <a:ext cx="4763" cy="11113"/>
              </a:xfrm>
              <a:custGeom>
                <a:avLst/>
                <a:gdLst>
                  <a:gd name="T0" fmla="*/ 0 w 6"/>
                  <a:gd name="T1" fmla="*/ 2 h 15"/>
                  <a:gd name="T2" fmla="*/ 0 w 6"/>
                  <a:gd name="T3" fmla="*/ 10 h 15"/>
                  <a:gd name="T4" fmla="*/ 3 w 6"/>
                  <a:gd name="T5" fmla="*/ 13 h 15"/>
                  <a:gd name="T6" fmla="*/ 5 w 6"/>
                  <a:gd name="T7" fmla="*/ 11 h 15"/>
                  <a:gd name="T8" fmla="*/ 5 w 6"/>
                  <a:gd name="T9" fmla="*/ 7 h 15"/>
                  <a:gd name="T10" fmla="*/ 5 w 6"/>
                  <a:gd name="T11" fmla="*/ 7 h 15"/>
                  <a:gd name="T12" fmla="*/ 0 w 6"/>
                  <a:gd name="T13" fmla="*/ 2 h 15"/>
                </a:gdLst>
                <a:ahLst/>
                <a:cxnLst>
                  <a:cxn ang="0">
                    <a:pos x="T0" y="T1"/>
                  </a:cxn>
                  <a:cxn ang="0">
                    <a:pos x="T2" y="T3"/>
                  </a:cxn>
                  <a:cxn ang="0">
                    <a:pos x="T4" y="T5"/>
                  </a:cxn>
                  <a:cxn ang="0">
                    <a:pos x="T6" y="T7"/>
                  </a:cxn>
                  <a:cxn ang="0">
                    <a:pos x="T8" y="T9"/>
                  </a:cxn>
                  <a:cxn ang="0">
                    <a:pos x="T10" y="T11"/>
                  </a:cxn>
                  <a:cxn ang="0">
                    <a:pos x="T12" y="T13"/>
                  </a:cxn>
                </a:cxnLst>
                <a:rect l="0" t="0" r="r" b="b"/>
                <a:pathLst>
                  <a:path w="6" h="15">
                    <a:moveTo>
                      <a:pt x="0" y="2"/>
                    </a:moveTo>
                    <a:cubicBezTo>
                      <a:pt x="0" y="4"/>
                      <a:pt x="0" y="7"/>
                      <a:pt x="0" y="10"/>
                    </a:cubicBezTo>
                    <a:cubicBezTo>
                      <a:pt x="1" y="14"/>
                      <a:pt x="3" y="15"/>
                      <a:pt x="3" y="13"/>
                    </a:cubicBezTo>
                    <a:cubicBezTo>
                      <a:pt x="4" y="12"/>
                      <a:pt x="4" y="12"/>
                      <a:pt x="5" y="11"/>
                    </a:cubicBezTo>
                    <a:cubicBezTo>
                      <a:pt x="6" y="9"/>
                      <a:pt x="5" y="9"/>
                      <a:pt x="5" y="7"/>
                    </a:cubicBezTo>
                    <a:cubicBezTo>
                      <a:pt x="5" y="7"/>
                      <a:pt x="5" y="7"/>
                      <a:pt x="5" y="7"/>
                    </a:cubicBezTo>
                    <a:cubicBezTo>
                      <a:pt x="4" y="6"/>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3" name="Freeform 134"/>
              <p:cNvSpPr>
                <a:spLocks/>
              </p:cNvSpPr>
              <p:nvPr/>
            </p:nvSpPr>
            <p:spPr bwMode="auto">
              <a:xfrm>
                <a:off x="3602038" y="3919538"/>
                <a:ext cx="3175" cy="3175"/>
              </a:xfrm>
              <a:custGeom>
                <a:avLst/>
                <a:gdLst>
                  <a:gd name="T0" fmla="*/ 1 w 4"/>
                  <a:gd name="T1" fmla="*/ 1 h 4"/>
                  <a:gd name="T2" fmla="*/ 2 w 4"/>
                  <a:gd name="T3" fmla="*/ 4 h 4"/>
                  <a:gd name="T4" fmla="*/ 1 w 4"/>
                  <a:gd name="T5" fmla="*/ 1 h 4"/>
                </a:gdLst>
                <a:ahLst/>
                <a:cxnLst>
                  <a:cxn ang="0">
                    <a:pos x="T0" y="T1"/>
                  </a:cxn>
                  <a:cxn ang="0">
                    <a:pos x="T2" y="T3"/>
                  </a:cxn>
                  <a:cxn ang="0">
                    <a:pos x="T4" y="T5"/>
                  </a:cxn>
                </a:cxnLst>
                <a:rect l="0" t="0" r="r" b="b"/>
                <a:pathLst>
                  <a:path w="4" h="4">
                    <a:moveTo>
                      <a:pt x="1" y="1"/>
                    </a:moveTo>
                    <a:cubicBezTo>
                      <a:pt x="0" y="2"/>
                      <a:pt x="2" y="4"/>
                      <a:pt x="2" y="4"/>
                    </a:cubicBezTo>
                    <a:cubicBezTo>
                      <a:pt x="4" y="3"/>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4" name="Freeform 135"/>
              <p:cNvSpPr>
                <a:spLocks/>
              </p:cNvSpPr>
              <p:nvPr/>
            </p:nvSpPr>
            <p:spPr bwMode="auto">
              <a:xfrm>
                <a:off x="3605213" y="3910013"/>
                <a:ext cx="4763" cy="6350"/>
              </a:xfrm>
              <a:custGeom>
                <a:avLst/>
                <a:gdLst>
                  <a:gd name="T0" fmla="*/ 1 w 6"/>
                  <a:gd name="T1" fmla="*/ 2 h 8"/>
                  <a:gd name="T2" fmla="*/ 5 w 6"/>
                  <a:gd name="T3" fmla="*/ 7 h 8"/>
                  <a:gd name="T4" fmla="*/ 1 w 6"/>
                  <a:gd name="T5" fmla="*/ 2 h 8"/>
                </a:gdLst>
                <a:ahLst/>
                <a:cxnLst>
                  <a:cxn ang="0">
                    <a:pos x="T0" y="T1"/>
                  </a:cxn>
                  <a:cxn ang="0">
                    <a:pos x="T2" y="T3"/>
                  </a:cxn>
                  <a:cxn ang="0">
                    <a:pos x="T4" y="T5"/>
                  </a:cxn>
                </a:cxnLst>
                <a:rect l="0" t="0" r="r" b="b"/>
                <a:pathLst>
                  <a:path w="6" h="8">
                    <a:moveTo>
                      <a:pt x="1" y="2"/>
                    </a:moveTo>
                    <a:cubicBezTo>
                      <a:pt x="1" y="4"/>
                      <a:pt x="6" y="8"/>
                      <a:pt x="5" y="7"/>
                    </a:cubicBezTo>
                    <a:cubicBezTo>
                      <a:pt x="5" y="4"/>
                      <a:pt x="0" y="0"/>
                      <a:pt x="1"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5" name="Freeform 136"/>
              <p:cNvSpPr>
                <a:spLocks/>
              </p:cNvSpPr>
              <p:nvPr/>
            </p:nvSpPr>
            <p:spPr bwMode="auto">
              <a:xfrm>
                <a:off x="3592513" y="3930650"/>
                <a:ext cx="4763" cy="4763"/>
              </a:xfrm>
              <a:custGeom>
                <a:avLst/>
                <a:gdLst>
                  <a:gd name="T0" fmla="*/ 2 w 5"/>
                  <a:gd name="T1" fmla="*/ 5 h 7"/>
                  <a:gd name="T2" fmla="*/ 5 w 5"/>
                  <a:gd name="T3" fmla="*/ 5 h 7"/>
                  <a:gd name="T4" fmla="*/ 2 w 5"/>
                  <a:gd name="T5" fmla="*/ 2 h 7"/>
                  <a:gd name="T6" fmla="*/ 0 w 5"/>
                  <a:gd name="T7" fmla="*/ 1 h 7"/>
                  <a:gd name="T8" fmla="*/ 2 w 5"/>
                  <a:gd name="T9" fmla="*/ 5 h 7"/>
                </a:gdLst>
                <a:ahLst/>
                <a:cxnLst>
                  <a:cxn ang="0">
                    <a:pos x="T0" y="T1"/>
                  </a:cxn>
                  <a:cxn ang="0">
                    <a:pos x="T2" y="T3"/>
                  </a:cxn>
                  <a:cxn ang="0">
                    <a:pos x="T4" y="T5"/>
                  </a:cxn>
                  <a:cxn ang="0">
                    <a:pos x="T6" y="T7"/>
                  </a:cxn>
                  <a:cxn ang="0">
                    <a:pos x="T8" y="T9"/>
                  </a:cxn>
                </a:cxnLst>
                <a:rect l="0" t="0" r="r" b="b"/>
                <a:pathLst>
                  <a:path w="5" h="7">
                    <a:moveTo>
                      <a:pt x="2" y="5"/>
                    </a:moveTo>
                    <a:cubicBezTo>
                      <a:pt x="2" y="5"/>
                      <a:pt x="5" y="7"/>
                      <a:pt x="5" y="5"/>
                    </a:cubicBezTo>
                    <a:cubicBezTo>
                      <a:pt x="5" y="4"/>
                      <a:pt x="3" y="3"/>
                      <a:pt x="2" y="2"/>
                    </a:cubicBezTo>
                    <a:cubicBezTo>
                      <a:pt x="1" y="1"/>
                      <a:pt x="0" y="0"/>
                      <a:pt x="0" y="1"/>
                    </a:cubicBezTo>
                    <a:cubicBezTo>
                      <a:pt x="0" y="2"/>
                      <a:pt x="0" y="4"/>
                      <a:pt x="2"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6" name="Freeform 137"/>
              <p:cNvSpPr>
                <a:spLocks/>
              </p:cNvSpPr>
              <p:nvPr/>
            </p:nvSpPr>
            <p:spPr bwMode="auto">
              <a:xfrm>
                <a:off x="3571876" y="4179888"/>
                <a:ext cx="3175" cy="11113"/>
              </a:xfrm>
              <a:custGeom>
                <a:avLst/>
                <a:gdLst>
                  <a:gd name="T0" fmla="*/ 3 w 4"/>
                  <a:gd name="T1" fmla="*/ 9 h 15"/>
                  <a:gd name="T2" fmla="*/ 3 w 4"/>
                  <a:gd name="T3" fmla="*/ 3 h 15"/>
                  <a:gd name="T4" fmla="*/ 1 w 4"/>
                  <a:gd name="T5" fmla="*/ 4 h 15"/>
                  <a:gd name="T6" fmla="*/ 1 w 4"/>
                  <a:gd name="T7" fmla="*/ 12 h 15"/>
                  <a:gd name="T8" fmla="*/ 3 w 4"/>
                  <a:gd name="T9" fmla="*/ 9 h 15"/>
                </a:gdLst>
                <a:ahLst/>
                <a:cxnLst>
                  <a:cxn ang="0">
                    <a:pos x="T0" y="T1"/>
                  </a:cxn>
                  <a:cxn ang="0">
                    <a:pos x="T2" y="T3"/>
                  </a:cxn>
                  <a:cxn ang="0">
                    <a:pos x="T4" y="T5"/>
                  </a:cxn>
                  <a:cxn ang="0">
                    <a:pos x="T6" y="T7"/>
                  </a:cxn>
                  <a:cxn ang="0">
                    <a:pos x="T8" y="T9"/>
                  </a:cxn>
                </a:cxnLst>
                <a:rect l="0" t="0" r="r" b="b"/>
                <a:pathLst>
                  <a:path w="4" h="15">
                    <a:moveTo>
                      <a:pt x="3" y="9"/>
                    </a:moveTo>
                    <a:cubicBezTo>
                      <a:pt x="3" y="7"/>
                      <a:pt x="4" y="5"/>
                      <a:pt x="3" y="3"/>
                    </a:cubicBezTo>
                    <a:cubicBezTo>
                      <a:pt x="2" y="0"/>
                      <a:pt x="1" y="2"/>
                      <a:pt x="1" y="4"/>
                    </a:cubicBezTo>
                    <a:cubicBezTo>
                      <a:pt x="0" y="6"/>
                      <a:pt x="0" y="9"/>
                      <a:pt x="1" y="12"/>
                    </a:cubicBezTo>
                    <a:cubicBezTo>
                      <a:pt x="2" y="15"/>
                      <a:pt x="3" y="10"/>
                      <a:pt x="3"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7" name="Freeform 138"/>
              <p:cNvSpPr>
                <a:spLocks/>
              </p:cNvSpPr>
              <p:nvPr/>
            </p:nvSpPr>
            <p:spPr bwMode="auto">
              <a:xfrm>
                <a:off x="3605213" y="3924300"/>
                <a:ext cx="7938" cy="15875"/>
              </a:xfrm>
              <a:custGeom>
                <a:avLst/>
                <a:gdLst>
                  <a:gd name="T0" fmla="*/ 4 w 9"/>
                  <a:gd name="T1" fmla="*/ 6 h 23"/>
                  <a:gd name="T2" fmla="*/ 4 w 9"/>
                  <a:gd name="T3" fmla="*/ 4 h 23"/>
                  <a:gd name="T4" fmla="*/ 2 w 9"/>
                  <a:gd name="T5" fmla="*/ 1 h 23"/>
                  <a:gd name="T6" fmla="*/ 0 w 9"/>
                  <a:gd name="T7" fmla="*/ 5 h 23"/>
                  <a:gd name="T8" fmla="*/ 1 w 9"/>
                  <a:gd name="T9" fmla="*/ 7 h 23"/>
                  <a:gd name="T10" fmla="*/ 1 w 9"/>
                  <a:gd name="T11" fmla="*/ 11 h 23"/>
                  <a:gd name="T12" fmla="*/ 2 w 9"/>
                  <a:gd name="T13" fmla="*/ 15 h 23"/>
                  <a:gd name="T14" fmla="*/ 5 w 9"/>
                  <a:gd name="T15" fmla="*/ 20 h 23"/>
                  <a:gd name="T16" fmla="*/ 8 w 9"/>
                  <a:gd name="T17" fmla="*/ 19 h 23"/>
                  <a:gd name="T18" fmla="*/ 7 w 9"/>
                  <a:gd name="T19" fmla="*/ 15 h 23"/>
                  <a:gd name="T20" fmla="*/ 6 w 9"/>
                  <a:gd name="T21" fmla="*/ 12 h 23"/>
                  <a:gd name="T22" fmla="*/ 7 w 9"/>
                  <a:gd name="T23" fmla="*/ 13 h 23"/>
                  <a:gd name="T24" fmla="*/ 6 w 9"/>
                  <a:gd name="T25" fmla="*/ 8 h 23"/>
                  <a:gd name="T26" fmla="*/ 4 w 9"/>
                  <a:gd name="T27"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23">
                    <a:moveTo>
                      <a:pt x="4" y="6"/>
                    </a:moveTo>
                    <a:cubicBezTo>
                      <a:pt x="4" y="5"/>
                      <a:pt x="4" y="5"/>
                      <a:pt x="4" y="4"/>
                    </a:cubicBezTo>
                    <a:cubicBezTo>
                      <a:pt x="3" y="3"/>
                      <a:pt x="2" y="0"/>
                      <a:pt x="2" y="1"/>
                    </a:cubicBezTo>
                    <a:cubicBezTo>
                      <a:pt x="1" y="2"/>
                      <a:pt x="0" y="3"/>
                      <a:pt x="0" y="5"/>
                    </a:cubicBezTo>
                    <a:cubicBezTo>
                      <a:pt x="1" y="6"/>
                      <a:pt x="3" y="7"/>
                      <a:pt x="1" y="7"/>
                    </a:cubicBezTo>
                    <a:cubicBezTo>
                      <a:pt x="0" y="8"/>
                      <a:pt x="1" y="9"/>
                      <a:pt x="1" y="11"/>
                    </a:cubicBezTo>
                    <a:cubicBezTo>
                      <a:pt x="1" y="13"/>
                      <a:pt x="1" y="14"/>
                      <a:pt x="2" y="15"/>
                    </a:cubicBezTo>
                    <a:cubicBezTo>
                      <a:pt x="3" y="17"/>
                      <a:pt x="4" y="20"/>
                      <a:pt x="5" y="20"/>
                    </a:cubicBezTo>
                    <a:cubicBezTo>
                      <a:pt x="4" y="16"/>
                      <a:pt x="9" y="23"/>
                      <a:pt x="8" y="19"/>
                    </a:cubicBezTo>
                    <a:cubicBezTo>
                      <a:pt x="8" y="18"/>
                      <a:pt x="7" y="17"/>
                      <a:pt x="7" y="15"/>
                    </a:cubicBezTo>
                    <a:cubicBezTo>
                      <a:pt x="6" y="14"/>
                      <a:pt x="5" y="13"/>
                      <a:pt x="6" y="12"/>
                    </a:cubicBezTo>
                    <a:cubicBezTo>
                      <a:pt x="6" y="12"/>
                      <a:pt x="7" y="13"/>
                      <a:pt x="7" y="13"/>
                    </a:cubicBezTo>
                    <a:cubicBezTo>
                      <a:pt x="9" y="13"/>
                      <a:pt x="6" y="9"/>
                      <a:pt x="6" y="8"/>
                    </a:cubicBezTo>
                    <a:cubicBezTo>
                      <a:pt x="5" y="8"/>
                      <a:pt x="4" y="7"/>
                      <a:pt x="4"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8" name="Freeform 139"/>
              <p:cNvSpPr>
                <a:spLocks/>
              </p:cNvSpPr>
              <p:nvPr/>
            </p:nvSpPr>
            <p:spPr bwMode="auto">
              <a:xfrm>
                <a:off x="2917826" y="3887788"/>
                <a:ext cx="7938" cy="4763"/>
              </a:xfrm>
              <a:custGeom>
                <a:avLst/>
                <a:gdLst>
                  <a:gd name="T0" fmla="*/ 2 w 10"/>
                  <a:gd name="T1" fmla="*/ 6 h 6"/>
                  <a:gd name="T2" fmla="*/ 9 w 10"/>
                  <a:gd name="T3" fmla="*/ 5 h 6"/>
                  <a:gd name="T4" fmla="*/ 9 w 10"/>
                  <a:gd name="T5" fmla="*/ 2 h 6"/>
                  <a:gd name="T6" fmla="*/ 3 w 10"/>
                  <a:gd name="T7" fmla="*/ 2 h 6"/>
                  <a:gd name="T8" fmla="*/ 2 w 10"/>
                  <a:gd name="T9" fmla="*/ 6 h 6"/>
                </a:gdLst>
                <a:ahLst/>
                <a:cxnLst>
                  <a:cxn ang="0">
                    <a:pos x="T0" y="T1"/>
                  </a:cxn>
                  <a:cxn ang="0">
                    <a:pos x="T2" y="T3"/>
                  </a:cxn>
                  <a:cxn ang="0">
                    <a:pos x="T4" y="T5"/>
                  </a:cxn>
                  <a:cxn ang="0">
                    <a:pos x="T6" y="T7"/>
                  </a:cxn>
                  <a:cxn ang="0">
                    <a:pos x="T8" y="T9"/>
                  </a:cxn>
                </a:cxnLst>
                <a:rect l="0" t="0" r="r" b="b"/>
                <a:pathLst>
                  <a:path w="10" h="6">
                    <a:moveTo>
                      <a:pt x="2" y="6"/>
                    </a:moveTo>
                    <a:cubicBezTo>
                      <a:pt x="4" y="6"/>
                      <a:pt x="7" y="6"/>
                      <a:pt x="9" y="5"/>
                    </a:cubicBezTo>
                    <a:cubicBezTo>
                      <a:pt x="10" y="5"/>
                      <a:pt x="10" y="2"/>
                      <a:pt x="9" y="2"/>
                    </a:cubicBezTo>
                    <a:cubicBezTo>
                      <a:pt x="9" y="0"/>
                      <a:pt x="5" y="2"/>
                      <a:pt x="3" y="2"/>
                    </a:cubicBezTo>
                    <a:cubicBezTo>
                      <a:pt x="0" y="3"/>
                      <a:pt x="0" y="5"/>
                      <a:pt x="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29" name="Freeform 140"/>
              <p:cNvSpPr>
                <a:spLocks/>
              </p:cNvSpPr>
              <p:nvPr/>
            </p:nvSpPr>
            <p:spPr bwMode="auto">
              <a:xfrm>
                <a:off x="2921001" y="3868738"/>
                <a:ext cx="7938" cy="6350"/>
              </a:xfrm>
              <a:custGeom>
                <a:avLst/>
                <a:gdLst>
                  <a:gd name="T0" fmla="*/ 5 w 11"/>
                  <a:gd name="T1" fmla="*/ 1 h 9"/>
                  <a:gd name="T2" fmla="*/ 8 w 11"/>
                  <a:gd name="T3" fmla="*/ 7 h 9"/>
                  <a:gd name="T4" fmla="*/ 10 w 11"/>
                  <a:gd name="T5" fmla="*/ 3 h 9"/>
                  <a:gd name="T6" fmla="*/ 5 w 11"/>
                  <a:gd name="T7" fmla="*/ 1 h 9"/>
                </a:gdLst>
                <a:ahLst/>
                <a:cxnLst>
                  <a:cxn ang="0">
                    <a:pos x="T0" y="T1"/>
                  </a:cxn>
                  <a:cxn ang="0">
                    <a:pos x="T2" y="T3"/>
                  </a:cxn>
                  <a:cxn ang="0">
                    <a:pos x="T4" y="T5"/>
                  </a:cxn>
                  <a:cxn ang="0">
                    <a:pos x="T6" y="T7"/>
                  </a:cxn>
                </a:cxnLst>
                <a:rect l="0" t="0" r="r" b="b"/>
                <a:pathLst>
                  <a:path w="11" h="9">
                    <a:moveTo>
                      <a:pt x="5" y="1"/>
                    </a:moveTo>
                    <a:cubicBezTo>
                      <a:pt x="0" y="3"/>
                      <a:pt x="4" y="9"/>
                      <a:pt x="8" y="7"/>
                    </a:cubicBezTo>
                    <a:cubicBezTo>
                      <a:pt x="9" y="5"/>
                      <a:pt x="11" y="4"/>
                      <a:pt x="10" y="3"/>
                    </a:cubicBezTo>
                    <a:cubicBezTo>
                      <a:pt x="9" y="2"/>
                      <a:pt x="8" y="0"/>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0" name="Freeform 141"/>
              <p:cNvSpPr>
                <a:spLocks/>
              </p:cNvSpPr>
              <p:nvPr/>
            </p:nvSpPr>
            <p:spPr bwMode="auto">
              <a:xfrm>
                <a:off x="2925763" y="3883025"/>
                <a:ext cx="3175" cy="1588"/>
              </a:xfrm>
              <a:custGeom>
                <a:avLst/>
                <a:gdLst>
                  <a:gd name="T0" fmla="*/ 0 w 4"/>
                  <a:gd name="T1" fmla="*/ 0 h 3"/>
                  <a:gd name="T2" fmla="*/ 2 w 4"/>
                  <a:gd name="T3" fmla="*/ 3 h 3"/>
                  <a:gd name="T4" fmla="*/ 4 w 4"/>
                  <a:gd name="T5" fmla="*/ 1 h 3"/>
                  <a:gd name="T6" fmla="*/ 0 w 4"/>
                  <a:gd name="T7" fmla="*/ 0 h 3"/>
                </a:gdLst>
                <a:ahLst/>
                <a:cxnLst>
                  <a:cxn ang="0">
                    <a:pos x="T0" y="T1"/>
                  </a:cxn>
                  <a:cxn ang="0">
                    <a:pos x="T2" y="T3"/>
                  </a:cxn>
                  <a:cxn ang="0">
                    <a:pos x="T4" y="T5"/>
                  </a:cxn>
                  <a:cxn ang="0">
                    <a:pos x="T6" y="T7"/>
                  </a:cxn>
                </a:cxnLst>
                <a:rect l="0" t="0" r="r" b="b"/>
                <a:pathLst>
                  <a:path w="4" h="3">
                    <a:moveTo>
                      <a:pt x="0" y="0"/>
                    </a:moveTo>
                    <a:cubicBezTo>
                      <a:pt x="0" y="1"/>
                      <a:pt x="0" y="3"/>
                      <a:pt x="2" y="3"/>
                    </a:cubicBezTo>
                    <a:cubicBezTo>
                      <a:pt x="3" y="3"/>
                      <a:pt x="4" y="2"/>
                      <a:pt x="4" y="1"/>
                    </a:cubicBezTo>
                    <a:cubicBezTo>
                      <a:pt x="3" y="0"/>
                      <a:pt x="2"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1" name="Freeform 142"/>
              <p:cNvSpPr>
                <a:spLocks/>
              </p:cNvSpPr>
              <p:nvPr/>
            </p:nvSpPr>
            <p:spPr bwMode="auto">
              <a:xfrm>
                <a:off x="3052763" y="4291013"/>
                <a:ext cx="6350" cy="6350"/>
              </a:xfrm>
              <a:custGeom>
                <a:avLst/>
                <a:gdLst>
                  <a:gd name="T0" fmla="*/ 0 w 8"/>
                  <a:gd name="T1" fmla="*/ 5 h 8"/>
                  <a:gd name="T2" fmla="*/ 8 w 8"/>
                  <a:gd name="T3" fmla="*/ 8 h 8"/>
                  <a:gd name="T4" fmla="*/ 8 w 8"/>
                  <a:gd name="T5" fmla="*/ 4 h 8"/>
                  <a:gd name="T6" fmla="*/ 0 w 8"/>
                  <a:gd name="T7" fmla="*/ 5 h 8"/>
                </a:gdLst>
                <a:ahLst/>
                <a:cxnLst>
                  <a:cxn ang="0">
                    <a:pos x="T0" y="T1"/>
                  </a:cxn>
                  <a:cxn ang="0">
                    <a:pos x="T2" y="T3"/>
                  </a:cxn>
                  <a:cxn ang="0">
                    <a:pos x="T4" y="T5"/>
                  </a:cxn>
                  <a:cxn ang="0">
                    <a:pos x="T6" y="T7"/>
                  </a:cxn>
                </a:cxnLst>
                <a:rect l="0" t="0" r="r" b="b"/>
                <a:pathLst>
                  <a:path w="8" h="8">
                    <a:moveTo>
                      <a:pt x="0" y="5"/>
                    </a:moveTo>
                    <a:cubicBezTo>
                      <a:pt x="2" y="6"/>
                      <a:pt x="5" y="7"/>
                      <a:pt x="8" y="8"/>
                    </a:cubicBezTo>
                    <a:cubicBezTo>
                      <a:pt x="7" y="8"/>
                      <a:pt x="8" y="7"/>
                      <a:pt x="8" y="4"/>
                    </a:cubicBezTo>
                    <a:cubicBezTo>
                      <a:pt x="8" y="0"/>
                      <a:pt x="3" y="3"/>
                      <a:pt x="0"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2" name="Freeform 143"/>
              <p:cNvSpPr>
                <a:spLocks/>
              </p:cNvSpPr>
              <p:nvPr/>
            </p:nvSpPr>
            <p:spPr bwMode="auto">
              <a:xfrm>
                <a:off x="3181351" y="4341813"/>
                <a:ext cx="3175" cy="1588"/>
              </a:xfrm>
              <a:custGeom>
                <a:avLst/>
                <a:gdLst>
                  <a:gd name="T0" fmla="*/ 0 w 5"/>
                  <a:gd name="T1" fmla="*/ 1 h 2"/>
                  <a:gd name="T2" fmla="*/ 5 w 5"/>
                  <a:gd name="T3" fmla="*/ 2 h 2"/>
                  <a:gd name="T4" fmla="*/ 5 w 5"/>
                  <a:gd name="T5" fmla="*/ 2 h 2"/>
                  <a:gd name="T6" fmla="*/ 0 w 5"/>
                  <a:gd name="T7" fmla="*/ 1 h 2"/>
                </a:gdLst>
                <a:ahLst/>
                <a:cxnLst>
                  <a:cxn ang="0">
                    <a:pos x="T0" y="T1"/>
                  </a:cxn>
                  <a:cxn ang="0">
                    <a:pos x="T2" y="T3"/>
                  </a:cxn>
                  <a:cxn ang="0">
                    <a:pos x="T4" y="T5"/>
                  </a:cxn>
                  <a:cxn ang="0">
                    <a:pos x="T6" y="T7"/>
                  </a:cxn>
                </a:cxnLst>
                <a:rect l="0" t="0" r="r" b="b"/>
                <a:pathLst>
                  <a:path w="5" h="2">
                    <a:moveTo>
                      <a:pt x="0" y="1"/>
                    </a:moveTo>
                    <a:cubicBezTo>
                      <a:pt x="2" y="1"/>
                      <a:pt x="4" y="2"/>
                      <a:pt x="5" y="2"/>
                    </a:cubicBezTo>
                    <a:cubicBezTo>
                      <a:pt x="5" y="2"/>
                      <a:pt x="5" y="2"/>
                      <a:pt x="5" y="2"/>
                    </a:cubicBezTo>
                    <a:cubicBezTo>
                      <a:pt x="4" y="0"/>
                      <a:pt x="2"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3" name="Freeform 144"/>
              <p:cNvSpPr>
                <a:spLocks/>
              </p:cNvSpPr>
              <p:nvPr/>
            </p:nvSpPr>
            <p:spPr bwMode="auto">
              <a:xfrm>
                <a:off x="2890838" y="3905250"/>
                <a:ext cx="14288" cy="12700"/>
              </a:xfrm>
              <a:custGeom>
                <a:avLst/>
                <a:gdLst>
                  <a:gd name="T0" fmla="*/ 17 w 18"/>
                  <a:gd name="T1" fmla="*/ 1 h 17"/>
                  <a:gd name="T2" fmla="*/ 13 w 18"/>
                  <a:gd name="T3" fmla="*/ 2 h 17"/>
                  <a:gd name="T4" fmla="*/ 12 w 18"/>
                  <a:gd name="T5" fmla="*/ 3 h 17"/>
                  <a:gd name="T6" fmla="*/ 9 w 18"/>
                  <a:gd name="T7" fmla="*/ 5 h 17"/>
                  <a:gd name="T8" fmla="*/ 3 w 18"/>
                  <a:gd name="T9" fmla="*/ 16 h 17"/>
                  <a:gd name="T10" fmla="*/ 11 w 18"/>
                  <a:gd name="T11" fmla="*/ 10 h 17"/>
                  <a:gd name="T12" fmla="*/ 14 w 18"/>
                  <a:gd name="T13" fmla="*/ 5 h 17"/>
                  <a:gd name="T14" fmla="*/ 17 w 18"/>
                  <a:gd name="T15" fmla="*/ 1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7">
                    <a:moveTo>
                      <a:pt x="17" y="1"/>
                    </a:moveTo>
                    <a:cubicBezTo>
                      <a:pt x="16" y="0"/>
                      <a:pt x="14" y="1"/>
                      <a:pt x="13" y="2"/>
                    </a:cubicBezTo>
                    <a:cubicBezTo>
                      <a:pt x="12" y="2"/>
                      <a:pt x="12" y="3"/>
                      <a:pt x="12" y="3"/>
                    </a:cubicBezTo>
                    <a:cubicBezTo>
                      <a:pt x="11" y="4"/>
                      <a:pt x="10" y="4"/>
                      <a:pt x="9" y="5"/>
                    </a:cubicBezTo>
                    <a:cubicBezTo>
                      <a:pt x="5" y="7"/>
                      <a:pt x="0" y="14"/>
                      <a:pt x="3" y="16"/>
                    </a:cubicBezTo>
                    <a:cubicBezTo>
                      <a:pt x="6" y="17"/>
                      <a:pt x="9" y="13"/>
                      <a:pt x="11" y="10"/>
                    </a:cubicBezTo>
                    <a:cubicBezTo>
                      <a:pt x="12" y="8"/>
                      <a:pt x="13" y="6"/>
                      <a:pt x="14" y="5"/>
                    </a:cubicBezTo>
                    <a:cubicBezTo>
                      <a:pt x="15" y="4"/>
                      <a:pt x="18" y="2"/>
                      <a:pt x="17"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4" name="Freeform 145"/>
              <p:cNvSpPr>
                <a:spLocks/>
              </p:cNvSpPr>
              <p:nvPr/>
            </p:nvSpPr>
            <p:spPr bwMode="auto">
              <a:xfrm>
                <a:off x="2973388" y="3884613"/>
                <a:ext cx="9525" cy="4763"/>
              </a:xfrm>
              <a:custGeom>
                <a:avLst/>
                <a:gdLst>
                  <a:gd name="T0" fmla="*/ 12 w 13"/>
                  <a:gd name="T1" fmla="*/ 4 h 7"/>
                  <a:gd name="T2" fmla="*/ 8 w 13"/>
                  <a:gd name="T3" fmla="*/ 2 h 7"/>
                  <a:gd name="T4" fmla="*/ 4 w 13"/>
                  <a:gd name="T5" fmla="*/ 0 h 7"/>
                  <a:gd name="T6" fmla="*/ 2 w 13"/>
                  <a:gd name="T7" fmla="*/ 0 h 7"/>
                  <a:gd name="T8" fmla="*/ 0 w 13"/>
                  <a:gd name="T9" fmla="*/ 4 h 7"/>
                  <a:gd name="T10" fmla="*/ 7 w 13"/>
                  <a:gd name="T11" fmla="*/ 7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1" y="3"/>
                      <a:pt x="10" y="3"/>
                      <a:pt x="8" y="2"/>
                    </a:cubicBezTo>
                    <a:cubicBezTo>
                      <a:pt x="7" y="2"/>
                      <a:pt x="6" y="1"/>
                      <a:pt x="4" y="0"/>
                    </a:cubicBezTo>
                    <a:cubicBezTo>
                      <a:pt x="3" y="1"/>
                      <a:pt x="3" y="0"/>
                      <a:pt x="2" y="0"/>
                    </a:cubicBezTo>
                    <a:cubicBezTo>
                      <a:pt x="1" y="1"/>
                      <a:pt x="0" y="3"/>
                      <a:pt x="0" y="4"/>
                    </a:cubicBezTo>
                    <a:cubicBezTo>
                      <a:pt x="0" y="6"/>
                      <a:pt x="4" y="7"/>
                      <a:pt x="7" y="7"/>
                    </a:cubicBezTo>
                    <a:cubicBezTo>
                      <a:pt x="9" y="7"/>
                      <a:pt x="13" y="6"/>
                      <a:pt x="1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5" name="Freeform 146"/>
              <p:cNvSpPr>
                <a:spLocks/>
              </p:cNvSpPr>
              <p:nvPr/>
            </p:nvSpPr>
            <p:spPr bwMode="auto">
              <a:xfrm>
                <a:off x="2970213" y="3900488"/>
                <a:ext cx="6350" cy="7938"/>
              </a:xfrm>
              <a:custGeom>
                <a:avLst/>
                <a:gdLst>
                  <a:gd name="T0" fmla="*/ 0 w 10"/>
                  <a:gd name="T1" fmla="*/ 10 h 12"/>
                  <a:gd name="T2" fmla="*/ 7 w 10"/>
                  <a:gd name="T3" fmla="*/ 9 h 12"/>
                  <a:gd name="T4" fmla="*/ 10 w 10"/>
                  <a:gd name="T5" fmla="*/ 2 h 12"/>
                  <a:gd name="T6" fmla="*/ 3 w 10"/>
                  <a:gd name="T7" fmla="*/ 3 h 12"/>
                  <a:gd name="T8" fmla="*/ 0 w 10"/>
                  <a:gd name="T9" fmla="*/ 10 h 12"/>
                </a:gdLst>
                <a:ahLst/>
                <a:cxnLst>
                  <a:cxn ang="0">
                    <a:pos x="T0" y="T1"/>
                  </a:cxn>
                  <a:cxn ang="0">
                    <a:pos x="T2" y="T3"/>
                  </a:cxn>
                  <a:cxn ang="0">
                    <a:pos x="T4" y="T5"/>
                  </a:cxn>
                  <a:cxn ang="0">
                    <a:pos x="T6" y="T7"/>
                  </a:cxn>
                  <a:cxn ang="0">
                    <a:pos x="T8" y="T9"/>
                  </a:cxn>
                </a:cxnLst>
                <a:rect l="0" t="0" r="r" b="b"/>
                <a:pathLst>
                  <a:path w="10" h="12">
                    <a:moveTo>
                      <a:pt x="0" y="10"/>
                    </a:moveTo>
                    <a:cubicBezTo>
                      <a:pt x="1" y="12"/>
                      <a:pt x="5" y="11"/>
                      <a:pt x="7" y="9"/>
                    </a:cubicBezTo>
                    <a:cubicBezTo>
                      <a:pt x="10" y="8"/>
                      <a:pt x="10" y="4"/>
                      <a:pt x="10" y="2"/>
                    </a:cubicBezTo>
                    <a:cubicBezTo>
                      <a:pt x="7" y="2"/>
                      <a:pt x="5" y="0"/>
                      <a:pt x="3" y="3"/>
                    </a:cubicBezTo>
                    <a:cubicBezTo>
                      <a:pt x="1" y="5"/>
                      <a:pt x="0" y="8"/>
                      <a:pt x="0" y="1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6" name="Freeform 147"/>
              <p:cNvSpPr>
                <a:spLocks/>
              </p:cNvSpPr>
              <p:nvPr/>
            </p:nvSpPr>
            <p:spPr bwMode="auto">
              <a:xfrm>
                <a:off x="3525838" y="4319588"/>
                <a:ext cx="1588" cy="1588"/>
              </a:xfrm>
              <a:custGeom>
                <a:avLst/>
                <a:gdLst>
                  <a:gd name="T0" fmla="*/ 1 w 2"/>
                  <a:gd name="T1" fmla="*/ 0 h 1"/>
                  <a:gd name="T2" fmla="*/ 0 w 2"/>
                  <a:gd name="T3" fmla="*/ 1 h 1"/>
                  <a:gd name="T4" fmla="*/ 2 w 2"/>
                  <a:gd name="T5" fmla="*/ 0 h 1"/>
                  <a:gd name="T6" fmla="*/ 1 w 2"/>
                  <a:gd name="T7" fmla="*/ 0 h 1"/>
                </a:gdLst>
                <a:ahLst/>
                <a:cxnLst>
                  <a:cxn ang="0">
                    <a:pos x="T0" y="T1"/>
                  </a:cxn>
                  <a:cxn ang="0">
                    <a:pos x="T2" y="T3"/>
                  </a:cxn>
                  <a:cxn ang="0">
                    <a:pos x="T4" y="T5"/>
                  </a:cxn>
                  <a:cxn ang="0">
                    <a:pos x="T6" y="T7"/>
                  </a:cxn>
                </a:cxnLst>
                <a:rect l="0" t="0" r="r" b="b"/>
                <a:pathLst>
                  <a:path w="2" h="1">
                    <a:moveTo>
                      <a:pt x="1" y="0"/>
                    </a:moveTo>
                    <a:cubicBezTo>
                      <a:pt x="1" y="1"/>
                      <a:pt x="1" y="1"/>
                      <a:pt x="0" y="1"/>
                    </a:cubicBezTo>
                    <a:cubicBezTo>
                      <a:pt x="1" y="1"/>
                      <a:pt x="2" y="1"/>
                      <a:pt x="2" y="0"/>
                    </a:cubicBezTo>
                    <a:cubicBezTo>
                      <a:pt x="2" y="0"/>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7" name="Freeform 148"/>
              <p:cNvSpPr>
                <a:spLocks/>
              </p:cNvSpPr>
              <p:nvPr/>
            </p:nvSpPr>
            <p:spPr bwMode="auto">
              <a:xfrm>
                <a:off x="2974976" y="3924300"/>
                <a:ext cx="36513" cy="46038"/>
              </a:xfrm>
              <a:custGeom>
                <a:avLst/>
                <a:gdLst>
                  <a:gd name="T0" fmla="*/ 46 w 47"/>
                  <a:gd name="T1" fmla="*/ 40 h 59"/>
                  <a:gd name="T2" fmla="*/ 46 w 47"/>
                  <a:gd name="T3" fmla="*/ 31 h 59"/>
                  <a:gd name="T4" fmla="*/ 45 w 47"/>
                  <a:gd name="T5" fmla="*/ 26 h 59"/>
                  <a:gd name="T6" fmla="*/ 46 w 47"/>
                  <a:gd name="T7" fmla="*/ 20 h 59"/>
                  <a:gd name="T8" fmla="*/ 37 w 47"/>
                  <a:gd name="T9" fmla="*/ 20 h 59"/>
                  <a:gd name="T10" fmla="*/ 46 w 47"/>
                  <a:gd name="T11" fmla="*/ 6 h 59"/>
                  <a:gd name="T12" fmla="*/ 44 w 47"/>
                  <a:gd name="T13" fmla="*/ 1 h 59"/>
                  <a:gd name="T14" fmla="*/ 34 w 47"/>
                  <a:gd name="T15" fmla="*/ 5 h 59"/>
                  <a:gd name="T16" fmla="*/ 27 w 47"/>
                  <a:gd name="T17" fmla="*/ 7 h 59"/>
                  <a:gd name="T18" fmla="*/ 23 w 47"/>
                  <a:gd name="T19" fmla="*/ 4 h 59"/>
                  <a:gd name="T20" fmla="*/ 15 w 47"/>
                  <a:gd name="T21" fmla="*/ 6 h 59"/>
                  <a:gd name="T22" fmla="*/ 14 w 47"/>
                  <a:gd name="T23" fmla="*/ 12 h 59"/>
                  <a:gd name="T24" fmla="*/ 13 w 47"/>
                  <a:gd name="T25" fmla="*/ 14 h 59"/>
                  <a:gd name="T26" fmla="*/ 16 w 47"/>
                  <a:gd name="T27" fmla="*/ 21 h 59"/>
                  <a:gd name="T28" fmla="*/ 13 w 47"/>
                  <a:gd name="T29" fmla="*/ 29 h 59"/>
                  <a:gd name="T30" fmla="*/ 6 w 47"/>
                  <a:gd name="T31" fmla="*/ 26 h 59"/>
                  <a:gd name="T32" fmla="*/ 2 w 47"/>
                  <a:gd name="T33" fmla="*/ 29 h 59"/>
                  <a:gd name="T34" fmla="*/ 3 w 47"/>
                  <a:gd name="T35" fmla="*/ 37 h 59"/>
                  <a:gd name="T36" fmla="*/ 7 w 47"/>
                  <a:gd name="T37" fmla="*/ 41 h 59"/>
                  <a:gd name="T38" fmla="*/ 10 w 47"/>
                  <a:gd name="T39" fmla="*/ 45 h 59"/>
                  <a:gd name="T40" fmla="*/ 18 w 47"/>
                  <a:gd name="T41" fmla="*/ 50 h 59"/>
                  <a:gd name="T42" fmla="*/ 23 w 47"/>
                  <a:gd name="T43" fmla="*/ 57 h 59"/>
                  <a:gd name="T44" fmla="*/ 31 w 47"/>
                  <a:gd name="T45" fmla="*/ 55 h 59"/>
                  <a:gd name="T46" fmla="*/ 32 w 47"/>
                  <a:gd name="T47" fmla="*/ 52 h 59"/>
                  <a:gd name="T48" fmla="*/ 37 w 47"/>
                  <a:gd name="T49" fmla="*/ 50 h 59"/>
                  <a:gd name="T50" fmla="*/ 46 w 47"/>
                  <a:gd name="T5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59">
                    <a:moveTo>
                      <a:pt x="46" y="40"/>
                    </a:moveTo>
                    <a:cubicBezTo>
                      <a:pt x="47" y="38"/>
                      <a:pt x="47" y="33"/>
                      <a:pt x="46" y="31"/>
                    </a:cubicBezTo>
                    <a:cubicBezTo>
                      <a:pt x="45" y="29"/>
                      <a:pt x="44" y="28"/>
                      <a:pt x="45" y="26"/>
                    </a:cubicBezTo>
                    <a:cubicBezTo>
                      <a:pt x="45" y="24"/>
                      <a:pt x="46" y="22"/>
                      <a:pt x="46" y="20"/>
                    </a:cubicBezTo>
                    <a:cubicBezTo>
                      <a:pt x="45" y="15"/>
                      <a:pt x="40" y="22"/>
                      <a:pt x="37" y="20"/>
                    </a:cubicBezTo>
                    <a:cubicBezTo>
                      <a:pt x="32" y="16"/>
                      <a:pt x="45" y="9"/>
                      <a:pt x="46" y="6"/>
                    </a:cubicBezTo>
                    <a:cubicBezTo>
                      <a:pt x="47" y="4"/>
                      <a:pt x="46" y="2"/>
                      <a:pt x="44" y="1"/>
                    </a:cubicBezTo>
                    <a:cubicBezTo>
                      <a:pt x="39" y="0"/>
                      <a:pt x="38" y="3"/>
                      <a:pt x="34" y="5"/>
                    </a:cubicBezTo>
                    <a:cubicBezTo>
                      <a:pt x="33" y="6"/>
                      <a:pt x="29" y="8"/>
                      <a:pt x="27" y="7"/>
                    </a:cubicBezTo>
                    <a:cubicBezTo>
                      <a:pt x="26" y="6"/>
                      <a:pt x="26" y="4"/>
                      <a:pt x="23" y="4"/>
                    </a:cubicBezTo>
                    <a:cubicBezTo>
                      <a:pt x="20" y="4"/>
                      <a:pt x="18" y="4"/>
                      <a:pt x="15" y="6"/>
                    </a:cubicBezTo>
                    <a:cubicBezTo>
                      <a:pt x="12" y="8"/>
                      <a:pt x="12" y="11"/>
                      <a:pt x="14" y="12"/>
                    </a:cubicBezTo>
                    <a:cubicBezTo>
                      <a:pt x="16" y="13"/>
                      <a:pt x="16" y="13"/>
                      <a:pt x="13" y="14"/>
                    </a:cubicBezTo>
                    <a:cubicBezTo>
                      <a:pt x="10" y="16"/>
                      <a:pt x="16" y="19"/>
                      <a:pt x="16" y="21"/>
                    </a:cubicBezTo>
                    <a:cubicBezTo>
                      <a:pt x="17" y="23"/>
                      <a:pt x="16" y="27"/>
                      <a:pt x="13" y="29"/>
                    </a:cubicBezTo>
                    <a:cubicBezTo>
                      <a:pt x="10" y="31"/>
                      <a:pt x="7" y="28"/>
                      <a:pt x="6" y="26"/>
                    </a:cubicBezTo>
                    <a:cubicBezTo>
                      <a:pt x="5" y="23"/>
                      <a:pt x="2" y="27"/>
                      <a:pt x="2" y="29"/>
                    </a:cubicBezTo>
                    <a:cubicBezTo>
                      <a:pt x="0" y="32"/>
                      <a:pt x="1" y="35"/>
                      <a:pt x="3" y="37"/>
                    </a:cubicBezTo>
                    <a:cubicBezTo>
                      <a:pt x="4" y="39"/>
                      <a:pt x="6" y="39"/>
                      <a:pt x="7" y="41"/>
                    </a:cubicBezTo>
                    <a:cubicBezTo>
                      <a:pt x="7" y="42"/>
                      <a:pt x="8" y="44"/>
                      <a:pt x="10" y="45"/>
                    </a:cubicBezTo>
                    <a:cubicBezTo>
                      <a:pt x="14" y="46"/>
                      <a:pt x="17" y="47"/>
                      <a:pt x="18" y="50"/>
                    </a:cubicBezTo>
                    <a:cubicBezTo>
                      <a:pt x="20" y="53"/>
                      <a:pt x="20" y="55"/>
                      <a:pt x="23" y="57"/>
                    </a:cubicBezTo>
                    <a:cubicBezTo>
                      <a:pt x="26" y="59"/>
                      <a:pt x="29" y="58"/>
                      <a:pt x="31" y="55"/>
                    </a:cubicBezTo>
                    <a:cubicBezTo>
                      <a:pt x="31" y="54"/>
                      <a:pt x="32" y="53"/>
                      <a:pt x="32" y="52"/>
                    </a:cubicBezTo>
                    <a:cubicBezTo>
                      <a:pt x="33" y="50"/>
                      <a:pt x="35" y="50"/>
                      <a:pt x="37" y="50"/>
                    </a:cubicBezTo>
                    <a:cubicBezTo>
                      <a:pt x="41" y="48"/>
                      <a:pt x="45" y="43"/>
                      <a:pt x="46" y="4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8" name="Freeform 149"/>
              <p:cNvSpPr>
                <a:spLocks/>
              </p:cNvSpPr>
              <p:nvPr/>
            </p:nvSpPr>
            <p:spPr bwMode="auto">
              <a:xfrm>
                <a:off x="2986088" y="3860800"/>
                <a:ext cx="9525" cy="3175"/>
              </a:xfrm>
              <a:custGeom>
                <a:avLst/>
                <a:gdLst>
                  <a:gd name="T0" fmla="*/ 6 w 13"/>
                  <a:gd name="T1" fmla="*/ 5 h 5"/>
                  <a:gd name="T2" fmla="*/ 11 w 13"/>
                  <a:gd name="T3" fmla="*/ 3 h 5"/>
                  <a:gd name="T4" fmla="*/ 8 w 13"/>
                  <a:gd name="T5" fmla="*/ 0 h 5"/>
                  <a:gd name="T6" fmla="*/ 2 w 13"/>
                  <a:gd name="T7" fmla="*/ 2 h 5"/>
                  <a:gd name="T8" fmla="*/ 6 w 13"/>
                  <a:gd name="T9" fmla="*/ 5 h 5"/>
                </a:gdLst>
                <a:ahLst/>
                <a:cxnLst>
                  <a:cxn ang="0">
                    <a:pos x="T0" y="T1"/>
                  </a:cxn>
                  <a:cxn ang="0">
                    <a:pos x="T2" y="T3"/>
                  </a:cxn>
                  <a:cxn ang="0">
                    <a:pos x="T4" y="T5"/>
                  </a:cxn>
                  <a:cxn ang="0">
                    <a:pos x="T6" y="T7"/>
                  </a:cxn>
                  <a:cxn ang="0">
                    <a:pos x="T8" y="T9"/>
                  </a:cxn>
                </a:cxnLst>
                <a:rect l="0" t="0" r="r" b="b"/>
                <a:pathLst>
                  <a:path w="13" h="5">
                    <a:moveTo>
                      <a:pt x="6" y="5"/>
                    </a:moveTo>
                    <a:cubicBezTo>
                      <a:pt x="7" y="5"/>
                      <a:pt x="10" y="4"/>
                      <a:pt x="11" y="3"/>
                    </a:cubicBezTo>
                    <a:cubicBezTo>
                      <a:pt x="13" y="0"/>
                      <a:pt x="10" y="0"/>
                      <a:pt x="8" y="0"/>
                    </a:cubicBezTo>
                    <a:cubicBezTo>
                      <a:pt x="5" y="0"/>
                      <a:pt x="3" y="0"/>
                      <a:pt x="2" y="2"/>
                    </a:cubicBezTo>
                    <a:cubicBezTo>
                      <a:pt x="0" y="4"/>
                      <a:pt x="3" y="5"/>
                      <a:pt x="6"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39" name="Freeform 150"/>
              <p:cNvSpPr>
                <a:spLocks/>
              </p:cNvSpPr>
              <p:nvPr/>
            </p:nvSpPr>
            <p:spPr bwMode="auto">
              <a:xfrm>
                <a:off x="2940051" y="3937000"/>
                <a:ext cx="9525" cy="4763"/>
              </a:xfrm>
              <a:custGeom>
                <a:avLst/>
                <a:gdLst>
                  <a:gd name="T0" fmla="*/ 8 w 11"/>
                  <a:gd name="T1" fmla="*/ 2 h 8"/>
                  <a:gd name="T2" fmla="*/ 3 w 11"/>
                  <a:gd name="T3" fmla="*/ 6 h 8"/>
                  <a:gd name="T4" fmla="*/ 8 w 11"/>
                  <a:gd name="T5" fmla="*/ 2 h 8"/>
                </a:gdLst>
                <a:ahLst/>
                <a:cxnLst>
                  <a:cxn ang="0">
                    <a:pos x="T0" y="T1"/>
                  </a:cxn>
                  <a:cxn ang="0">
                    <a:pos x="T2" y="T3"/>
                  </a:cxn>
                  <a:cxn ang="0">
                    <a:pos x="T4" y="T5"/>
                  </a:cxn>
                </a:cxnLst>
                <a:rect l="0" t="0" r="r" b="b"/>
                <a:pathLst>
                  <a:path w="11" h="8">
                    <a:moveTo>
                      <a:pt x="8" y="2"/>
                    </a:moveTo>
                    <a:cubicBezTo>
                      <a:pt x="7" y="0"/>
                      <a:pt x="0" y="3"/>
                      <a:pt x="3" y="6"/>
                    </a:cubicBezTo>
                    <a:cubicBezTo>
                      <a:pt x="5" y="8"/>
                      <a:pt x="11" y="2"/>
                      <a:pt x="8"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0" name="Freeform 151"/>
              <p:cNvSpPr>
                <a:spLocks/>
              </p:cNvSpPr>
              <p:nvPr/>
            </p:nvSpPr>
            <p:spPr bwMode="auto">
              <a:xfrm>
                <a:off x="2879726" y="3933825"/>
                <a:ext cx="100013" cy="90488"/>
              </a:xfrm>
              <a:custGeom>
                <a:avLst/>
                <a:gdLst>
                  <a:gd name="T0" fmla="*/ 108 w 132"/>
                  <a:gd name="T1" fmla="*/ 54 h 120"/>
                  <a:gd name="T2" fmla="*/ 106 w 132"/>
                  <a:gd name="T3" fmla="*/ 40 h 120"/>
                  <a:gd name="T4" fmla="*/ 105 w 132"/>
                  <a:gd name="T5" fmla="*/ 31 h 120"/>
                  <a:gd name="T6" fmla="*/ 105 w 132"/>
                  <a:gd name="T7" fmla="*/ 19 h 120"/>
                  <a:gd name="T8" fmla="*/ 108 w 132"/>
                  <a:gd name="T9" fmla="*/ 14 h 120"/>
                  <a:gd name="T10" fmla="*/ 111 w 132"/>
                  <a:gd name="T11" fmla="*/ 1 h 120"/>
                  <a:gd name="T12" fmla="*/ 95 w 132"/>
                  <a:gd name="T13" fmla="*/ 6 h 120"/>
                  <a:gd name="T14" fmla="*/ 103 w 132"/>
                  <a:gd name="T15" fmla="*/ 13 h 120"/>
                  <a:gd name="T16" fmla="*/ 98 w 132"/>
                  <a:gd name="T17" fmla="*/ 15 h 120"/>
                  <a:gd name="T18" fmla="*/ 86 w 132"/>
                  <a:gd name="T19" fmla="*/ 13 h 120"/>
                  <a:gd name="T20" fmla="*/ 84 w 132"/>
                  <a:gd name="T21" fmla="*/ 29 h 120"/>
                  <a:gd name="T22" fmla="*/ 84 w 132"/>
                  <a:gd name="T23" fmla="*/ 44 h 120"/>
                  <a:gd name="T24" fmla="*/ 79 w 132"/>
                  <a:gd name="T25" fmla="*/ 44 h 120"/>
                  <a:gd name="T26" fmla="*/ 78 w 132"/>
                  <a:gd name="T27" fmla="*/ 31 h 120"/>
                  <a:gd name="T28" fmla="*/ 66 w 132"/>
                  <a:gd name="T29" fmla="*/ 20 h 120"/>
                  <a:gd name="T30" fmla="*/ 64 w 132"/>
                  <a:gd name="T31" fmla="*/ 30 h 120"/>
                  <a:gd name="T32" fmla="*/ 58 w 132"/>
                  <a:gd name="T33" fmla="*/ 31 h 120"/>
                  <a:gd name="T34" fmla="*/ 45 w 132"/>
                  <a:gd name="T35" fmla="*/ 26 h 120"/>
                  <a:gd name="T36" fmla="*/ 37 w 132"/>
                  <a:gd name="T37" fmla="*/ 34 h 120"/>
                  <a:gd name="T38" fmla="*/ 43 w 132"/>
                  <a:gd name="T39" fmla="*/ 20 h 120"/>
                  <a:gd name="T40" fmla="*/ 35 w 132"/>
                  <a:gd name="T41" fmla="*/ 21 h 120"/>
                  <a:gd name="T42" fmla="*/ 13 w 132"/>
                  <a:gd name="T43" fmla="*/ 37 h 120"/>
                  <a:gd name="T44" fmla="*/ 8 w 132"/>
                  <a:gd name="T45" fmla="*/ 45 h 120"/>
                  <a:gd name="T46" fmla="*/ 3 w 132"/>
                  <a:gd name="T47" fmla="*/ 61 h 120"/>
                  <a:gd name="T48" fmla="*/ 20 w 132"/>
                  <a:gd name="T49" fmla="*/ 60 h 120"/>
                  <a:gd name="T50" fmla="*/ 4 w 132"/>
                  <a:gd name="T51" fmla="*/ 71 h 120"/>
                  <a:gd name="T52" fmla="*/ 21 w 132"/>
                  <a:gd name="T53" fmla="*/ 77 h 120"/>
                  <a:gd name="T54" fmla="*/ 44 w 132"/>
                  <a:gd name="T55" fmla="*/ 80 h 120"/>
                  <a:gd name="T56" fmla="*/ 25 w 132"/>
                  <a:gd name="T57" fmla="*/ 83 h 120"/>
                  <a:gd name="T58" fmla="*/ 12 w 132"/>
                  <a:gd name="T59" fmla="*/ 101 h 120"/>
                  <a:gd name="T60" fmla="*/ 30 w 132"/>
                  <a:gd name="T61" fmla="*/ 110 h 120"/>
                  <a:gd name="T62" fmla="*/ 59 w 132"/>
                  <a:gd name="T63" fmla="*/ 111 h 120"/>
                  <a:gd name="T64" fmla="*/ 73 w 132"/>
                  <a:gd name="T65" fmla="*/ 104 h 120"/>
                  <a:gd name="T66" fmla="*/ 85 w 132"/>
                  <a:gd name="T67" fmla="*/ 93 h 120"/>
                  <a:gd name="T68" fmla="*/ 95 w 132"/>
                  <a:gd name="T69" fmla="*/ 98 h 120"/>
                  <a:gd name="T70" fmla="*/ 110 w 132"/>
                  <a:gd name="T71" fmla="*/ 101 h 120"/>
                  <a:gd name="T72" fmla="*/ 120 w 132"/>
                  <a:gd name="T73" fmla="*/ 88 h 120"/>
                  <a:gd name="T74" fmla="*/ 117 w 132"/>
                  <a:gd name="T75" fmla="*/ 84 h 120"/>
                  <a:gd name="T76" fmla="*/ 127 w 132"/>
                  <a:gd name="T77" fmla="*/ 82 h 120"/>
                  <a:gd name="T78" fmla="*/ 128 w 132"/>
                  <a:gd name="T79" fmla="*/ 72 h 120"/>
                  <a:gd name="T80" fmla="*/ 111 w 132"/>
                  <a:gd name="T81" fmla="*/ 6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2" h="120">
                    <a:moveTo>
                      <a:pt x="111" y="62"/>
                    </a:moveTo>
                    <a:cubicBezTo>
                      <a:pt x="110" y="59"/>
                      <a:pt x="109" y="57"/>
                      <a:pt x="108" y="54"/>
                    </a:cubicBezTo>
                    <a:cubicBezTo>
                      <a:pt x="107" y="52"/>
                      <a:pt x="109" y="49"/>
                      <a:pt x="109" y="46"/>
                    </a:cubicBezTo>
                    <a:cubicBezTo>
                      <a:pt x="108" y="44"/>
                      <a:pt x="106" y="43"/>
                      <a:pt x="106" y="40"/>
                    </a:cubicBezTo>
                    <a:cubicBezTo>
                      <a:pt x="106" y="38"/>
                      <a:pt x="106" y="37"/>
                      <a:pt x="106" y="36"/>
                    </a:cubicBezTo>
                    <a:cubicBezTo>
                      <a:pt x="106" y="34"/>
                      <a:pt x="105" y="33"/>
                      <a:pt x="105" y="31"/>
                    </a:cubicBezTo>
                    <a:cubicBezTo>
                      <a:pt x="105" y="28"/>
                      <a:pt x="106" y="26"/>
                      <a:pt x="106" y="24"/>
                    </a:cubicBezTo>
                    <a:cubicBezTo>
                      <a:pt x="106" y="22"/>
                      <a:pt x="104" y="21"/>
                      <a:pt x="105" y="19"/>
                    </a:cubicBezTo>
                    <a:cubicBezTo>
                      <a:pt x="105" y="18"/>
                      <a:pt x="107" y="17"/>
                      <a:pt x="107" y="16"/>
                    </a:cubicBezTo>
                    <a:cubicBezTo>
                      <a:pt x="108" y="15"/>
                      <a:pt x="108" y="15"/>
                      <a:pt x="108" y="14"/>
                    </a:cubicBezTo>
                    <a:cubicBezTo>
                      <a:pt x="108" y="12"/>
                      <a:pt x="111" y="12"/>
                      <a:pt x="112" y="10"/>
                    </a:cubicBezTo>
                    <a:cubicBezTo>
                      <a:pt x="112" y="7"/>
                      <a:pt x="114" y="2"/>
                      <a:pt x="111" y="1"/>
                    </a:cubicBezTo>
                    <a:cubicBezTo>
                      <a:pt x="108" y="0"/>
                      <a:pt x="103" y="1"/>
                      <a:pt x="100" y="2"/>
                    </a:cubicBezTo>
                    <a:cubicBezTo>
                      <a:pt x="97" y="2"/>
                      <a:pt x="96" y="4"/>
                      <a:pt x="95" y="6"/>
                    </a:cubicBezTo>
                    <a:cubicBezTo>
                      <a:pt x="94" y="8"/>
                      <a:pt x="97" y="8"/>
                      <a:pt x="98" y="9"/>
                    </a:cubicBezTo>
                    <a:cubicBezTo>
                      <a:pt x="100" y="10"/>
                      <a:pt x="102" y="11"/>
                      <a:pt x="103" y="13"/>
                    </a:cubicBezTo>
                    <a:cubicBezTo>
                      <a:pt x="103" y="14"/>
                      <a:pt x="105" y="19"/>
                      <a:pt x="102" y="19"/>
                    </a:cubicBezTo>
                    <a:cubicBezTo>
                      <a:pt x="100" y="19"/>
                      <a:pt x="100" y="16"/>
                      <a:pt x="98" y="15"/>
                    </a:cubicBezTo>
                    <a:cubicBezTo>
                      <a:pt x="96" y="14"/>
                      <a:pt x="93" y="15"/>
                      <a:pt x="91" y="14"/>
                    </a:cubicBezTo>
                    <a:cubicBezTo>
                      <a:pt x="90" y="13"/>
                      <a:pt x="89" y="12"/>
                      <a:pt x="86" y="13"/>
                    </a:cubicBezTo>
                    <a:cubicBezTo>
                      <a:pt x="84" y="14"/>
                      <a:pt x="84" y="17"/>
                      <a:pt x="84" y="18"/>
                    </a:cubicBezTo>
                    <a:cubicBezTo>
                      <a:pt x="84" y="22"/>
                      <a:pt x="84" y="26"/>
                      <a:pt x="84" y="29"/>
                    </a:cubicBezTo>
                    <a:cubicBezTo>
                      <a:pt x="85" y="32"/>
                      <a:pt x="84" y="34"/>
                      <a:pt x="85" y="37"/>
                    </a:cubicBezTo>
                    <a:cubicBezTo>
                      <a:pt x="85" y="39"/>
                      <a:pt x="86" y="41"/>
                      <a:pt x="84" y="44"/>
                    </a:cubicBezTo>
                    <a:cubicBezTo>
                      <a:pt x="83" y="45"/>
                      <a:pt x="81" y="46"/>
                      <a:pt x="80" y="46"/>
                    </a:cubicBezTo>
                    <a:cubicBezTo>
                      <a:pt x="80" y="45"/>
                      <a:pt x="79" y="44"/>
                      <a:pt x="79" y="44"/>
                    </a:cubicBezTo>
                    <a:cubicBezTo>
                      <a:pt x="79" y="42"/>
                      <a:pt x="79" y="41"/>
                      <a:pt x="79" y="40"/>
                    </a:cubicBezTo>
                    <a:cubicBezTo>
                      <a:pt x="79" y="37"/>
                      <a:pt x="78" y="34"/>
                      <a:pt x="78" y="31"/>
                    </a:cubicBezTo>
                    <a:cubicBezTo>
                      <a:pt x="78" y="27"/>
                      <a:pt x="77" y="22"/>
                      <a:pt x="73" y="20"/>
                    </a:cubicBezTo>
                    <a:cubicBezTo>
                      <a:pt x="72" y="20"/>
                      <a:pt x="65" y="18"/>
                      <a:pt x="66" y="20"/>
                    </a:cubicBezTo>
                    <a:cubicBezTo>
                      <a:pt x="66" y="23"/>
                      <a:pt x="69" y="25"/>
                      <a:pt x="68" y="28"/>
                    </a:cubicBezTo>
                    <a:cubicBezTo>
                      <a:pt x="68" y="29"/>
                      <a:pt x="65" y="30"/>
                      <a:pt x="64" y="30"/>
                    </a:cubicBezTo>
                    <a:cubicBezTo>
                      <a:pt x="62" y="30"/>
                      <a:pt x="61" y="31"/>
                      <a:pt x="59" y="33"/>
                    </a:cubicBezTo>
                    <a:cubicBezTo>
                      <a:pt x="55" y="37"/>
                      <a:pt x="57" y="33"/>
                      <a:pt x="58" y="31"/>
                    </a:cubicBezTo>
                    <a:cubicBezTo>
                      <a:pt x="60" y="27"/>
                      <a:pt x="58" y="25"/>
                      <a:pt x="55" y="24"/>
                    </a:cubicBezTo>
                    <a:cubicBezTo>
                      <a:pt x="53" y="23"/>
                      <a:pt x="47" y="22"/>
                      <a:pt x="45" y="26"/>
                    </a:cubicBezTo>
                    <a:cubicBezTo>
                      <a:pt x="44" y="27"/>
                      <a:pt x="44" y="29"/>
                      <a:pt x="43" y="31"/>
                    </a:cubicBezTo>
                    <a:cubicBezTo>
                      <a:pt x="41" y="32"/>
                      <a:pt x="39" y="33"/>
                      <a:pt x="37" y="34"/>
                    </a:cubicBezTo>
                    <a:cubicBezTo>
                      <a:pt x="31" y="35"/>
                      <a:pt x="41" y="27"/>
                      <a:pt x="42" y="25"/>
                    </a:cubicBezTo>
                    <a:cubicBezTo>
                      <a:pt x="42" y="23"/>
                      <a:pt x="44" y="22"/>
                      <a:pt x="43" y="20"/>
                    </a:cubicBezTo>
                    <a:cubicBezTo>
                      <a:pt x="43" y="18"/>
                      <a:pt x="42" y="16"/>
                      <a:pt x="39" y="17"/>
                    </a:cubicBezTo>
                    <a:cubicBezTo>
                      <a:pt x="38" y="18"/>
                      <a:pt x="36" y="20"/>
                      <a:pt x="35" y="21"/>
                    </a:cubicBezTo>
                    <a:cubicBezTo>
                      <a:pt x="32" y="24"/>
                      <a:pt x="29" y="25"/>
                      <a:pt x="26" y="27"/>
                    </a:cubicBezTo>
                    <a:cubicBezTo>
                      <a:pt x="21" y="29"/>
                      <a:pt x="16" y="34"/>
                      <a:pt x="13" y="37"/>
                    </a:cubicBezTo>
                    <a:cubicBezTo>
                      <a:pt x="10" y="39"/>
                      <a:pt x="7" y="41"/>
                      <a:pt x="6" y="43"/>
                    </a:cubicBezTo>
                    <a:cubicBezTo>
                      <a:pt x="4" y="46"/>
                      <a:pt x="7" y="45"/>
                      <a:pt x="8" y="45"/>
                    </a:cubicBezTo>
                    <a:cubicBezTo>
                      <a:pt x="13" y="44"/>
                      <a:pt x="5" y="50"/>
                      <a:pt x="4" y="50"/>
                    </a:cubicBezTo>
                    <a:cubicBezTo>
                      <a:pt x="1" y="53"/>
                      <a:pt x="1" y="59"/>
                      <a:pt x="3" y="61"/>
                    </a:cubicBezTo>
                    <a:cubicBezTo>
                      <a:pt x="5" y="62"/>
                      <a:pt x="10" y="63"/>
                      <a:pt x="13" y="62"/>
                    </a:cubicBezTo>
                    <a:cubicBezTo>
                      <a:pt x="15" y="62"/>
                      <a:pt x="17" y="60"/>
                      <a:pt x="20" y="60"/>
                    </a:cubicBezTo>
                    <a:cubicBezTo>
                      <a:pt x="24" y="59"/>
                      <a:pt x="18" y="63"/>
                      <a:pt x="17" y="63"/>
                    </a:cubicBezTo>
                    <a:cubicBezTo>
                      <a:pt x="14" y="65"/>
                      <a:pt x="5" y="67"/>
                      <a:pt x="4" y="71"/>
                    </a:cubicBezTo>
                    <a:cubicBezTo>
                      <a:pt x="4" y="74"/>
                      <a:pt x="6" y="78"/>
                      <a:pt x="8" y="80"/>
                    </a:cubicBezTo>
                    <a:cubicBezTo>
                      <a:pt x="11" y="83"/>
                      <a:pt x="16" y="79"/>
                      <a:pt x="21" y="77"/>
                    </a:cubicBezTo>
                    <a:cubicBezTo>
                      <a:pt x="27" y="75"/>
                      <a:pt x="32" y="76"/>
                      <a:pt x="39" y="76"/>
                    </a:cubicBezTo>
                    <a:cubicBezTo>
                      <a:pt x="40" y="76"/>
                      <a:pt x="50" y="77"/>
                      <a:pt x="44" y="80"/>
                    </a:cubicBezTo>
                    <a:cubicBezTo>
                      <a:pt x="43" y="81"/>
                      <a:pt x="39" y="81"/>
                      <a:pt x="37" y="81"/>
                    </a:cubicBezTo>
                    <a:cubicBezTo>
                      <a:pt x="33" y="82"/>
                      <a:pt x="29" y="83"/>
                      <a:pt x="25" y="83"/>
                    </a:cubicBezTo>
                    <a:cubicBezTo>
                      <a:pt x="21" y="84"/>
                      <a:pt x="0" y="89"/>
                      <a:pt x="6" y="96"/>
                    </a:cubicBezTo>
                    <a:cubicBezTo>
                      <a:pt x="8" y="98"/>
                      <a:pt x="10" y="99"/>
                      <a:pt x="12" y="101"/>
                    </a:cubicBezTo>
                    <a:cubicBezTo>
                      <a:pt x="14" y="105"/>
                      <a:pt x="19" y="105"/>
                      <a:pt x="24" y="103"/>
                    </a:cubicBezTo>
                    <a:cubicBezTo>
                      <a:pt x="30" y="102"/>
                      <a:pt x="30" y="104"/>
                      <a:pt x="30" y="110"/>
                    </a:cubicBezTo>
                    <a:cubicBezTo>
                      <a:pt x="30" y="115"/>
                      <a:pt x="33" y="120"/>
                      <a:pt x="39" y="117"/>
                    </a:cubicBezTo>
                    <a:cubicBezTo>
                      <a:pt x="46" y="114"/>
                      <a:pt x="53" y="114"/>
                      <a:pt x="59" y="111"/>
                    </a:cubicBezTo>
                    <a:cubicBezTo>
                      <a:pt x="61" y="110"/>
                      <a:pt x="64" y="109"/>
                      <a:pt x="66" y="108"/>
                    </a:cubicBezTo>
                    <a:cubicBezTo>
                      <a:pt x="69" y="106"/>
                      <a:pt x="70" y="104"/>
                      <a:pt x="73" y="104"/>
                    </a:cubicBezTo>
                    <a:cubicBezTo>
                      <a:pt x="79" y="103"/>
                      <a:pt x="80" y="101"/>
                      <a:pt x="81" y="96"/>
                    </a:cubicBezTo>
                    <a:cubicBezTo>
                      <a:pt x="81" y="94"/>
                      <a:pt x="84" y="88"/>
                      <a:pt x="85" y="93"/>
                    </a:cubicBezTo>
                    <a:cubicBezTo>
                      <a:pt x="86" y="95"/>
                      <a:pt x="86" y="98"/>
                      <a:pt x="89" y="98"/>
                    </a:cubicBezTo>
                    <a:cubicBezTo>
                      <a:pt x="91" y="98"/>
                      <a:pt x="93" y="97"/>
                      <a:pt x="95" y="98"/>
                    </a:cubicBezTo>
                    <a:cubicBezTo>
                      <a:pt x="97" y="98"/>
                      <a:pt x="97" y="99"/>
                      <a:pt x="98" y="101"/>
                    </a:cubicBezTo>
                    <a:cubicBezTo>
                      <a:pt x="100" y="103"/>
                      <a:pt x="107" y="101"/>
                      <a:pt x="110" y="101"/>
                    </a:cubicBezTo>
                    <a:cubicBezTo>
                      <a:pt x="116" y="101"/>
                      <a:pt x="118" y="99"/>
                      <a:pt x="122" y="96"/>
                    </a:cubicBezTo>
                    <a:cubicBezTo>
                      <a:pt x="124" y="94"/>
                      <a:pt x="122" y="89"/>
                      <a:pt x="120" y="88"/>
                    </a:cubicBezTo>
                    <a:cubicBezTo>
                      <a:pt x="118" y="88"/>
                      <a:pt x="117" y="89"/>
                      <a:pt x="115" y="88"/>
                    </a:cubicBezTo>
                    <a:cubicBezTo>
                      <a:pt x="114" y="87"/>
                      <a:pt x="114" y="85"/>
                      <a:pt x="117" y="84"/>
                    </a:cubicBezTo>
                    <a:cubicBezTo>
                      <a:pt x="120" y="83"/>
                      <a:pt x="120" y="81"/>
                      <a:pt x="123" y="80"/>
                    </a:cubicBezTo>
                    <a:cubicBezTo>
                      <a:pt x="124" y="79"/>
                      <a:pt x="125" y="83"/>
                      <a:pt x="127" y="82"/>
                    </a:cubicBezTo>
                    <a:cubicBezTo>
                      <a:pt x="129" y="82"/>
                      <a:pt x="130" y="80"/>
                      <a:pt x="130" y="78"/>
                    </a:cubicBezTo>
                    <a:cubicBezTo>
                      <a:pt x="132" y="75"/>
                      <a:pt x="130" y="74"/>
                      <a:pt x="128" y="72"/>
                    </a:cubicBezTo>
                    <a:cubicBezTo>
                      <a:pt x="126" y="68"/>
                      <a:pt x="127" y="64"/>
                      <a:pt x="121" y="64"/>
                    </a:cubicBezTo>
                    <a:cubicBezTo>
                      <a:pt x="117" y="64"/>
                      <a:pt x="112" y="65"/>
                      <a:pt x="111" y="6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1" name="Freeform 152"/>
              <p:cNvSpPr>
                <a:spLocks/>
              </p:cNvSpPr>
              <p:nvPr/>
            </p:nvSpPr>
            <p:spPr bwMode="auto">
              <a:xfrm>
                <a:off x="3541713" y="4310063"/>
                <a:ext cx="3175" cy="1588"/>
              </a:xfrm>
              <a:custGeom>
                <a:avLst/>
                <a:gdLst>
                  <a:gd name="T0" fmla="*/ 2 w 4"/>
                  <a:gd name="T1" fmla="*/ 2 h 4"/>
                  <a:gd name="T2" fmla="*/ 0 w 4"/>
                  <a:gd name="T3" fmla="*/ 3 h 4"/>
                  <a:gd name="T4" fmla="*/ 0 w 4"/>
                  <a:gd name="T5" fmla="*/ 4 h 4"/>
                  <a:gd name="T6" fmla="*/ 4 w 4"/>
                  <a:gd name="T7" fmla="*/ 1 h 4"/>
                  <a:gd name="T8" fmla="*/ 3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cubicBezTo>
                      <a:pt x="1" y="3"/>
                      <a:pt x="1" y="2"/>
                      <a:pt x="0" y="3"/>
                    </a:cubicBezTo>
                    <a:cubicBezTo>
                      <a:pt x="0" y="3"/>
                      <a:pt x="0" y="4"/>
                      <a:pt x="0" y="4"/>
                    </a:cubicBezTo>
                    <a:cubicBezTo>
                      <a:pt x="1" y="3"/>
                      <a:pt x="3" y="2"/>
                      <a:pt x="4" y="1"/>
                    </a:cubicBezTo>
                    <a:cubicBezTo>
                      <a:pt x="4" y="0"/>
                      <a:pt x="4" y="0"/>
                      <a:pt x="3" y="0"/>
                    </a:cubicBezTo>
                    <a:cubicBezTo>
                      <a:pt x="2" y="0"/>
                      <a:pt x="2" y="1"/>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2" name="Freeform 153"/>
              <p:cNvSpPr>
                <a:spLocks/>
              </p:cNvSpPr>
              <p:nvPr/>
            </p:nvSpPr>
            <p:spPr bwMode="auto">
              <a:xfrm>
                <a:off x="3530601" y="4316413"/>
                <a:ext cx="1588" cy="3175"/>
              </a:xfrm>
              <a:custGeom>
                <a:avLst/>
                <a:gdLst>
                  <a:gd name="T0" fmla="*/ 0 w 2"/>
                  <a:gd name="T1" fmla="*/ 3 h 3"/>
                  <a:gd name="T2" fmla="*/ 2 w 2"/>
                  <a:gd name="T3" fmla="*/ 2 h 3"/>
                  <a:gd name="T4" fmla="*/ 0 w 2"/>
                  <a:gd name="T5" fmla="*/ 3 h 3"/>
                </a:gdLst>
                <a:ahLst/>
                <a:cxnLst>
                  <a:cxn ang="0">
                    <a:pos x="T0" y="T1"/>
                  </a:cxn>
                  <a:cxn ang="0">
                    <a:pos x="T2" y="T3"/>
                  </a:cxn>
                  <a:cxn ang="0">
                    <a:pos x="T4" y="T5"/>
                  </a:cxn>
                </a:cxnLst>
                <a:rect l="0" t="0" r="r" b="b"/>
                <a:pathLst>
                  <a:path w="2" h="3">
                    <a:moveTo>
                      <a:pt x="0" y="3"/>
                    </a:moveTo>
                    <a:cubicBezTo>
                      <a:pt x="0" y="2"/>
                      <a:pt x="1" y="2"/>
                      <a:pt x="2" y="2"/>
                    </a:cubicBezTo>
                    <a:cubicBezTo>
                      <a:pt x="1" y="0"/>
                      <a:pt x="0" y="1"/>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3" name="Freeform 154"/>
              <p:cNvSpPr>
                <a:spLocks/>
              </p:cNvSpPr>
              <p:nvPr/>
            </p:nvSpPr>
            <p:spPr bwMode="auto">
              <a:xfrm>
                <a:off x="3543301" y="3933825"/>
                <a:ext cx="3175" cy="4763"/>
              </a:xfrm>
              <a:custGeom>
                <a:avLst/>
                <a:gdLst>
                  <a:gd name="T0" fmla="*/ 3 w 4"/>
                  <a:gd name="T1" fmla="*/ 3 h 6"/>
                  <a:gd name="T2" fmla="*/ 0 w 4"/>
                  <a:gd name="T3" fmla="*/ 0 h 6"/>
                  <a:gd name="T4" fmla="*/ 3 w 4"/>
                  <a:gd name="T5" fmla="*/ 4 h 6"/>
                  <a:gd name="T6" fmla="*/ 3 w 4"/>
                  <a:gd name="T7" fmla="*/ 3 h 6"/>
                </a:gdLst>
                <a:ahLst/>
                <a:cxnLst>
                  <a:cxn ang="0">
                    <a:pos x="T0" y="T1"/>
                  </a:cxn>
                  <a:cxn ang="0">
                    <a:pos x="T2" y="T3"/>
                  </a:cxn>
                  <a:cxn ang="0">
                    <a:pos x="T4" y="T5"/>
                  </a:cxn>
                  <a:cxn ang="0">
                    <a:pos x="T6" y="T7"/>
                  </a:cxn>
                </a:cxnLst>
                <a:rect l="0" t="0" r="r" b="b"/>
                <a:pathLst>
                  <a:path w="4" h="6">
                    <a:moveTo>
                      <a:pt x="3" y="3"/>
                    </a:moveTo>
                    <a:cubicBezTo>
                      <a:pt x="2" y="2"/>
                      <a:pt x="1" y="1"/>
                      <a:pt x="0" y="0"/>
                    </a:cubicBezTo>
                    <a:cubicBezTo>
                      <a:pt x="0" y="2"/>
                      <a:pt x="1" y="2"/>
                      <a:pt x="3" y="4"/>
                    </a:cubicBezTo>
                    <a:cubicBezTo>
                      <a:pt x="4" y="6"/>
                      <a:pt x="3" y="4"/>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4" name="Freeform 155"/>
              <p:cNvSpPr>
                <a:spLocks/>
              </p:cNvSpPr>
              <p:nvPr/>
            </p:nvSpPr>
            <p:spPr bwMode="auto">
              <a:xfrm>
                <a:off x="3530601" y="3930650"/>
                <a:ext cx="14288" cy="26988"/>
              </a:xfrm>
              <a:custGeom>
                <a:avLst/>
                <a:gdLst>
                  <a:gd name="T0" fmla="*/ 12 w 20"/>
                  <a:gd name="T1" fmla="*/ 19 h 36"/>
                  <a:gd name="T2" fmla="*/ 11 w 20"/>
                  <a:gd name="T3" fmla="*/ 13 h 36"/>
                  <a:gd name="T4" fmla="*/ 8 w 20"/>
                  <a:gd name="T5" fmla="*/ 11 h 36"/>
                  <a:gd name="T6" fmla="*/ 7 w 20"/>
                  <a:gd name="T7" fmla="*/ 8 h 36"/>
                  <a:gd name="T8" fmla="*/ 5 w 20"/>
                  <a:gd name="T9" fmla="*/ 3 h 36"/>
                  <a:gd name="T10" fmla="*/ 2 w 20"/>
                  <a:gd name="T11" fmla="*/ 1 h 36"/>
                  <a:gd name="T12" fmla="*/ 0 w 20"/>
                  <a:gd name="T13" fmla="*/ 4 h 36"/>
                  <a:gd name="T14" fmla="*/ 4 w 20"/>
                  <a:gd name="T15" fmla="*/ 8 h 36"/>
                  <a:gd name="T16" fmla="*/ 4 w 20"/>
                  <a:gd name="T17" fmla="*/ 10 h 36"/>
                  <a:gd name="T18" fmla="*/ 5 w 20"/>
                  <a:gd name="T19" fmla="*/ 14 h 36"/>
                  <a:gd name="T20" fmla="*/ 7 w 20"/>
                  <a:gd name="T21" fmla="*/ 21 h 36"/>
                  <a:gd name="T22" fmla="*/ 9 w 20"/>
                  <a:gd name="T23" fmla="*/ 26 h 36"/>
                  <a:gd name="T24" fmla="*/ 12 w 20"/>
                  <a:gd name="T25" fmla="*/ 28 h 36"/>
                  <a:gd name="T26" fmla="*/ 16 w 20"/>
                  <a:gd name="T27" fmla="*/ 34 h 36"/>
                  <a:gd name="T28" fmla="*/ 18 w 20"/>
                  <a:gd name="T29" fmla="*/ 35 h 36"/>
                  <a:gd name="T30" fmla="*/ 18 w 20"/>
                  <a:gd name="T31" fmla="*/ 32 h 36"/>
                  <a:gd name="T32" fmla="*/ 18 w 20"/>
                  <a:gd name="T33" fmla="*/ 29 h 36"/>
                  <a:gd name="T34" fmla="*/ 19 w 20"/>
                  <a:gd name="T35" fmla="*/ 26 h 36"/>
                  <a:gd name="T36" fmla="*/ 12 w 20"/>
                  <a:gd name="T37"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6">
                    <a:moveTo>
                      <a:pt x="12" y="19"/>
                    </a:moveTo>
                    <a:cubicBezTo>
                      <a:pt x="11" y="16"/>
                      <a:pt x="13" y="16"/>
                      <a:pt x="11" y="13"/>
                    </a:cubicBezTo>
                    <a:cubicBezTo>
                      <a:pt x="10" y="11"/>
                      <a:pt x="8" y="11"/>
                      <a:pt x="8" y="11"/>
                    </a:cubicBezTo>
                    <a:cubicBezTo>
                      <a:pt x="6" y="10"/>
                      <a:pt x="6" y="9"/>
                      <a:pt x="7" y="8"/>
                    </a:cubicBezTo>
                    <a:cubicBezTo>
                      <a:pt x="7" y="7"/>
                      <a:pt x="6" y="5"/>
                      <a:pt x="5" y="3"/>
                    </a:cubicBezTo>
                    <a:cubicBezTo>
                      <a:pt x="5" y="1"/>
                      <a:pt x="3" y="0"/>
                      <a:pt x="2" y="1"/>
                    </a:cubicBezTo>
                    <a:cubicBezTo>
                      <a:pt x="2" y="2"/>
                      <a:pt x="0" y="2"/>
                      <a:pt x="0" y="4"/>
                    </a:cubicBezTo>
                    <a:cubicBezTo>
                      <a:pt x="1" y="6"/>
                      <a:pt x="3" y="6"/>
                      <a:pt x="4" y="8"/>
                    </a:cubicBezTo>
                    <a:cubicBezTo>
                      <a:pt x="5" y="9"/>
                      <a:pt x="4" y="10"/>
                      <a:pt x="4" y="10"/>
                    </a:cubicBezTo>
                    <a:cubicBezTo>
                      <a:pt x="4" y="11"/>
                      <a:pt x="4" y="12"/>
                      <a:pt x="5" y="14"/>
                    </a:cubicBezTo>
                    <a:cubicBezTo>
                      <a:pt x="7" y="17"/>
                      <a:pt x="7" y="18"/>
                      <a:pt x="7" y="21"/>
                    </a:cubicBezTo>
                    <a:cubicBezTo>
                      <a:pt x="7" y="22"/>
                      <a:pt x="7" y="25"/>
                      <a:pt x="9" y="26"/>
                    </a:cubicBezTo>
                    <a:cubicBezTo>
                      <a:pt x="10" y="28"/>
                      <a:pt x="11" y="28"/>
                      <a:pt x="12" y="28"/>
                    </a:cubicBezTo>
                    <a:cubicBezTo>
                      <a:pt x="15" y="30"/>
                      <a:pt x="14" y="32"/>
                      <a:pt x="16" y="34"/>
                    </a:cubicBezTo>
                    <a:cubicBezTo>
                      <a:pt x="16" y="36"/>
                      <a:pt x="18" y="36"/>
                      <a:pt x="18" y="35"/>
                    </a:cubicBezTo>
                    <a:cubicBezTo>
                      <a:pt x="18" y="34"/>
                      <a:pt x="18" y="33"/>
                      <a:pt x="18" y="32"/>
                    </a:cubicBezTo>
                    <a:cubicBezTo>
                      <a:pt x="18" y="31"/>
                      <a:pt x="17" y="30"/>
                      <a:pt x="18" y="29"/>
                    </a:cubicBezTo>
                    <a:cubicBezTo>
                      <a:pt x="18" y="28"/>
                      <a:pt x="19" y="28"/>
                      <a:pt x="19" y="26"/>
                    </a:cubicBezTo>
                    <a:cubicBezTo>
                      <a:pt x="20" y="23"/>
                      <a:pt x="13" y="21"/>
                      <a:pt x="12"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5" name="Freeform 156"/>
              <p:cNvSpPr>
                <a:spLocks/>
              </p:cNvSpPr>
              <p:nvPr/>
            </p:nvSpPr>
            <p:spPr bwMode="auto">
              <a:xfrm>
                <a:off x="3513138" y="3894138"/>
                <a:ext cx="1588" cy="3175"/>
              </a:xfrm>
              <a:custGeom>
                <a:avLst/>
                <a:gdLst>
                  <a:gd name="T0" fmla="*/ 0 w 3"/>
                  <a:gd name="T1" fmla="*/ 1 h 5"/>
                  <a:gd name="T2" fmla="*/ 1 w 3"/>
                  <a:gd name="T3" fmla="*/ 3 h 5"/>
                  <a:gd name="T4" fmla="*/ 3 w 3"/>
                  <a:gd name="T5" fmla="*/ 4 h 5"/>
                  <a:gd name="T6" fmla="*/ 2 w 3"/>
                  <a:gd name="T7" fmla="*/ 2 h 5"/>
                  <a:gd name="T8" fmla="*/ 0 w 3"/>
                  <a:gd name="T9" fmla="*/ 1 h 5"/>
                </a:gdLst>
                <a:ahLst/>
                <a:cxnLst>
                  <a:cxn ang="0">
                    <a:pos x="T0" y="T1"/>
                  </a:cxn>
                  <a:cxn ang="0">
                    <a:pos x="T2" y="T3"/>
                  </a:cxn>
                  <a:cxn ang="0">
                    <a:pos x="T4" y="T5"/>
                  </a:cxn>
                  <a:cxn ang="0">
                    <a:pos x="T6" y="T7"/>
                  </a:cxn>
                  <a:cxn ang="0">
                    <a:pos x="T8" y="T9"/>
                  </a:cxn>
                </a:cxnLst>
                <a:rect l="0" t="0" r="r" b="b"/>
                <a:pathLst>
                  <a:path w="3" h="5">
                    <a:moveTo>
                      <a:pt x="0" y="1"/>
                    </a:moveTo>
                    <a:cubicBezTo>
                      <a:pt x="0" y="1"/>
                      <a:pt x="0" y="3"/>
                      <a:pt x="1" y="3"/>
                    </a:cubicBezTo>
                    <a:cubicBezTo>
                      <a:pt x="2" y="4"/>
                      <a:pt x="3" y="5"/>
                      <a:pt x="3" y="4"/>
                    </a:cubicBezTo>
                    <a:cubicBezTo>
                      <a:pt x="3" y="4"/>
                      <a:pt x="2" y="2"/>
                      <a:pt x="2" y="2"/>
                    </a:cubicBezTo>
                    <a:cubicBezTo>
                      <a:pt x="1" y="1"/>
                      <a:pt x="0" y="0"/>
                      <a:pt x="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6" name="Freeform 157"/>
              <p:cNvSpPr>
                <a:spLocks/>
              </p:cNvSpPr>
              <p:nvPr/>
            </p:nvSpPr>
            <p:spPr bwMode="auto">
              <a:xfrm>
                <a:off x="3513138" y="4164013"/>
                <a:ext cx="3175" cy="6350"/>
              </a:xfrm>
              <a:custGeom>
                <a:avLst/>
                <a:gdLst>
                  <a:gd name="T0" fmla="*/ 3 w 4"/>
                  <a:gd name="T1" fmla="*/ 6 h 9"/>
                  <a:gd name="T2" fmla="*/ 3 w 4"/>
                  <a:gd name="T3" fmla="*/ 1 h 9"/>
                  <a:gd name="T4" fmla="*/ 1 w 4"/>
                  <a:gd name="T5" fmla="*/ 1 h 9"/>
                  <a:gd name="T6" fmla="*/ 3 w 4"/>
                  <a:gd name="T7" fmla="*/ 6 h 9"/>
                </a:gdLst>
                <a:ahLst/>
                <a:cxnLst>
                  <a:cxn ang="0">
                    <a:pos x="T0" y="T1"/>
                  </a:cxn>
                  <a:cxn ang="0">
                    <a:pos x="T2" y="T3"/>
                  </a:cxn>
                  <a:cxn ang="0">
                    <a:pos x="T4" y="T5"/>
                  </a:cxn>
                  <a:cxn ang="0">
                    <a:pos x="T6" y="T7"/>
                  </a:cxn>
                </a:cxnLst>
                <a:rect l="0" t="0" r="r" b="b"/>
                <a:pathLst>
                  <a:path w="4" h="9">
                    <a:moveTo>
                      <a:pt x="3" y="6"/>
                    </a:moveTo>
                    <a:cubicBezTo>
                      <a:pt x="4" y="5"/>
                      <a:pt x="4" y="2"/>
                      <a:pt x="3" y="1"/>
                    </a:cubicBezTo>
                    <a:cubicBezTo>
                      <a:pt x="3" y="0"/>
                      <a:pt x="1" y="0"/>
                      <a:pt x="1" y="1"/>
                    </a:cubicBezTo>
                    <a:cubicBezTo>
                      <a:pt x="0" y="4"/>
                      <a:pt x="3" y="9"/>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7" name="Freeform 158"/>
              <p:cNvSpPr>
                <a:spLocks/>
              </p:cNvSpPr>
              <p:nvPr/>
            </p:nvSpPr>
            <p:spPr bwMode="auto">
              <a:xfrm>
                <a:off x="3505201" y="4167188"/>
                <a:ext cx="23813" cy="82550"/>
              </a:xfrm>
              <a:custGeom>
                <a:avLst/>
                <a:gdLst>
                  <a:gd name="T0" fmla="*/ 5 w 31"/>
                  <a:gd name="T1" fmla="*/ 106 h 108"/>
                  <a:gd name="T2" fmla="*/ 12 w 31"/>
                  <a:gd name="T3" fmla="*/ 104 h 108"/>
                  <a:gd name="T4" fmla="*/ 16 w 31"/>
                  <a:gd name="T5" fmla="*/ 101 h 108"/>
                  <a:gd name="T6" fmla="*/ 20 w 31"/>
                  <a:gd name="T7" fmla="*/ 100 h 108"/>
                  <a:gd name="T8" fmla="*/ 21 w 31"/>
                  <a:gd name="T9" fmla="*/ 99 h 108"/>
                  <a:gd name="T10" fmla="*/ 23 w 31"/>
                  <a:gd name="T11" fmla="*/ 99 h 108"/>
                  <a:gd name="T12" fmla="*/ 26 w 31"/>
                  <a:gd name="T13" fmla="*/ 100 h 108"/>
                  <a:gd name="T14" fmla="*/ 28 w 31"/>
                  <a:gd name="T15" fmla="*/ 96 h 108"/>
                  <a:gd name="T16" fmla="*/ 30 w 31"/>
                  <a:gd name="T17" fmla="*/ 88 h 108"/>
                  <a:gd name="T18" fmla="*/ 29 w 31"/>
                  <a:gd name="T19" fmla="*/ 77 h 108"/>
                  <a:gd name="T20" fmla="*/ 26 w 31"/>
                  <a:gd name="T21" fmla="*/ 72 h 108"/>
                  <a:gd name="T22" fmla="*/ 24 w 31"/>
                  <a:gd name="T23" fmla="*/ 64 h 108"/>
                  <a:gd name="T24" fmla="*/ 22 w 31"/>
                  <a:gd name="T25" fmla="*/ 58 h 108"/>
                  <a:gd name="T26" fmla="*/ 20 w 31"/>
                  <a:gd name="T27" fmla="*/ 54 h 108"/>
                  <a:gd name="T28" fmla="*/ 19 w 31"/>
                  <a:gd name="T29" fmla="*/ 49 h 108"/>
                  <a:gd name="T30" fmla="*/ 18 w 31"/>
                  <a:gd name="T31" fmla="*/ 45 h 108"/>
                  <a:gd name="T32" fmla="*/ 17 w 31"/>
                  <a:gd name="T33" fmla="*/ 40 h 108"/>
                  <a:gd name="T34" fmla="*/ 14 w 31"/>
                  <a:gd name="T35" fmla="*/ 38 h 108"/>
                  <a:gd name="T36" fmla="*/ 14 w 31"/>
                  <a:gd name="T37" fmla="*/ 34 h 108"/>
                  <a:gd name="T38" fmla="*/ 16 w 31"/>
                  <a:gd name="T39" fmla="*/ 27 h 108"/>
                  <a:gd name="T40" fmla="*/ 18 w 31"/>
                  <a:gd name="T41" fmla="*/ 22 h 108"/>
                  <a:gd name="T42" fmla="*/ 16 w 31"/>
                  <a:gd name="T43" fmla="*/ 19 h 108"/>
                  <a:gd name="T44" fmla="*/ 13 w 31"/>
                  <a:gd name="T45" fmla="*/ 18 h 108"/>
                  <a:gd name="T46" fmla="*/ 10 w 31"/>
                  <a:gd name="T47" fmla="*/ 18 h 108"/>
                  <a:gd name="T48" fmla="*/ 12 w 31"/>
                  <a:gd name="T49" fmla="*/ 5 h 108"/>
                  <a:gd name="T50" fmla="*/ 5 w 31"/>
                  <a:gd name="T51" fmla="*/ 4 h 108"/>
                  <a:gd name="T52" fmla="*/ 3 w 31"/>
                  <a:gd name="T53" fmla="*/ 12 h 108"/>
                  <a:gd name="T54" fmla="*/ 2 w 31"/>
                  <a:gd name="T55" fmla="*/ 19 h 108"/>
                  <a:gd name="T56" fmla="*/ 1 w 31"/>
                  <a:gd name="T57" fmla="*/ 24 h 108"/>
                  <a:gd name="T58" fmla="*/ 2 w 31"/>
                  <a:gd name="T59" fmla="*/ 27 h 108"/>
                  <a:gd name="T60" fmla="*/ 2 w 31"/>
                  <a:gd name="T61" fmla="*/ 33 h 108"/>
                  <a:gd name="T62" fmla="*/ 4 w 31"/>
                  <a:gd name="T63" fmla="*/ 34 h 108"/>
                  <a:gd name="T64" fmla="*/ 3 w 31"/>
                  <a:gd name="T65" fmla="*/ 38 h 108"/>
                  <a:gd name="T66" fmla="*/ 6 w 31"/>
                  <a:gd name="T67" fmla="*/ 43 h 108"/>
                  <a:gd name="T68" fmla="*/ 7 w 31"/>
                  <a:gd name="T69" fmla="*/ 47 h 108"/>
                  <a:gd name="T70" fmla="*/ 5 w 31"/>
                  <a:gd name="T71" fmla="*/ 51 h 108"/>
                  <a:gd name="T72" fmla="*/ 6 w 31"/>
                  <a:gd name="T73" fmla="*/ 54 h 108"/>
                  <a:gd name="T74" fmla="*/ 9 w 31"/>
                  <a:gd name="T75" fmla="*/ 53 h 108"/>
                  <a:gd name="T76" fmla="*/ 11 w 31"/>
                  <a:gd name="T77" fmla="*/ 58 h 108"/>
                  <a:gd name="T78" fmla="*/ 12 w 31"/>
                  <a:gd name="T79" fmla="*/ 62 h 108"/>
                  <a:gd name="T80" fmla="*/ 12 w 31"/>
                  <a:gd name="T81" fmla="*/ 66 h 108"/>
                  <a:gd name="T82" fmla="*/ 12 w 31"/>
                  <a:gd name="T83" fmla="*/ 73 h 108"/>
                  <a:gd name="T84" fmla="*/ 7 w 31"/>
                  <a:gd name="T85" fmla="*/ 69 h 108"/>
                  <a:gd name="T86" fmla="*/ 8 w 31"/>
                  <a:gd name="T87" fmla="*/ 75 h 108"/>
                  <a:gd name="T88" fmla="*/ 9 w 31"/>
                  <a:gd name="T89" fmla="*/ 82 h 108"/>
                  <a:gd name="T90" fmla="*/ 10 w 31"/>
                  <a:gd name="T91" fmla="*/ 85 h 108"/>
                  <a:gd name="T92" fmla="*/ 10 w 31"/>
                  <a:gd name="T93" fmla="*/ 88 h 108"/>
                  <a:gd name="T94" fmla="*/ 12 w 31"/>
                  <a:gd name="T95" fmla="*/ 88 h 108"/>
                  <a:gd name="T96" fmla="*/ 10 w 31"/>
                  <a:gd name="T97" fmla="*/ 97 h 108"/>
                  <a:gd name="T98" fmla="*/ 5 w 31"/>
                  <a:gd name="T99" fmla="*/ 10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 h="108">
                    <a:moveTo>
                      <a:pt x="5" y="106"/>
                    </a:moveTo>
                    <a:cubicBezTo>
                      <a:pt x="7" y="108"/>
                      <a:pt x="10" y="105"/>
                      <a:pt x="12" y="104"/>
                    </a:cubicBezTo>
                    <a:cubicBezTo>
                      <a:pt x="13" y="102"/>
                      <a:pt x="14" y="101"/>
                      <a:pt x="16" y="101"/>
                    </a:cubicBezTo>
                    <a:cubicBezTo>
                      <a:pt x="17" y="101"/>
                      <a:pt x="19" y="101"/>
                      <a:pt x="20" y="100"/>
                    </a:cubicBezTo>
                    <a:cubicBezTo>
                      <a:pt x="21" y="100"/>
                      <a:pt x="21" y="99"/>
                      <a:pt x="21" y="99"/>
                    </a:cubicBezTo>
                    <a:cubicBezTo>
                      <a:pt x="22" y="99"/>
                      <a:pt x="23" y="99"/>
                      <a:pt x="23" y="99"/>
                    </a:cubicBezTo>
                    <a:cubicBezTo>
                      <a:pt x="24" y="100"/>
                      <a:pt x="25" y="102"/>
                      <a:pt x="26" y="100"/>
                    </a:cubicBezTo>
                    <a:cubicBezTo>
                      <a:pt x="27" y="99"/>
                      <a:pt x="28" y="99"/>
                      <a:pt x="28" y="96"/>
                    </a:cubicBezTo>
                    <a:cubicBezTo>
                      <a:pt x="29" y="93"/>
                      <a:pt x="28" y="90"/>
                      <a:pt x="30" y="88"/>
                    </a:cubicBezTo>
                    <a:cubicBezTo>
                      <a:pt x="31" y="83"/>
                      <a:pt x="31" y="80"/>
                      <a:pt x="29" y="77"/>
                    </a:cubicBezTo>
                    <a:cubicBezTo>
                      <a:pt x="28" y="75"/>
                      <a:pt x="27" y="74"/>
                      <a:pt x="26" y="72"/>
                    </a:cubicBezTo>
                    <a:cubicBezTo>
                      <a:pt x="25" y="69"/>
                      <a:pt x="25" y="66"/>
                      <a:pt x="24" y="64"/>
                    </a:cubicBezTo>
                    <a:cubicBezTo>
                      <a:pt x="23" y="62"/>
                      <a:pt x="23" y="60"/>
                      <a:pt x="22" y="58"/>
                    </a:cubicBezTo>
                    <a:cubicBezTo>
                      <a:pt x="22" y="57"/>
                      <a:pt x="20" y="56"/>
                      <a:pt x="20" y="54"/>
                    </a:cubicBezTo>
                    <a:cubicBezTo>
                      <a:pt x="19" y="53"/>
                      <a:pt x="20" y="51"/>
                      <a:pt x="19" y="49"/>
                    </a:cubicBezTo>
                    <a:cubicBezTo>
                      <a:pt x="19" y="47"/>
                      <a:pt x="18" y="47"/>
                      <a:pt x="18" y="45"/>
                    </a:cubicBezTo>
                    <a:cubicBezTo>
                      <a:pt x="18" y="42"/>
                      <a:pt x="17" y="41"/>
                      <a:pt x="17" y="40"/>
                    </a:cubicBezTo>
                    <a:cubicBezTo>
                      <a:pt x="16" y="39"/>
                      <a:pt x="15" y="39"/>
                      <a:pt x="14" y="38"/>
                    </a:cubicBezTo>
                    <a:cubicBezTo>
                      <a:pt x="13" y="37"/>
                      <a:pt x="14" y="36"/>
                      <a:pt x="14" y="34"/>
                    </a:cubicBezTo>
                    <a:cubicBezTo>
                      <a:pt x="15" y="32"/>
                      <a:pt x="16" y="29"/>
                      <a:pt x="16" y="27"/>
                    </a:cubicBezTo>
                    <a:cubicBezTo>
                      <a:pt x="17" y="25"/>
                      <a:pt x="18" y="24"/>
                      <a:pt x="18" y="22"/>
                    </a:cubicBezTo>
                    <a:cubicBezTo>
                      <a:pt x="17" y="20"/>
                      <a:pt x="17" y="19"/>
                      <a:pt x="16" y="19"/>
                    </a:cubicBezTo>
                    <a:cubicBezTo>
                      <a:pt x="15" y="18"/>
                      <a:pt x="14" y="18"/>
                      <a:pt x="13" y="18"/>
                    </a:cubicBezTo>
                    <a:cubicBezTo>
                      <a:pt x="12" y="18"/>
                      <a:pt x="11" y="19"/>
                      <a:pt x="10" y="18"/>
                    </a:cubicBezTo>
                    <a:cubicBezTo>
                      <a:pt x="6" y="15"/>
                      <a:pt x="13" y="8"/>
                      <a:pt x="12" y="5"/>
                    </a:cubicBezTo>
                    <a:cubicBezTo>
                      <a:pt x="10" y="0"/>
                      <a:pt x="8" y="10"/>
                      <a:pt x="5" y="4"/>
                    </a:cubicBezTo>
                    <a:cubicBezTo>
                      <a:pt x="4" y="6"/>
                      <a:pt x="3" y="10"/>
                      <a:pt x="3" y="12"/>
                    </a:cubicBezTo>
                    <a:cubicBezTo>
                      <a:pt x="3" y="15"/>
                      <a:pt x="2" y="17"/>
                      <a:pt x="2" y="19"/>
                    </a:cubicBezTo>
                    <a:cubicBezTo>
                      <a:pt x="2" y="20"/>
                      <a:pt x="1" y="23"/>
                      <a:pt x="1" y="24"/>
                    </a:cubicBezTo>
                    <a:cubicBezTo>
                      <a:pt x="2" y="25"/>
                      <a:pt x="2" y="25"/>
                      <a:pt x="2" y="27"/>
                    </a:cubicBezTo>
                    <a:cubicBezTo>
                      <a:pt x="1" y="28"/>
                      <a:pt x="0" y="32"/>
                      <a:pt x="2" y="33"/>
                    </a:cubicBezTo>
                    <a:cubicBezTo>
                      <a:pt x="2" y="33"/>
                      <a:pt x="3" y="33"/>
                      <a:pt x="4" y="34"/>
                    </a:cubicBezTo>
                    <a:cubicBezTo>
                      <a:pt x="4" y="35"/>
                      <a:pt x="3" y="36"/>
                      <a:pt x="3" y="38"/>
                    </a:cubicBezTo>
                    <a:cubicBezTo>
                      <a:pt x="3" y="43"/>
                      <a:pt x="6" y="39"/>
                      <a:pt x="6" y="43"/>
                    </a:cubicBezTo>
                    <a:cubicBezTo>
                      <a:pt x="6" y="45"/>
                      <a:pt x="7" y="46"/>
                      <a:pt x="7" y="47"/>
                    </a:cubicBezTo>
                    <a:cubicBezTo>
                      <a:pt x="6" y="49"/>
                      <a:pt x="6" y="50"/>
                      <a:pt x="5" y="51"/>
                    </a:cubicBezTo>
                    <a:cubicBezTo>
                      <a:pt x="5" y="52"/>
                      <a:pt x="5" y="53"/>
                      <a:pt x="6" y="54"/>
                    </a:cubicBezTo>
                    <a:cubicBezTo>
                      <a:pt x="7" y="55"/>
                      <a:pt x="9" y="53"/>
                      <a:pt x="9" y="53"/>
                    </a:cubicBezTo>
                    <a:cubicBezTo>
                      <a:pt x="12" y="52"/>
                      <a:pt x="11" y="56"/>
                      <a:pt x="11" y="58"/>
                    </a:cubicBezTo>
                    <a:cubicBezTo>
                      <a:pt x="12" y="60"/>
                      <a:pt x="12" y="61"/>
                      <a:pt x="12" y="62"/>
                    </a:cubicBezTo>
                    <a:cubicBezTo>
                      <a:pt x="13" y="64"/>
                      <a:pt x="13" y="64"/>
                      <a:pt x="12" y="66"/>
                    </a:cubicBezTo>
                    <a:cubicBezTo>
                      <a:pt x="12" y="68"/>
                      <a:pt x="13" y="71"/>
                      <a:pt x="12" y="73"/>
                    </a:cubicBezTo>
                    <a:cubicBezTo>
                      <a:pt x="10" y="75"/>
                      <a:pt x="8" y="68"/>
                      <a:pt x="7" y="69"/>
                    </a:cubicBezTo>
                    <a:cubicBezTo>
                      <a:pt x="7" y="71"/>
                      <a:pt x="7" y="73"/>
                      <a:pt x="8" y="75"/>
                    </a:cubicBezTo>
                    <a:cubicBezTo>
                      <a:pt x="9" y="78"/>
                      <a:pt x="9" y="79"/>
                      <a:pt x="9" y="82"/>
                    </a:cubicBezTo>
                    <a:cubicBezTo>
                      <a:pt x="8" y="83"/>
                      <a:pt x="9" y="84"/>
                      <a:pt x="10" y="85"/>
                    </a:cubicBezTo>
                    <a:cubicBezTo>
                      <a:pt x="10" y="86"/>
                      <a:pt x="10" y="87"/>
                      <a:pt x="10" y="88"/>
                    </a:cubicBezTo>
                    <a:cubicBezTo>
                      <a:pt x="10" y="89"/>
                      <a:pt x="12" y="88"/>
                      <a:pt x="12" y="88"/>
                    </a:cubicBezTo>
                    <a:cubicBezTo>
                      <a:pt x="15" y="91"/>
                      <a:pt x="11" y="95"/>
                      <a:pt x="10" y="97"/>
                    </a:cubicBezTo>
                    <a:cubicBezTo>
                      <a:pt x="9" y="98"/>
                      <a:pt x="2" y="103"/>
                      <a:pt x="5" y="10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8" name="Freeform 159"/>
              <p:cNvSpPr>
                <a:spLocks/>
              </p:cNvSpPr>
              <p:nvPr/>
            </p:nvSpPr>
            <p:spPr bwMode="auto">
              <a:xfrm>
                <a:off x="3513138" y="3895725"/>
                <a:ext cx="26988" cy="28575"/>
              </a:xfrm>
              <a:custGeom>
                <a:avLst/>
                <a:gdLst>
                  <a:gd name="T0" fmla="*/ 4 w 36"/>
                  <a:gd name="T1" fmla="*/ 7 h 38"/>
                  <a:gd name="T2" fmla="*/ 1 w 36"/>
                  <a:gd name="T3" fmla="*/ 6 h 38"/>
                  <a:gd name="T4" fmla="*/ 3 w 36"/>
                  <a:gd name="T5" fmla="*/ 9 h 38"/>
                  <a:gd name="T6" fmla="*/ 6 w 36"/>
                  <a:gd name="T7" fmla="*/ 13 h 38"/>
                  <a:gd name="T8" fmla="*/ 5 w 36"/>
                  <a:gd name="T9" fmla="*/ 14 h 38"/>
                  <a:gd name="T10" fmla="*/ 7 w 36"/>
                  <a:gd name="T11" fmla="*/ 17 h 38"/>
                  <a:gd name="T12" fmla="*/ 9 w 36"/>
                  <a:gd name="T13" fmla="*/ 19 h 38"/>
                  <a:gd name="T14" fmla="*/ 12 w 36"/>
                  <a:gd name="T15" fmla="*/ 18 h 38"/>
                  <a:gd name="T16" fmla="*/ 16 w 36"/>
                  <a:gd name="T17" fmla="*/ 21 h 38"/>
                  <a:gd name="T18" fmla="*/ 15 w 36"/>
                  <a:gd name="T19" fmla="*/ 22 h 38"/>
                  <a:gd name="T20" fmla="*/ 15 w 36"/>
                  <a:gd name="T21" fmla="*/ 24 h 38"/>
                  <a:gd name="T22" fmla="*/ 13 w 36"/>
                  <a:gd name="T23" fmla="*/ 23 h 38"/>
                  <a:gd name="T24" fmla="*/ 14 w 36"/>
                  <a:gd name="T25" fmla="*/ 27 h 38"/>
                  <a:gd name="T26" fmla="*/ 23 w 36"/>
                  <a:gd name="T27" fmla="*/ 31 h 38"/>
                  <a:gd name="T28" fmla="*/ 27 w 36"/>
                  <a:gd name="T29" fmla="*/ 34 h 38"/>
                  <a:gd name="T30" fmla="*/ 31 w 36"/>
                  <a:gd name="T31" fmla="*/ 37 h 38"/>
                  <a:gd name="T32" fmla="*/ 34 w 36"/>
                  <a:gd name="T33" fmla="*/ 32 h 38"/>
                  <a:gd name="T34" fmla="*/ 35 w 36"/>
                  <a:gd name="T35" fmla="*/ 29 h 38"/>
                  <a:gd name="T36" fmla="*/ 35 w 36"/>
                  <a:gd name="T37" fmla="*/ 26 h 38"/>
                  <a:gd name="T38" fmla="*/ 34 w 36"/>
                  <a:gd name="T39" fmla="*/ 23 h 38"/>
                  <a:gd name="T40" fmla="*/ 33 w 36"/>
                  <a:gd name="T41" fmla="*/ 20 h 38"/>
                  <a:gd name="T42" fmla="*/ 28 w 36"/>
                  <a:gd name="T43" fmla="*/ 17 h 38"/>
                  <a:gd name="T44" fmla="*/ 25 w 36"/>
                  <a:gd name="T45" fmla="*/ 14 h 38"/>
                  <a:gd name="T46" fmla="*/ 22 w 36"/>
                  <a:gd name="T47" fmla="*/ 11 h 38"/>
                  <a:gd name="T48" fmla="*/ 20 w 36"/>
                  <a:gd name="T49" fmla="*/ 12 h 38"/>
                  <a:gd name="T50" fmla="*/ 20 w 36"/>
                  <a:gd name="T51" fmla="*/ 15 h 38"/>
                  <a:gd name="T52" fmla="*/ 19 w 36"/>
                  <a:gd name="T53" fmla="*/ 12 h 38"/>
                  <a:gd name="T54" fmla="*/ 18 w 36"/>
                  <a:gd name="T55" fmla="*/ 8 h 38"/>
                  <a:gd name="T56" fmla="*/ 15 w 36"/>
                  <a:gd name="T57" fmla="*/ 6 h 38"/>
                  <a:gd name="T58" fmla="*/ 14 w 36"/>
                  <a:gd name="T59" fmla="*/ 8 h 38"/>
                  <a:gd name="T60" fmla="*/ 14 w 36"/>
                  <a:gd name="T61" fmla="*/ 9 h 38"/>
                  <a:gd name="T62" fmla="*/ 13 w 36"/>
                  <a:gd name="T63" fmla="*/ 8 h 38"/>
                  <a:gd name="T64" fmla="*/ 10 w 36"/>
                  <a:gd name="T65" fmla="*/ 8 h 38"/>
                  <a:gd name="T66" fmla="*/ 7 w 36"/>
                  <a:gd name="T67" fmla="*/ 4 h 38"/>
                  <a:gd name="T68" fmla="*/ 5 w 36"/>
                  <a:gd name="T69" fmla="*/ 3 h 38"/>
                  <a:gd name="T70" fmla="*/ 5 w 36"/>
                  <a:gd name="T71" fmla="*/ 5 h 38"/>
                  <a:gd name="T72" fmla="*/ 4 w 36"/>
                  <a:gd name="T7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8">
                    <a:moveTo>
                      <a:pt x="4" y="7"/>
                    </a:moveTo>
                    <a:cubicBezTo>
                      <a:pt x="3" y="6"/>
                      <a:pt x="1" y="5"/>
                      <a:pt x="1" y="6"/>
                    </a:cubicBezTo>
                    <a:cubicBezTo>
                      <a:pt x="0" y="7"/>
                      <a:pt x="2" y="9"/>
                      <a:pt x="3" y="9"/>
                    </a:cubicBezTo>
                    <a:cubicBezTo>
                      <a:pt x="4" y="10"/>
                      <a:pt x="6" y="12"/>
                      <a:pt x="6" y="13"/>
                    </a:cubicBezTo>
                    <a:cubicBezTo>
                      <a:pt x="6" y="13"/>
                      <a:pt x="5" y="13"/>
                      <a:pt x="5" y="14"/>
                    </a:cubicBezTo>
                    <a:cubicBezTo>
                      <a:pt x="5" y="15"/>
                      <a:pt x="6" y="16"/>
                      <a:pt x="7" y="17"/>
                    </a:cubicBezTo>
                    <a:cubicBezTo>
                      <a:pt x="8" y="19"/>
                      <a:pt x="8" y="19"/>
                      <a:pt x="9" y="19"/>
                    </a:cubicBezTo>
                    <a:cubicBezTo>
                      <a:pt x="11" y="20"/>
                      <a:pt x="11" y="19"/>
                      <a:pt x="12" y="18"/>
                    </a:cubicBezTo>
                    <a:cubicBezTo>
                      <a:pt x="13" y="18"/>
                      <a:pt x="16" y="18"/>
                      <a:pt x="16" y="21"/>
                    </a:cubicBezTo>
                    <a:cubicBezTo>
                      <a:pt x="17" y="23"/>
                      <a:pt x="16" y="22"/>
                      <a:pt x="15" y="22"/>
                    </a:cubicBezTo>
                    <a:cubicBezTo>
                      <a:pt x="14" y="22"/>
                      <a:pt x="16" y="24"/>
                      <a:pt x="15" y="24"/>
                    </a:cubicBezTo>
                    <a:cubicBezTo>
                      <a:pt x="15" y="24"/>
                      <a:pt x="13" y="23"/>
                      <a:pt x="13" y="23"/>
                    </a:cubicBezTo>
                    <a:cubicBezTo>
                      <a:pt x="12" y="24"/>
                      <a:pt x="14" y="26"/>
                      <a:pt x="14" y="27"/>
                    </a:cubicBezTo>
                    <a:cubicBezTo>
                      <a:pt x="17" y="31"/>
                      <a:pt x="20" y="30"/>
                      <a:pt x="23" y="31"/>
                    </a:cubicBezTo>
                    <a:cubicBezTo>
                      <a:pt x="24" y="32"/>
                      <a:pt x="26" y="33"/>
                      <a:pt x="27" y="34"/>
                    </a:cubicBezTo>
                    <a:cubicBezTo>
                      <a:pt x="28" y="35"/>
                      <a:pt x="30" y="37"/>
                      <a:pt x="31" y="37"/>
                    </a:cubicBezTo>
                    <a:cubicBezTo>
                      <a:pt x="34" y="38"/>
                      <a:pt x="33" y="35"/>
                      <a:pt x="34" y="32"/>
                    </a:cubicBezTo>
                    <a:cubicBezTo>
                      <a:pt x="34" y="31"/>
                      <a:pt x="34" y="30"/>
                      <a:pt x="35" y="29"/>
                    </a:cubicBezTo>
                    <a:cubicBezTo>
                      <a:pt x="35" y="28"/>
                      <a:pt x="36" y="28"/>
                      <a:pt x="35" y="26"/>
                    </a:cubicBezTo>
                    <a:cubicBezTo>
                      <a:pt x="34" y="24"/>
                      <a:pt x="34" y="24"/>
                      <a:pt x="34" y="23"/>
                    </a:cubicBezTo>
                    <a:cubicBezTo>
                      <a:pt x="35" y="23"/>
                      <a:pt x="35" y="21"/>
                      <a:pt x="33" y="20"/>
                    </a:cubicBezTo>
                    <a:cubicBezTo>
                      <a:pt x="32" y="18"/>
                      <a:pt x="30" y="18"/>
                      <a:pt x="28" y="17"/>
                    </a:cubicBezTo>
                    <a:cubicBezTo>
                      <a:pt x="27" y="16"/>
                      <a:pt x="26" y="16"/>
                      <a:pt x="25" y="14"/>
                    </a:cubicBezTo>
                    <a:cubicBezTo>
                      <a:pt x="24" y="13"/>
                      <a:pt x="23" y="12"/>
                      <a:pt x="22" y="11"/>
                    </a:cubicBezTo>
                    <a:cubicBezTo>
                      <a:pt x="21" y="11"/>
                      <a:pt x="20" y="11"/>
                      <a:pt x="20" y="12"/>
                    </a:cubicBezTo>
                    <a:cubicBezTo>
                      <a:pt x="20" y="13"/>
                      <a:pt x="21" y="15"/>
                      <a:pt x="20" y="15"/>
                    </a:cubicBezTo>
                    <a:cubicBezTo>
                      <a:pt x="19" y="15"/>
                      <a:pt x="19" y="13"/>
                      <a:pt x="19" y="12"/>
                    </a:cubicBezTo>
                    <a:cubicBezTo>
                      <a:pt x="19" y="11"/>
                      <a:pt x="19" y="10"/>
                      <a:pt x="18" y="8"/>
                    </a:cubicBezTo>
                    <a:cubicBezTo>
                      <a:pt x="17" y="7"/>
                      <a:pt x="16" y="6"/>
                      <a:pt x="15" y="6"/>
                    </a:cubicBezTo>
                    <a:cubicBezTo>
                      <a:pt x="14" y="5"/>
                      <a:pt x="14" y="7"/>
                      <a:pt x="14" y="8"/>
                    </a:cubicBezTo>
                    <a:cubicBezTo>
                      <a:pt x="14" y="8"/>
                      <a:pt x="15" y="10"/>
                      <a:pt x="14" y="9"/>
                    </a:cubicBezTo>
                    <a:cubicBezTo>
                      <a:pt x="14" y="9"/>
                      <a:pt x="13" y="8"/>
                      <a:pt x="13" y="8"/>
                    </a:cubicBezTo>
                    <a:cubicBezTo>
                      <a:pt x="11" y="6"/>
                      <a:pt x="13" y="12"/>
                      <a:pt x="10" y="8"/>
                    </a:cubicBezTo>
                    <a:cubicBezTo>
                      <a:pt x="8" y="7"/>
                      <a:pt x="8" y="5"/>
                      <a:pt x="7" y="4"/>
                    </a:cubicBezTo>
                    <a:cubicBezTo>
                      <a:pt x="6" y="2"/>
                      <a:pt x="4" y="0"/>
                      <a:pt x="5" y="3"/>
                    </a:cubicBezTo>
                    <a:cubicBezTo>
                      <a:pt x="5" y="4"/>
                      <a:pt x="4" y="4"/>
                      <a:pt x="5" y="5"/>
                    </a:cubicBezTo>
                    <a:cubicBezTo>
                      <a:pt x="5" y="6"/>
                      <a:pt x="6" y="9"/>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49" name="Freeform 160"/>
              <p:cNvSpPr>
                <a:spLocks/>
              </p:cNvSpPr>
              <p:nvPr/>
            </p:nvSpPr>
            <p:spPr bwMode="auto">
              <a:xfrm>
                <a:off x="3543301" y="4295775"/>
                <a:ext cx="3175" cy="11113"/>
              </a:xfrm>
              <a:custGeom>
                <a:avLst/>
                <a:gdLst>
                  <a:gd name="T0" fmla="*/ 2 w 5"/>
                  <a:gd name="T1" fmla="*/ 13 h 14"/>
                  <a:gd name="T2" fmla="*/ 3 w 5"/>
                  <a:gd name="T3" fmla="*/ 9 h 14"/>
                  <a:gd name="T4" fmla="*/ 3 w 5"/>
                  <a:gd name="T5" fmla="*/ 1 h 14"/>
                  <a:gd name="T6" fmla="*/ 0 w 5"/>
                  <a:gd name="T7" fmla="*/ 6 h 14"/>
                  <a:gd name="T8" fmla="*/ 1 w 5"/>
                  <a:gd name="T9" fmla="*/ 9 h 14"/>
                  <a:gd name="T10" fmla="*/ 2 w 5"/>
                  <a:gd name="T11" fmla="*/ 13 h 14"/>
                </a:gdLst>
                <a:ahLst/>
                <a:cxnLst>
                  <a:cxn ang="0">
                    <a:pos x="T0" y="T1"/>
                  </a:cxn>
                  <a:cxn ang="0">
                    <a:pos x="T2" y="T3"/>
                  </a:cxn>
                  <a:cxn ang="0">
                    <a:pos x="T4" y="T5"/>
                  </a:cxn>
                  <a:cxn ang="0">
                    <a:pos x="T6" y="T7"/>
                  </a:cxn>
                  <a:cxn ang="0">
                    <a:pos x="T8" y="T9"/>
                  </a:cxn>
                  <a:cxn ang="0">
                    <a:pos x="T10" y="T11"/>
                  </a:cxn>
                </a:cxnLst>
                <a:rect l="0" t="0" r="r" b="b"/>
                <a:pathLst>
                  <a:path w="5" h="14">
                    <a:moveTo>
                      <a:pt x="2" y="13"/>
                    </a:moveTo>
                    <a:cubicBezTo>
                      <a:pt x="3" y="14"/>
                      <a:pt x="3" y="10"/>
                      <a:pt x="3" y="9"/>
                    </a:cubicBezTo>
                    <a:cubicBezTo>
                      <a:pt x="3" y="7"/>
                      <a:pt x="5" y="0"/>
                      <a:pt x="3" y="1"/>
                    </a:cubicBezTo>
                    <a:cubicBezTo>
                      <a:pt x="3" y="4"/>
                      <a:pt x="1" y="4"/>
                      <a:pt x="0" y="6"/>
                    </a:cubicBezTo>
                    <a:cubicBezTo>
                      <a:pt x="0" y="7"/>
                      <a:pt x="1" y="8"/>
                      <a:pt x="1" y="9"/>
                    </a:cubicBezTo>
                    <a:cubicBezTo>
                      <a:pt x="1" y="11"/>
                      <a:pt x="1" y="12"/>
                      <a:pt x="2"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0" name="Freeform 161"/>
              <p:cNvSpPr>
                <a:spLocks/>
              </p:cNvSpPr>
              <p:nvPr/>
            </p:nvSpPr>
            <p:spPr bwMode="auto">
              <a:xfrm>
                <a:off x="3517901" y="4151313"/>
                <a:ext cx="3175" cy="7938"/>
              </a:xfrm>
              <a:custGeom>
                <a:avLst/>
                <a:gdLst>
                  <a:gd name="T0" fmla="*/ 2 w 4"/>
                  <a:gd name="T1" fmla="*/ 9 h 10"/>
                  <a:gd name="T2" fmla="*/ 4 w 4"/>
                  <a:gd name="T3" fmla="*/ 2 h 10"/>
                  <a:gd name="T4" fmla="*/ 1 w 4"/>
                  <a:gd name="T5" fmla="*/ 0 h 10"/>
                  <a:gd name="T6" fmla="*/ 2 w 4"/>
                  <a:gd name="T7" fmla="*/ 9 h 10"/>
                </a:gdLst>
                <a:ahLst/>
                <a:cxnLst>
                  <a:cxn ang="0">
                    <a:pos x="T0" y="T1"/>
                  </a:cxn>
                  <a:cxn ang="0">
                    <a:pos x="T2" y="T3"/>
                  </a:cxn>
                  <a:cxn ang="0">
                    <a:pos x="T4" y="T5"/>
                  </a:cxn>
                  <a:cxn ang="0">
                    <a:pos x="T6" y="T7"/>
                  </a:cxn>
                </a:cxnLst>
                <a:rect l="0" t="0" r="r" b="b"/>
                <a:pathLst>
                  <a:path w="4" h="10">
                    <a:moveTo>
                      <a:pt x="2" y="9"/>
                    </a:moveTo>
                    <a:cubicBezTo>
                      <a:pt x="3" y="8"/>
                      <a:pt x="4" y="4"/>
                      <a:pt x="4" y="2"/>
                    </a:cubicBezTo>
                    <a:cubicBezTo>
                      <a:pt x="4" y="0"/>
                      <a:pt x="2" y="0"/>
                      <a:pt x="1" y="0"/>
                    </a:cubicBezTo>
                    <a:cubicBezTo>
                      <a:pt x="0" y="0"/>
                      <a:pt x="1" y="10"/>
                      <a:pt x="2"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1" name="Freeform 162"/>
              <p:cNvSpPr>
                <a:spLocks/>
              </p:cNvSpPr>
              <p:nvPr/>
            </p:nvSpPr>
            <p:spPr bwMode="auto">
              <a:xfrm>
                <a:off x="3492501" y="4202113"/>
                <a:ext cx="17463" cy="39688"/>
              </a:xfrm>
              <a:custGeom>
                <a:avLst/>
                <a:gdLst>
                  <a:gd name="T0" fmla="*/ 3 w 24"/>
                  <a:gd name="T1" fmla="*/ 35 h 53"/>
                  <a:gd name="T2" fmla="*/ 5 w 24"/>
                  <a:gd name="T3" fmla="*/ 47 h 53"/>
                  <a:gd name="T4" fmla="*/ 9 w 24"/>
                  <a:gd name="T5" fmla="*/ 45 h 53"/>
                  <a:gd name="T6" fmla="*/ 11 w 24"/>
                  <a:gd name="T7" fmla="*/ 48 h 53"/>
                  <a:gd name="T8" fmla="*/ 18 w 24"/>
                  <a:gd name="T9" fmla="*/ 37 h 53"/>
                  <a:gd name="T10" fmla="*/ 19 w 24"/>
                  <a:gd name="T11" fmla="*/ 31 h 53"/>
                  <a:gd name="T12" fmla="*/ 19 w 24"/>
                  <a:gd name="T13" fmla="*/ 21 h 53"/>
                  <a:gd name="T14" fmla="*/ 21 w 24"/>
                  <a:gd name="T15" fmla="*/ 10 h 53"/>
                  <a:gd name="T16" fmla="*/ 16 w 24"/>
                  <a:gd name="T17" fmla="*/ 0 h 53"/>
                  <a:gd name="T18" fmla="*/ 15 w 24"/>
                  <a:gd name="T19" fmla="*/ 1 h 53"/>
                  <a:gd name="T20" fmla="*/ 12 w 24"/>
                  <a:gd name="T21" fmla="*/ 2 h 53"/>
                  <a:gd name="T22" fmla="*/ 10 w 24"/>
                  <a:gd name="T23" fmla="*/ 6 h 53"/>
                  <a:gd name="T24" fmla="*/ 12 w 24"/>
                  <a:gd name="T25" fmla="*/ 9 h 53"/>
                  <a:gd name="T26" fmla="*/ 12 w 24"/>
                  <a:gd name="T27" fmla="*/ 13 h 53"/>
                  <a:gd name="T28" fmla="*/ 12 w 24"/>
                  <a:gd name="T29" fmla="*/ 16 h 53"/>
                  <a:gd name="T30" fmla="*/ 9 w 24"/>
                  <a:gd name="T31" fmla="*/ 11 h 53"/>
                  <a:gd name="T32" fmla="*/ 4 w 24"/>
                  <a:gd name="T33" fmla="*/ 12 h 53"/>
                  <a:gd name="T34" fmla="*/ 2 w 24"/>
                  <a:gd name="T35" fmla="*/ 19 h 53"/>
                  <a:gd name="T36" fmla="*/ 6 w 24"/>
                  <a:gd name="T37" fmla="*/ 26 h 53"/>
                  <a:gd name="T38" fmla="*/ 4 w 24"/>
                  <a:gd name="T39" fmla="*/ 30 h 53"/>
                  <a:gd name="T40" fmla="*/ 3 w 24"/>
                  <a:gd name="T41" fmla="*/ 3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 h="53">
                    <a:moveTo>
                      <a:pt x="3" y="35"/>
                    </a:moveTo>
                    <a:cubicBezTo>
                      <a:pt x="0" y="39"/>
                      <a:pt x="2" y="45"/>
                      <a:pt x="5" y="47"/>
                    </a:cubicBezTo>
                    <a:cubicBezTo>
                      <a:pt x="6" y="48"/>
                      <a:pt x="7" y="47"/>
                      <a:pt x="9" y="45"/>
                    </a:cubicBezTo>
                    <a:cubicBezTo>
                      <a:pt x="10" y="44"/>
                      <a:pt x="10" y="47"/>
                      <a:pt x="11" y="48"/>
                    </a:cubicBezTo>
                    <a:cubicBezTo>
                      <a:pt x="16" y="53"/>
                      <a:pt x="15" y="41"/>
                      <a:pt x="18" y="37"/>
                    </a:cubicBezTo>
                    <a:cubicBezTo>
                      <a:pt x="19" y="36"/>
                      <a:pt x="19" y="33"/>
                      <a:pt x="19" y="31"/>
                    </a:cubicBezTo>
                    <a:cubicBezTo>
                      <a:pt x="19" y="27"/>
                      <a:pt x="19" y="25"/>
                      <a:pt x="19" y="21"/>
                    </a:cubicBezTo>
                    <a:cubicBezTo>
                      <a:pt x="20" y="18"/>
                      <a:pt x="24" y="14"/>
                      <a:pt x="21" y="10"/>
                    </a:cubicBezTo>
                    <a:cubicBezTo>
                      <a:pt x="20" y="7"/>
                      <a:pt x="19" y="2"/>
                      <a:pt x="16" y="0"/>
                    </a:cubicBezTo>
                    <a:cubicBezTo>
                      <a:pt x="16" y="0"/>
                      <a:pt x="15" y="1"/>
                      <a:pt x="15" y="1"/>
                    </a:cubicBezTo>
                    <a:cubicBezTo>
                      <a:pt x="14" y="2"/>
                      <a:pt x="13" y="2"/>
                      <a:pt x="12" y="2"/>
                    </a:cubicBezTo>
                    <a:cubicBezTo>
                      <a:pt x="12" y="2"/>
                      <a:pt x="10" y="4"/>
                      <a:pt x="10" y="6"/>
                    </a:cubicBezTo>
                    <a:cubicBezTo>
                      <a:pt x="11" y="6"/>
                      <a:pt x="13" y="7"/>
                      <a:pt x="12" y="9"/>
                    </a:cubicBezTo>
                    <a:cubicBezTo>
                      <a:pt x="12" y="11"/>
                      <a:pt x="12" y="11"/>
                      <a:pt x="12" y="13"/>
                    </a:cubicBezTo>
                    <a:cubicBezTo>
                      <a:pt x="12" y="13"/>
                      <a:pt x="13" y="17"/>
                      <a:pt x="12" y="16"/>
                    </a:cubicBezTo>
                    <a:cubicBezTo>
                      <a:pt x="11" y="16"/>
                      <a:pt x="10" y="12"/>
                      <a:pt x="9" y="11"/>
                    </a:cubicBezTo>
                    <a:cubicBezTo>
                      <a:pt x="8" y="9"/>
                      <a:pt x="6" y="12"/>
                      <a:pt x="4" y="12"/>
                    </a:cubicBezTo>
                    <a:cubicBezTo>
                      <a:pt x="3" y="13"/>
                      <a:pt x="1" y="17"/>
                      <a:pt x="2" y="19"/>
                    </a:cubicBezTo>
                    <a:cubicBezTo>
                      <a:pt x="3" y="21"/>
                      <a:pt x="6" y="24"/>
                      <a:pt x="6" y="26"/>
                    </a:cubicBezTo>
                    <a:cubicBezTo>
                      <a:pt x="5" y="27"/>
                      <a:pt x="5" y="28"/>
                      <a:pt x="4" y="30"/>
                    </a:cubicBezTo>
                    <a:cubicBezTo>
                      <a:pt x="4" y="32"/>
                      <a:pt x="4" y="34"/>
                      <a:pt x="3" y="3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2" name="Freeform 163"/>
              <p:cNvSpPr>
                <a:spLocks noEditPoints="1"/>
              </p:cNvSpPr>
              <p:nvPr/>
            </p:nvSpPr>
            <p:spPr bwMode="auto">
              <a:xfrm>
                <a:off x="3490913" y="4032250"/>
                <a:ext cx="223838" cy="306388"/>
              </a:xfrm>
              <a:custGeom>
                <a:avLst/>
                <a:gdLst>
                  <a:gd name="T0" fmla="*/ 251 w 296"/>
                  <a:gd name="T1" fmla="*/ 24 h 406"/>
                  <a:gd name="T2" fmla="*/ 249 w 296"/>
                  <a:gd name="T3" fmla="*/ 56 h 406"/>
                  <a:gd name="T4" fmla="*/ 248 w 296"/>
                  <a:gd name="T5" fmla="*/ 73 h 406"/>
                  <a:gd name="T6" fmla="*/ 236 w 296"/>
                  <a:gd name="T7" fmla="*/ 44 h 406"/>
                  <a:gd name="T8" fmla="*/ 235 w 296"/>
                  <a:gd name="T9" fmla="*/ 58 h 406"/>
                  <a:gd name="T10" fmla="*/ 226 w 296"/>
                  <a:gd name="T11" fmla="*/ 32 h 406"/>
                  <a:gd name="T12" fmla="*/ 231 w 296"/>
                  <a:gd name="T13" fmla="*/ 82 h 406"/>
                  <a:gd name="T14" fmla="*/ 241 w 296"/>
                  <a:gd name="T15" fmla="*/ 108 h 406"/>
                  <a:gd name="T16" fmla="*/ 228 w 296"/>
                  <a:gd name="T17" fmla="*/ 119 h 406"/>
                  <a:gd name="T18" fmla="*/ 227 w 296"/>
                  <a:gd name="T19" fmla="*/ 70 h 406"/>
                  <a:gd name="T20" fmla="*/ 214 w 296"/>
                  <a:gd name="T21" fmla="*/ 32 h 406"/>
                  <a:gd name="T22" fmla="*/ 212 w 296"/>
                  <a:gd name="T23" fmla="*/ 59 h 406"/>
                  <a:gd name="T24" fmla="*/ 219 w 296"/>
                  <a:gd name="T25" fmla="*/ 90 h 406"/>
                  <a:gd name="T26" fmla="*/ 199 w 296"/>
                  <a:gd name="T27" fmla="*/ 70 h 406"/>
                  <a:gd name="T28" fmla="*/ 192 w 296"/>
                  <a:gd name="T29" fmla="*/ 82 h 406"/>
                  <a:gd name="T30" fmla="*/ 176 w 296"/>
                  <a:gd name="T31" fmla="*/ 92 h 406"/>
                  <a:gd name="T32" fmla="*/ 163 w 296"/>
                  <a:gd name="T33" fmla="*/ 75 h 406"/>
                  <a:gd name="T34" fmla="*/ 166 w 296"/>
                  <a:gd name="T35" fmla="*/ 106 h 406"/>
                  <a:gd name="T36" fmla="*/ 159 w 296"/>
                  <a:gd name="T37" fmla="*/ 126 h 406"/>
                  <a:gd name="T38" fmla="*/ 150 w 296"/>
                  <a:gd name="T39" fmla="*/ 129 h 406"/>
                  <a:gd name="T40" fmla="*/ 138 w 296"/>
                  <a:gd name="T41" fmla="*/ 90 h 406"/>
                  <a:gd name="T42" fmla="*/ 154 w 296"/>
                  <a:gd name="T43" fmla="*/ 80 h 406"/>
                  <a:gd name="T44" fmla="*/ 134 w 296"/>
                  <a:gd name="T45" fmla="*/ 55 h 406"/>
                  <a:gd name="T46" fmla="*/ 123 w 296"/>
                  <a:gd name="T47" fmla="*/ 35 h 406"/>
                  <a:gd name="T48" fmla="*/ 112 w 296"/>
                  <a:gd name="T49" fmla="*/ 26 h 406"/>
                  <a:gd name="T50" fmla="*/ 103 w 296"/>
                  <a:gd name="T51" fmla="*/ 30 h 406"/>
                  <a:gd name="T52" fmla="*/ 91 w 296"/>
                  <a:gd name="T53" fmla="*/ 36 h 406"/>
                  <a:gd name="T54" fmla="*/ 86 w 296"/>
                  <a:gd name="T55" fmla="*/ 52 h 406"/>
                  <a:gd name="T56" fmla="*/ 84 w 296"/>
                  <a:gd name="T57" fmla="*/ 70 h 406"/>
                  <a:gd name="T58" fmla="*/ 80 w 296"/>
                  <a:gd name="T59" fmla="*/ 96 h 406"/>
                  <a:gd name="T60" fmla="*/ 64 w 296"/>
                  <a:gd name="T61" fmla="*/ 137 h 406"/>
                  <a:gd name="T62" fmla="*/ 63 w 296"/>
                  <a:gd name="T63" fmla="*/ 166 h 406"/>
                  <a:gd name="T64" fmla="*/ 77 w 296"/>
                  <a:gd name="T65" fmla="*/ 193 h 406"/>
                  <a:gd name="T66" fmla="*/ 90 w 296"/>
                  <a:gd name="T67" fmla="*/ 188 h 406"/>
                  <a:gd name="T68" fmla="*/ 86 w 296"/>
                  <a:gd name="T69" fmla="*/ 222 h 406"/>
                  <a:gd name="T70" fmla="*/ 103 w 296"/>
                  <a:gd name="T71" fmla="*/ 214 h 406"/>
                  <a:gd name="T72" fmla="*/ 104 w 296"/>
                  <a:gd name="T73" fmla="*/ 168 h 406"/>
                  <a:gd name="T74" fmla="*/ 110 w 296"/>
                  <a:gd name="T75" fmla="*/ 118 h 406"/>
                  <a:gd name="T76" fmla="*/ 118 w 296"/>
                  <a:gd name="T77" fmla="*/ 122 h 406"/>
                  <a:gd name="T78" fmla="*/ 115 w 296"/>
                  <a:gd name="T79" fmla="*/ 169 h 406"/>
                  <a:gd name="T80" fmla="*/ 124 w 296"/>
                  <a:gd name="T81" fmla="*/ 175 h 406"/>
                  <a:gd name="T82" fmla="*/ 138 w 296"/>
                  <a:gd name="T83" fmla="*/ 180 h 406"/>
                  <a:gd name="T84" fmla="*/ 119 w 296"/>
                  <a:gd name="T85" fmla="*/ 186 h 406"/>
                  <a:gd name="T86" fmla="*/ 117 w 296"/>
                  <a:gd name="T87" fmla="*/ 208 h 406"/>
                  <a:gd name="T88" fmla="*/ 107 w 296"/>
                  <a:gd name="T89" fmla="*/ 233 h 406"/>
                  <a:gd name="T90" fmla="*/ 92 w 296"/>
                  <a:gd name="T91" fmla="*/ 239 h 406"/>
                  <a:gd name="T92" fmla="*/ 83 w 296"/>
                  <a:gd name="T93" fmla="*/ 213 h 406"/>
                  <a:gd name="T94" fmla="*/ 77 w 296"/>
                  <a:gd name="T95" fmla="*/ 229 h 406"/>
                  <a:gd name="T96" fmla="*/ 64 w 296"/>
                  <a:gd name="T97" fmla="*/ 259 h 406"/>
                  <a:gd name="T98" fmla="*/ 52 w 296"/>
                  <a:gd name="T99" fmla="*/ 286 h 406"/>
                  <a:gd name="T100" fmla="*/ 30 w 296"/>
                  <a:gd name="T101" fmla="*/ 304 h 406"/>
                  <a:gd name="T102" fmla="*/ 39 w 296"/>
                  <a:gd name="T103" fmla="*/ 345 h 406"/>
                  <a:gd name="T104" fmla="*/ 6 w 296"/>
                  <a:gd name="T105" fmla="*/ 365 h 406"/>
                  <a:gd name="T106" fmla="*/ 41 w 296"/>
                  <a:gd name="T107" fmla="*/ 380 h 406"/>
                  <a:gd name="T108" fmla="*/ 70 w 296"/>
                  <a:gd name="T109" fmla="*/ 345 h 406"/>
                  <a:gd name="T110" fmla="*/ 85 w 296"/>
                  <a:gd name="T111" fmla="*/ 335 h 406"/>
                  <a:gd name="T112" fmla="*/ 103 w 296"/>
                  <a:gd name="T113" fmla="*/ 350 h 406"/>
                  <a:gd name="T114" fmla="*/ 153 w 296"/>
                  <a:gd name="T115" fmla="*/ 311 h 406"/>
                  <a:gd name="T116" fmla="*/ 257 w 296"/>
                  <a:gd name="T117" fmla="*/ 2 h 406"/>
                  <a:gd name="T118" fmla="*/ 142 w 296"/>
                  <a:gd name="T119" fmla="*/ 158 h 406"/>
                  <a:gd name="T120" fmla="*/ 149 w 296"/>
                  <a:gd name="T121" fmla="*/ 154 h 406"/>
                  <a:gd name="T122" fmla="*/ 159 w 296"/>
                  <a:gd name="T123" fmla="*/ 19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6" h="406">
                    <a:moveTo>
                      <a:pt x="257" y="2"/>
                    </a:moveTo>
                    <a:cubicBezTo>
                      <a:pt x="256" y="2"/>
                      <a:pt x="256" y="2"/>
                      <a:pt x="255" y="1"/>
                    </a:cubicBezTo>
                    <a:cubicBezTo>
                      <a:pt x="254" y="1"/>
                      <a:pt x="254" y="3"/>
                      <a:pt x="253" y="4"/>
                    </a:cubicBezTo>
                    <a:cubicBezTo>
                      <a:pt x="252" y="6"/>
                      <a:pt x="251" y="6"/>
                      <a:pt x="250" y="8"/>
                    </a:cubicBezTo>
                    <a:cubicBezTo>
                      <a:pt x="249" y="9"/>
                      <a:pt x="249" y="10"/>
                      <a:pt x="249" y="11"/>
                    </a:cubicBezTo>
                    <a:cubicBezTo>
                      <a:pt x="249" y="12"/>
                      <a:pt x="248" y="13"/>
                      <a:pt x="248" y="14"/>
                    </a:cubicBezTo>
                    <a:cubicBezTo>
                      <a:pt x="248" y="15"/>
                      <a:pt x="250" y="16"/>
                      <a:pt x="249" y="17"/>
                    </a:cubicBezTo>
                    <a:cubicBezTo>
                      <a:pt x="248" y="19"/>
                      <a:pt x="250" y="21"/>
                      <a:pt x="251" y="24"/>
                    </a:cubicBezTo>
                    <a:cubicBezTo>
                      <a:pt x="253" y="30"/>
                      <a:pt x="245" y="28"/>
                      <a:pt x="243" y="27"/>
                    </a:cubicBezTo>
                    <a:cubicBezTo>
                      <a:pt x="242" y="27"/>
                      <a:pt x="240" y="26"/>
                      <a:pt x="239" y="28"/>
                    </a:cubicBezTo>
                    <a:cubicBezTo>
                      <a:pt x="239" y="29"/>
                      <a:pt x="238" y="30"/>
                      <a:pt x="238" y="32"/>
                    </a:cubicBezTo>
                    <a:cubicBezTo>
                      <a:pt x="239" y="34"/>
                      <a:pt x="240" y="36"/>
                      <a:pt x="240" y="38"/>
                    </a:cubicBezTo>
                    <a:cubicBezTo>
                      <a:pt x="240" y="41"/>
                      <a:pt x="240" y="44"/>
                      <a:pt x="242" y="47"/>
                    </a:cubicBezTo>
                    <a:cubicBezTo>
                      <a:pt x="243" y="48"/>
                      <a:pt x="243" y="48"/>
                      <a:pt x="244" y="48"/>
                    </a:cubicBezTo>
                    <a:cubicBezTo>
                      <a:pt x="245" y="49"/>
                      <a:pt x="245" y="51"/>
                      <a:pt x="245" y="51"/>
                    </a:cubicBezTo>
                    <a:cubicBezTo>
                      <a:pt x="247" y="53"/>
                      <a:pt x="248" y="54"/>
                      <a:pt x="249" y="56"/>
                    </a:cubicBezTo>
                    <a:cubicBezTo>
                      <a:pt x="249" y="58"/>
                      <a:pt x="249" y="59"/>
                      <a:pt x="249" y="60"/>
                    </a:cubicBezTo>
                    <a:cubicBezTo>
                      <a:pt x="249" y="62"/>
                      <a:pt x="249" y="64"/>
                      <a:pt x="249" y="66"/>
                    </a:cubicBezTo>
                    <a:cubicBezTo>
                      <a:pt x="250" y="68"/>
                      <a:pt x="252" y="71"/>
                      <a:pt x="252" y="74"/>
                    </a:cubicBezTo>
                    <a:cubicBezTo>
                      <a:pt x="252" y="76"/>
                      <a:pt x="252" y="76"/>
                      <a:pt x="251" y="77"/>
                    </a:cubicBezTo>
                    <a:cubicBezTo>
                      <a:pt x="251" y="77"/>
                      <a:pt x="251" y="78"/>
                      <a:pt x="250" y="78"/>
                    </a:cubicBezTo>
                    <a:cubicBezTo>
                      <a:pt x="250" y="78"/>
                      <a:pt x="250" y="77"/>
                      <a:pt x="250" y="78"/>
                    </a:cubicBezTo>
                    <a:cubicBezTo>
                      <a:pt x="249" y="79"/>
                      <a:pt x="249" y="80"/>
                      <a:pt x="249" y="78"/>
                    </a:cubicBezTo>
                    <a:cubicBezTo>
                      <a:pt x="248" y="76"/>
                      <a:pt x="248" y="74"/>
                      <a:pt x="248" y="73"/>
                    </a:cubicBezTo>
                    <a:cubicBezTo>
                      <a:pt x="248" y="71"/>
                      <a:pt x="248" y="69"/>
                      <a:pt x="247" y="67"/>
                    </a:cubicBezTo>
                    <a:cubicBezTo>
                      <a:pt x="247" y="65"/>
                      <a:pt x="247" y="64"/>
                      <a:pt x="247" y="63"/>
                    </a:cubicBezTo>
                    <a:cubicBezTo>
                      <a:pt x="248" y="61"/>
                      <a:pt x="248" y="57"/>
                      <a:pt x="246" y="57"/>
                    </a:cubicBezTo>
                    <a:cubicBezTo>
                      <a:pt x="246" y="57"/>
                      <a:pt x="245" y="56"/>
                      <a:pt x="244" y="55"/>
                    </a:cubicBezTo>
                    <a:cubicBezTo>
                      <a:pt x="243" y="54"/>
                      <a:pt x="243" y="52"/>
                      <a:pt x="241" y="51"/>
                    </a:cubicBezTo>
                    <a:cubicBezTo>
                      <a:pt x="240" y="49"/>
                      <a:pt x="240" y="48"/>
                      <a:pt x="239" y="47"/>
                    </a:cubicBezTo>
                    <a:cubicBezTo>
                      <a:pt x="238" y="46"/>
                      <a:pt x="237" y="46"/>
                      <a:pt x="236" y="46"/>
                    </a:cubicBezTo>
                    <a:cubicBezTo>
                      <a:pt x="236" y="46"/>
                      <a:pt x="236" y="45"/>
                      <a:pt x="236" y="44"/>
                    </a:cubicBezTo>
                    <a:cubicBezTo>
                      <a:pt x="235" y="42"/>
                      <a:pt x="234" y="41"/>
                      <a:pt x="234" y="42"/>
                    </a:cubicBezTo>
                    <a:cubicBezTo>
                      <a:pt x="233" y="42"/>
                      <a:pt x="233" y="43"/>
                      <a:pt x="233" y="45"/>
                    </a:cubicBezTo>
                    <a:cubicBezTo>
                      <a:pt x="233" y="45"/>
                      <a:pt x="234" y="46"/>
                      <a:pt x="234" y="47"/>
                    </a:cubicBezTo>
                    <a:cubicBezTo>
                      <a:pt x="234" y="47"/>
                      <a:pt x="235" y="48"/>
                      <a:pt x="235" y="48"/>
                    </a:cubicBezTo>
                    <a:cubicBezTo>
                      <a:pt x="237" y="51"/>
                      <a:pt x="235" y="54"/>
                      <a:pt x="234" y="53"/>
                    </a:cubicBezTo>
                    <a:cubicBezTo>
                      <a:pt x="233" y="52"/>
                      <a:pt x="233" y="50"/>
                      <a:pt x="232" y="49"/>
                    </a:cubicBezTo>
                    <a:cubicBezTo>
                      <a:pt x="231" y="48"/>
                      <a:pt x="231" y="49"/>
                      <a:pt x="232" y="50"/>
                    </a:cubicBezTo>
                    <a:cubicBezTo>
                      <a:pt x="232" y="53"/>
                      <a:pt x="234" y="57"/>
                      <a:pt x="235" y="58"/>
                    </a:cubicBezTo>
                    <a:cubicBezTo>
                      <a:pt x="236" y="60"/>
                      <a:pt x="237" y="59"/>
                      <a:pt x="238" y="62"/>
                    </a:cubicBezTo>
                    <a:cubicBezTo>
                      <a:pt x="240" y="66"/>
                      <a:pt x="236" y="63"/>
                      <a:pt x="235" y="62"/>
                    </a:cubicBezTo>
                    <a:cubicBezTo>
                      <a:pt x="233" y="60"/>
                      <a:pt x="232" y="61"/>
                      <a:pt x="231" y="57"/>
                    </a:cubicBezTo>
                    <a:cubicBezTo>
                      <a:pt x="231" y="55"/>
                      <a:pt x="230" y="53"/>
                      <a:pt x="230" y="51"/>
                    </a:cubicBezTo>
                    <a:cubicBezTo>
                      <a:pt x="230" y="48"/>
                      <a:pt x="230" y="47"/>
                      <a:pt x="230" y="45"/>
                    </a:cubicBezTo>
                    <a:cubicBezTo>
                      <a:pt x="229" y="43"/>
                      <a:pt x="229" y="41"/>
                      <a:pt x="229" y="39"/>
                    </a:cubicBezTo>
                    <a:cubicBezTo>
                      <a:pt x="229" y="38"/>
                      <a:pt x="228" y="36"/>
                      <a:pt x="227" y="34"/>
                    </a:cubicBezTo>
                    <a:cubicBezTo>
                      <a:pt x="227" y="34"/>
                      <a:pt x="226" y="31"/>
                      <a:pt x="226" y="32"/>
                    </a:cubicBezTo>
                    <a:cubicBezTo>
                      <a:pt x="226" y="33"/>
                      <a:pt x="226" y="35"/>
                      <a:pt x="227" y="35"/>
                    </a:cubicBezTo>
                    <a:cubicBezTo>
                      <a:pt x="228" y="38"/>
                      <a:pt x="229" y="39"/>
                      <a:pt x="229" y="42"/>
                    </a:cubicBezTo>
                    <a:cubicBezTo>
                      <a:pt x="229" y="43"/>
                      <a:pt x="229" y="45"/>
                      <a:pt x="228" y="46"/>
                    </a:cubicBezTo>
                    <a:cubicBezTo>
                      <a:pt x="228" y="47"/>
                      <a:pt x="226" y="46"/>
                      <a:pt x="226" y="46"/>
                    </a:cubicBezTo>
                    <a:cubicBezTo>
                      <a:pt x="225" y="48"/>
                      <a:pt x="226" y="52"/>
                      <a:pt x="226" y="55"/>
                    </a:cubicBezTo>
                    <a:cubicBezTo>
                      <a:pt x="227" y="59"/>
                      <a:pt x="229" y="63"/>
                      <a:pt x="230" y="67"/>
                    </a:cubicBezTo>
                    <a:cubicBezTo>
                      <a:pt x="231" y="71"/>
                      <a:pt x="230" y="73"/>
                      <a:pt x="230" y="77"/>
                    </a:cubicBezTo>
                    <a:cubicBezTo>
                      <a:pt x="230" y="78"/>
                      <a:pt x="230" y="80"/>
                      <a:pt x="231" y="82"/>
                    </a:cubicBezTo>
                    <a:cubicBezTo>
                      <a:pt x="231" y="84"/>
                      <a:pt x="231" y="85"/>
                      <a:pt x="231" y="87"/>
                    </a:cubicBezTo>
                    <a:cubicBezTo>
                      <a:pt x="232" y="89"/>
                      <a:pt x="235" y="86"/>
                      <a:pt x="235" y="86"/>
                    </a:cubicBezTo>
                    <a:cubicBezTo>
                      <a:pt x="237" y="85"/>
                      <a:pt x="238" y="88"/>
                      <a:pt x="239" y="90"/>
                    </a:cubicBezTo>
                    <a:cubicBezTo>
                      <a:pt x="241" y="92"/>
                      <a:pt x="242" y="96"/>
                      <a:pt x="243" y="99"/>
                    </a:cubicBezTo>
                    <a:cubicBezTo>
                      <a:pt x="243" y="102"/>
                      <a:pt x="240" y="98"/>
                      <a:pt x="241" y="102"/>
                    </a:cubicBezTo>
                    <a:cubicBezTo>
                      <a:pt x="242" y="105"/>
                      <a:pt x="242" y="107"/>
                      <a:pt x="243" y="107"/>
                    </a:cubicBezTo>
                    <a:cubicBezTo>
                      <a:pt x="244" y="107"/>
                      <a:pt x="244" y="109"/>
                      <a:pt x="243" y="109"/>
                    </a:cubicBezTo>
                    <a:cubicBezTo>
                      <a:pt x="243" y="109"/>
                      <a:pt x="242" y="109"/>
                      <a:pt x="241" y="108"/>
                    </a:cubicBezTo>
                    <a:cubicBezTo>
                      <a:pt x="240" y="106"/>
                      <a:pt x="240" y="103"/>
                      <a:pt x="240" y="101"/>
                    </a:cubicBezTo>
                    <a:cubicBezTo>
                      <a:pt x="240" y="97"/>
                      <a:pt x="239" y="94"/>
                      <a:pt x="238" y="91"/>
                    </a:cubicBezTo>
                    <a:cubicBezTo>
                      <a:pt x="237" y="89"/>
                      <a:pt x="235" y="90"/>
                      <a:pt x="235" y="90"/>
                    </a:cubicBezTo>
                    <a:cubicBezTo>
                      <a:pt x="233" y="91"/>
                      <a:pt x="233" y="95"/>
                      <a:pt x="234" y="98"/>
                    </a:cubicBezTo>
                    <a:cubicBezTo>
                      <a:pt x="235" y="101"/>
                      <a:pt x="236" y="104"/>
                      <a:pt x="235" y="106"/>
                    </a:cubicBezTo>
                    <a:cubicBezTo>
                      <a:pt x="234" y="108"/>
                      <a:pt x="235" y="113"/>
                      <a:pt x="234" y="115"/>
                    </a:cubicBezTo>
                    <a:cubicBezTo>
                      <a:pt x="234" y="117"/>
                      <a:pt x="232" y="117"/>
                      <a:pt x="232" y="119"/>
                    </a:cubicBezTo>
                    <a:cubicBezTo>
                      <a:pt x="232" y="123"/>
                      <a:pt x="229" y="119"/>
                      <a:pt x="228" y="119"/>
                    </a:cubicBezTo>
                    <a:cubicBezTo>
                      <a:pt x="227" y="119"/>
                      <a:pt x="227" y="115"/>
                      <a:pt x="228" y="115"/>
                    </a:cubicBezTo>
                    <a:cubicBezTo>
                      <a:pt x="229" y="115"/>
                      <a:pt x="231" y="112"/>
                      <a:pt x="231" y="110"/>
                    </a:cubicBezTo>
                    <a:cubicBezTo>
                      <a:pt x="231" y="109"/>
                      <a:pt x="232" y="108"/>
                      <a:pt x="232" y="107"/>
                    </a:cubicBezTo>
                    <a:cubicBezTo>
                      <a:pt x="232" y="106"/>
                      <a:pt x="231" y="104"/>
                      <a:pt x="231" y="102"/>
                    </a:cubicBezTo>
                    <a:cubicBezTo>
                      <a:pt x="232" y="101"/>
                      <a:pt x="232" y="99"/>
                      <a:pt x="231" y="97"/>
                    </a:cubicBezTo>
                    <a:cubicBezTo>
                      <a:pt x="231" y="95"/>
                      <a:pt x="230" y="93"/>
                      <a:pt x="230" y="92"/>
                    </a:cubicBezTo>
                    <a:cubicBezTo>
                      <a:pt x="229" y="88"/>
                      <a:pt x="229" y="85"/>
                      <a:pt x="228" y="82"/>
                    </a:cubicBezTo>
                    <a:cubicBezTo>
                      <a:pt x="228" y="78"/>
                      <a:pt x="228" y="74"/>
                      <a:pt x="227" y="70"/>
                    </a:cubicBezTo>
                    <a:cubicBezTo>
                      <a:pt x="226" y="68"/>
                      <a:pt x="227" y="67"/>
                      <a:pt x="227" y="65"/>
                    </a:cubicBezTo>
                    <a:cubicBezTo>
                      <a:pt x="227" y="64"/>
                      <a:pt x="226" y="61"/>
                      <a:pt x="225" y="60"/>
                    </a:cubicBezTo>
                    <a:cubicBezTo>
                      <a:pt x="225" y="57"/>
                      <a:pt x="222" y="55"/>
                      <a:pt x="223" y="52"/>
                    </a:cubicBezTo>
                    <a:cubicBezTo>
                      <a:pt x="223" y="49"/>
                      <a:pt x="223" y="46"/>
                      <a:pt x="223" y="42"/>
                    </a:cubicBezTo>
                    <a:cubicBezTo>
                      <a:pt x="222" y="39"/>
                      <a:pt x="222" y="36"/>
                      <a:pt x="220" y="33"/>
                    </a:cubicBezTo>
                    <a:cubicBezTo>
                      <a:pt x="220" y="33"/>
                      <a:pt x="219" y="32"/>
                      <a:pt x="218" y="31"/>
                    </a:cubicBezTo>
                    <a:cubicBezTo>
                      <a:pt x="217" y="31"/>
                      <a:pt x="217" y="32"/>
                      <a:pt x="216" y="31"/>
                    </a:cubicBezTo>
                    <a:cubicBezTo>
                      <a:pt x="215" y="30"/>
                      <a:pt x="214" y="28"/>
                      <a:pt x="214" y="32"/>
                    </a:cubicBezTo>
                    <a:cubicBezTo>
                      <a:pt x="214" y="32"/>
                      <a:pt x="214" y="33"/>
                      <a:pt x="214" y="34"/>
                    </a:cubicBezTo>
                    <a:cubicBezTo>
                      <a:pt x="214" y="36"/>
                      <a:pt x="214" y="36"/>
                      <a:pt x="214" y="38"/>
                    </a:cubicBezTo>
                    <a:cubicBezTo>
                      <a:pt x="213" y="39"/>
                      <a:pt x="214" y="41"/>
                      <a:pt x="214" y="43"/>
                    </a:cubicBezTo>
                    <a:cubicBezTo>
                      <a:pt x="214" y="44"/>
                      <a:pt x="214" y="46"/>
                      <a:pt x="214" y="47"/>
                    </a:cubicBezTo>
                    <a:cubicBezTo>
                      <a:pt x="214" y="48"/>
                      <a:pt x="214" y="49"/>
                      <a:pt x="213" y="51"/>
                    </a:cubicBezTo>
                    <a:cubicBezTo>
                      <a:pt x="213" y="52"/>
                      <a:pt x="213" y="51"/>
                      <a:pt x="212" y="51"/>
                    </a:cubicBezTo>
                    <a:cubicBezTo>
                      <a:pt x="211" y="51"/>
                      <a:pt x="212" y="53"/>
                      <a:pt x="212" y="54"/>
                    </a:cubicBezTo>
                    <a:cubicBezTo>
                      <a:pt x="212" y="56"/>
                      <a:pt x="212" y="57"/>
                      <a:pt x="212" y="59"/>
                    </a:cubicBezTo>
                    <a:cubicBezTo>
                      <a:pt x="213" y="57"/>
                      <a:pt x="215" y="60"/>
                      <a:pt x="215" y="62"/>
                    </a:cubicBezTo>
                    <a:cubicBezTo>
                      <a:pt x="215" y="64"/>
                      <a:pt x="215" y="66"/>
                      <a:pt x="215" y="67"/>
                    </a:cubicBezTo>
                    <a:cubicBezTo>
                      <a:pt x="216" y="69"/>
                      <a:pt x="215" y="70"/>
                      <a:pt x="214" y="71"/>
                    </a:cubicBezTo>
                    <a:cubicBezTo>
                      <a:pt x="214" y="71"/>
                      <a:pt x="214" y="74"/>
                      <a:pt x="215" y="76"/>
                    </a:cubicBezTo>
                    <a:cubicBezTo>
                      <a:pt x="216" y="77"/>
                      <a:pt x="218" y="76"/>
                      <a:pt x="218" y="80"/>
                    </a:cubicBezTo>
                    <a:cubicBezTo>
                      <a:pt x="219" y="82"/>
                      <a:pt x="219" y="84"/>
                      <a:pt x="220" y="86"/>
                    </a:cubicBezTo>
                    <a:cubicBezTo>
                      <a:pt x="222" y="87"/>
                      <a:pt x="222" y="89"/>
                      <a:pt x="222" y="92"/>
                    </a:cubicBezTo>
                    <a:cubicBezTo>
                      <a:pt x="221" y="95"/>
                      <a:pt x="220" y="91"/>
                      <a:pt x="219" y="90"/>
                    </a:cubicBezTo>
                    <a:cubicBezTo>
                      <a:pt x="217" y="87"/>
                      <a:pt x="215" y="84"/>
                      <a:pt x="213" y="80"/>
                    </a:cubicBezTo>
                    <a:cubicBezTo>
                      <a:pt x="211" y="78"/>
                      <a:pt x="209" y="75"/>
                      <a:pt x="207" y="73"/>
                    </a:cubicBezTo>
                    <a:cubicBezTo>
                      <a:pt x="205" y="71"/>
                      <a:pt x="203" y="71"/>
                      <a:pt x="202" y="71"/>
                    </a:cubicBezTo>
                    <a:cubicBezTo>
                      <a:pt x="201" y="71"/>
                      <a:pt x="201" y="70"/>
                      <a:pt x="201" y="69"/>
                    </a:cubicBezTo>
                    <a:cubicBezTo>
                      <a:pt x="200" y="68"/>
                      <a:pt x="199" y="66"/>
                      <a:pt x="199" y="65"/>
                    </a:cubicBezTo>
                    <a:cubicBezTo>
                      <a:pt x="199" y="65"/>
                      <a:pt x="195" y="58"/>
                      <a:pt x="196" y="61"/>
                    </a:cubicBezTo>
                    <a:cubicBezTo>
                      <a:pt x="196" y="63"/>
                      <a:pt x="197" y="66"/>
                      <a:pt x="197" y="67"/>
                    </a:cubicBezTo>
                    <a:cubicBezTo>
                      <a:pt x="198" y="68"/>
                      <a:pt x="199" y="70"/>
                      <a:pt x="199" y="70"/>
                    </a:cubicBezTo>
                    <a:cubicBezTo>
                      <a:pt x="200" y="71"/>
                      <a:pt x="201" y="71"/>
                      <a:pt x="201" y="73"/>
                    </a:cubicBezTo>
                    <a:cubicBezTo>
                      <a:pt x="201" y="76"/>
                      <a:pt x="203" y="77"/>
                      <a:pt x="203" y="80"/>
                    </a:cubicBezTo>
                    <a:cubicBezTo>
                      <a:pt x="204" y="84"/>
                      <a:pt x="202" y="82"/>
                      <a:pt x="202" y="85"/>
                    </a:cubicBezTo>
                    <a:cubicBezTo>
                      <a:pt x="202" y="88"/>
                      <a:pt x="202" y="90"/>
                      <a:pt x="200" y="87"/>
                    </a:cubicBezTo>
                    <a:cubicBezTo>
                      <a:pt x="199" y="84"/>
                      <a:pt x="200" y="82"/>
                      <a:pt x="199" y="79"/>
                    </a:cubicBezTo>
                    <a:cubicBezTo>
                      <a:pt x="198" y="76"/>
                      <a:pt x="197" y="83"/>
                      <a:pt x="196" y="83"/>
                    </a:cubicBezTo>
                    <a:cubicBezTo>
                      <a:pt x="196" y="84"/>
                      <a:pt x="195" y="84"/>
                      <a:pt x="195" y="84"/>
                    </a:cubicBezTo>
                    <a:cubicBezTo>
                      <a:pt x="194" y="83"/>
                      <a:pt x="193" y="81"/>
                      <a:pt x="192" y="82"/>
                    </a:cubicBezTo>
                    <a:cubicBezTo>
                      <a:pt x="192" y="83"/>
                      <a:pt x="192" y="84"/>
                      <a:pt x="191" y="84"/>
                    </a:cubicBezTo>
                    <a:cubicBezTo>
                      <a:pt x="191" y="84"/>
                      <a:pt x="191" y="86"/>
                      <a:pt x="191" y="87"/>
                    </a:cubicBezTo>
                    <a:cubicBezTo>
                      <a:pt x="190" y="88"/>
                      <a:pt x="189" y="87"/>
                      <a:pt x="189" y="86"/>
                    </a:cubicBezTo>
                    <a:cubicBezTo>
                      <a:pt x="188" y="85"/>
                      <a:pt x="188" y="83"/>
                      <a:pt x="188" y="82"/>
                    </a:cubicBezTo>
                    <a:cubicBezTo>
                      <a:pt x="188" y="81"/>
                      <a:pt x="188" y="77"/>
                      <a:pt x="187" y="77"/>
                    </a:cubicBezTo>
                    <a:cubicBezTo>
                      <a:pt x="185" y="79"/>
                      <a:pt x="185" y="83"/>
                      <a:pt x="183" y="83"/>
                    </a:cubicBezTo>
                    <a:cubicBezTo>
                      <a:pt x="182" y="84"/>
                      <a:pt x="180" y="85"/>
                      <a:pt x="179" y="88"/>
                    </a:cubicBezTo>
                    <a:cubicBezTo>
                      <a:pt x="178" y="89"/>
                      <a:pt x="176" y="90"/>
                      <a:pt x="176" y="92"/>
                    </a:cubicBezTo>
                    <a:cubicBezTo>
                      <a:pt x="175" y="95"/>
                      <a:pt x="177" y="98"/>
                      <a:pt x="176" y="100"/>
                    </a:cubicBezTo>
                    <a:cubicBezTo>
                      <a:pt x="175" y="102"/>
                      <a:pt x="173" y="104"/>
                      <a:pt x="172" y="100"/>
                    </a:cubicBezTo>
                    <a:cubicBezTo>
                      <a:pt x="171" y="98"/>
                      <a:pt x="169" y="94"/>
                      <a:pt x="169" y="91"/>
                    </a:cubicBezTo>
                    <a:cubicBezTo>
                      <a:pt x="169" y="88"/>
                      <a:pt x="172" y="91"/>
                      <a:pt x="171" y="86"/>
                    </a:cubicBezTo>
                    <a:cubicBezTo>
                      <a:pt x="171" y="84"/>
                      <a:pt x="170" y="82"/>
                      <a:pt x="169" y="80"/>
                    </a:cubicBezTo>
                    <a:cubicBezTo>
                      <a:pt x="169" y="79"/>
                      <a:pt x="168" y="79"/>
                      <a:pt x="167" y="78"/>
                    </a:cubicBezTo>
                    <a:cubicBezTo>
                      <a:pt x="166" y="78"/>
                      <a:pt x="165" y="77"/>
                      <a:pt x="164" y="76"/>
                    </a:cubicBezTo>
                    <a:cubicBezTo>
                      <a:pt x="164" y="76"/>
                      <a:pt x="163" y="75"/>
                      <a:pt x="163" y="75"/>
                    </a:cubicBezTo>
                    <a:cubicBezTo>
                      <a:pt x="163" y="75"/>
                      <a:pt x="164" y="77"/>
                      <a:pt x="164" y="77"/>
                    </a:cubicBezTo>
                    <a:cubicBezTo>
                      <a:pt x="165" y="79"/>
                      <a:pt x="165" y="80"/>
                      <a:pt x="165" y="82"/>
                    </a:cubicBezTo>
                    <a:cubicBezTo>
                      <a:pt x="166" y="84"/>
                      <a:pt x="166" y="86"/>
                      <a:pt x="166" y="89"/>
                    </a:cubicBezTo>
                    <a:cubicBezTo>
                      <a:pt x="166" y="91"/>
                      <a:pt x="166" y="93"/>
                      <a:pt x="167" y="95"/>
                    </a:cubicBezTo>
                    <a:cubicBezTo>
                      <a:pt x="167" y="97"/>
                      <a:pt x="169" y="100"/>
                      <a:pt x="169" y="103"/>
                    </a:cubicBezTo>
                    <a:cubicBezTo>
                      <a:pt x="169" y="104"/>
                      <a:pt x="169" y="106"/>
                      <a:pt x="169" y="108"/>
                    </a:cubicBezTo>
                    <a:cubicBezTo>
                      <a:pt x="169" y="109"/>
                      <a:pt x="168" y="109"/>
                      <a:pt x="168" y="108"/>
                    </a:cubicBezTo>
                    <a:cubicBezTo>
                      <a:pt x="167" y="107"/>
                      <a:pt x="166" y="107"/>
                      <a:pt x="166" y="106"/>
                    </a:cubicBezTo>
                    <a:cubicBezTo>
                      <a:pt x="165" y="105"/>
                      <a:pt x="164" y="103"/>
                      <a:pt x="164" y="102"/>
                    </a:cubicBezTo>
                    <a:cubicBezTo>
                      <a:pt x="163" y="101"/>
                      <a:pt x="163" y="102"/>
                      <a:pt x="163" y="103"/>
                    </a:cubicBezTo>
                    <a:cubicBezTo>
                      <a:pt x="163" y="105"/>
                      <a:pt x="163" y="106"/>
                      <a:pt x="162" y="107"/>
                    </a:cubicBezTo>
                    <a:cubicBezTo>
                      <a:pt x="162" y="108"/>
                      <a:pt x="161" y="110"/>
                      <a:pt x="161" y="111"/>
                    </a:cubicBezTo>
                    <a:cubicBezTo>
                      <a:pt x="160" y="112"/>
                      <a:pt x="159" y="112"/>
                      <a:pt x="159" y="113"/>
                    </a:cubicBezTo>
                    <a:cubicBezTo>
                      <a:pt x="158" y="115"/>
                      <a:pt x="160" y="118"/>
                      <a:pt x="161" y="121"/>
                    </a:cubicBezTo>
                    <a:cubicBezTo>
                      <a:pt x="161" y="123"/>
                      <a:pt x="162" y="125"/>
                      <a:pt x="163" y="128"/>
                    </a:cubicBezTo>
                    <a:cubicBezTo>
                      <a:pt x="164" y="130"/>
                      <a:pt x="160" y="126"/>
                      <a:pt x="159" y="126"/>
                    </a:cubicBezTo>
                    <a:cubicBezTo>
                      <a:pt x="157" y="125"/>
                      <a:pt x="156" y="125"/>
                      <a:pt x="155" y="120"/>
                    </a:cubicBezTo>
                    <a:cubicBezTo>
                      <a:pt x="154" y="117"/>
                      <a:pt x="151" y="117"/>
                      <a:pt x="151" y="120"/>
                    </a:cubicBezTo>
                    <a:cubicBezTo>
                      <a:pt x="151" y="122"/>
                      <a:pt x="152" y="123"/>
                      <a:pt x="152" y="124"/>
                    </a:cubicBezTo>
                    <a:cubicBezTo>
                      <a:pt x="153" y="126"/>
                      <a:pt x="153" y="128"/>
                      <a:pt x="154" y="128"/>
                    </a:cubicBezTo>
                    <a:cubicBezTo>
                      <a:pt x="155" y="129"/>
                      <a:pt x="156" y="128"/>
                      <a:pt x="156" y="130"/>
                    </a:cubicBezTo>
                    <a:cubicBezTo>
                      <a:pt x="157" y="132"/>
                      <a:pt x="157" y="134"/>
                      <a:pt x="157" y="135"/>
                    </a:cubicBezTo>
                    <a:cubicBezTo>
                      <a:pt x="156" y="138"/>
                      <a:pt x="154" y="135"/>
                      <a:pt x="152" y="132"/>
                    </a:cubicBezTo>
                    <a:cubicBezTo>
                      <a:pt x="152" y="131"/>
                      <a:pt x="151" y="130"/>
                      <a:pt x="150" y="129"/>
                    </a:cubicBezTo>
                    <a:cubicBezTo>
                      <a:pt x="150" y="129"/>
                      <a:pt x="148" y="128"/>
                      <a:pt x="148" y="127"/>
                    </a:cubicBezTo>
                    <a:cubicBezTo>
                      <a:pt x="148" y="122"/>
                      <a:pt x="147" y="118"/>
                      <a:pt x="146" y="113"/>
                    </a:cubicBezTo>
                    <a:cubicBezTo>
                      <a:pt x="146" y="111"/>
                      <a:pt x="146" y="109"/>
                      <a:pt x="145" y="107"/>
                    </a:cubicBezTo>
                    <a:cubicBezTo>
                      <a:pt x="144" y="105"/>
                      <a:pt x="144" y="103"/>
                      <a:pt x="143" y="101"/>
                    </a:cubicBezTo>
                    <a:cubicBezTo>
                      <a:pt x="142" y="101"/>
                      <a:pt x="141" y="100"/>
                      <a:pt x="141" y="99"/>
                    </a:cubicBezTo>
                    <a:cubicBezTo>
                      <a:pt x="140" y="98"/>
                      <a:pt x="140" y="96"/>
                      <a:pt x="139" y="95"/>
                    </a:cubicBezTo>
                    <a:cubicBezTo>
                      <a:pt x="139" y="94"/>
                      <a:pt x="138" y="93"/>
                      <a:pt x="137" y="92"/>
                    </a:cubicBezTo>
                    <a:cubicBezTo>
                      <a:pt x="137" y="91"/>
                      <a:pt x="136" y="89"/>
                      <a:pt x="138" y="90"/>
                    </a:cubicBezTo>
                    <a:cubicBezTo>
                      <a:pt x="140" y="92"/>
                      <a:pt x="142" y="94"/>
                      <a:pt x="144" y="97"/>
                    </a:cubicBezTo>
                    <a:cubicBezTo>
                      <a:pt x="145" y="99"/>
                      <a:pt x="146" y="101"/>
                      <a:pt x="147" y="101"/>
                    </a:cubicBezTo>
                    <a:cubicBezTo>
                      <a:pt x="148" y="102"/>
                      <a:pt x="149" y="103"/>
                      <a:pt x="151" y="104"/>
                    </a:cubicBezTo>
                    <a:cubicBezTo>
                      <a:pt x="152" y="105"/>
                      <a:pt x="153" y="106"/>
                      <a:pt x="154" y="106"/>
                    </a:cubicBezTo>
                    <a:cubicBezTo>
                      <a:pt x="155" y="107"/>
                      <a:pt x="155" y="105"/>
                      <a:pt x="156" y="105"/>
                    </a:cubicBezTo>
                    <a:cubicBezTo>
                      <a:pt x="157" y="105"/>
                      <a:pt x="158" y="106"/>
                      <a:pt x="159" y="105"/>
                    </a:cubicBezTo>
                    <a:cubicBezTo>
                      <a:pt x="159" y="104"/>
                      <a:pt x="160" y="102"/>
                      <a:pt x="160" y="101"/>
                    </a:cubicBezTo>
                    <a:cubicBezTo>
                      <a:pt x="162" y="94"/>
                      <a:pt x="157" y="84"/>
                      <a:pt x="154" y="80"/>
                    </a:cubicBezTo>
                    <a:cubicBezTo>
                      <a:pt x="153" y="79"/>
                      <a:pt x="152" y="78"/>
                      <a:pt x="151" y="76"/>
                    </a:cubicBezTo>
                    <a:cubicBezTo>
                      <a:pt x="150" y="74"/>
                      <a:pt x="150" y="73"/>
                      <a:pt x="149" y="71"/>
                    </a:cubicBezTo>
                    <a:cubicBezTo>
                      <a:pt x="147" y="69"/>
                      <a:pt x="146" y="66"/>
                      <a:pt x="144" y="63"/>
                    </a:cubicBezTo>
                    <a:cubicBezTo>
                      <a:pt x="144" y="62"/>
                      <a:pt x="143" y="60"/>
                      <a:pt x="143" y="60"/>
                    </a:cubicBezTo>
                    <a:cubicBezTo>
                      <a:pt x="142" y="59"/>
                      <a:pt x="141" y="60"/>
                      <a:pt x="140" y="60"/>
                    </a:cubicBezTo>
                    <a:cubicBezTo>
                      <a:pt x="139" y="59"/>
                      <a:pt x="138" y="58"/>
                      <a:pt x="137" y="58"/>
                    </a:cubicBezTo>
                    <a:cubicBezTo>
                      <a:pt x="137" y="58"/>
                      <a:pt x="136" y="58"/>
                      <a:pt x="136" y="57"/>
                    </a:cubicBezTo>
                    <a:cubicBezTo>
                      <a:pt x="135" y="56"/>
                      <a:pt x="135" y="56"/>
                      <a:pt x="134" y="55"/>
                    </a:cubicBezTo>
                    <a:cubicBezTo>
                      <a:pt x="133" y="55"/>
                      <a:pt x="134" y="58"/>
                      <a:pt x="134" y="57"/>
                    </a:cubicBezTo>
                    <a:cubicBezTo>
                      <a:pt x="133" y="57"/>
                      <a:pt x="132" y="55"/>
                      <a:pt x="131" y="54"/>
                    </a:cubicBezTo>
                    <a:cubicBezTo>
                      <a:pt x="130" y="53"/>
                      <a:pt x="129" y="53"/>
                      <a:pt x="128" y="52"/>
                    </a:cubicBezTo>
                    <a:cubicBezTo>
                      <a:pt x="128" y="51"/>
                      <a:pt x="126" y="51"/>
                      <a:pt x="126" y="49"/>
                    </a:cubicBezTo>
                    <a:cubicBezTo>
                      <a:pt x="125" y="48"/>
                      <a:pt x="124" y="43"/>
                      <a:pt x="124" y="42"/>
                    </a:cubicBezTo>
                    <a:cubicBezTo>
                      <a:pt x="125" y="41"/>
                      <a:pt x="126" y="42"/>
                      <a:pt x="126" y="41"/>
                    </a:cubicBezTo>
                    <a:cubicBezTo>
                      <a:pt x="127" y="41"/>
                      <a:pt x="126" y="39"/>
                      <a:pt x="125" y="38"/>
                    </a:cubicBezTo>
                    <a:cubicBezTo>
                      <a:pt x="125" y="37"/>
                      <a:pt x="124" y="36"/>
                      <a:pt x="123" y="35"/>
                    </a:cubicBezTo>
                    <a:cubicBezTo>
                      <a:pt x="122" y="35"/>
                      <a:pt x="122" y="34"/>
                      <a:pt x="121" y="32"/>
                    </a:cubicBezTo>
                    <a:cubicBezTo>
                      <a:pt x="121" y="31"/>
                      <a:pt x="120" y="32"/>
                      <a:pt x="119" y="31"/>
                    </a:cubicBezTo>
                    <a:cubicBezTo>
                      <a:pt x="119" y="30"/>
                      <a:pt x="119" y="29"/>
                      <a:pt x="118" y="29"/>
                    </a:cubicBezTo>
                    <a:cubicBezTo>
                      <a:pt x="118" y="28"/>
                      <a:pt x="117" y="28"/>
                      <a:pt x="116" y="27"/>
                    </a:cubicBezTo>
                    <a:cubicBezTo>
                      <a:pt x="116" y="26"/>
                      <a:pt x="115" y="24"/>
                      <a:pt x="114" y="24"/>
                    </a:cubicBezTo>
                    <a:cubicBezTo>
                      <a:pt x="114" y="24"/>
                      <a:pt x="115" y="26"/>
                      <a:pt x="114" y="26"/>
                    </a:cubicBezTo>
                    <a:cubicBezTo>
                      <a:pt x="114" y="26"/>
                      <a:pt x="113" y="26"/>
                      <a:pt x="113" y="26"/>
                    </a:cubicBezTo>
                    <a:cubicBezTo>
                      <a:pt x="113" y="26"/>
                      <a:pt x="113" y="26"/>
                      <a:pt x="112" y="26"/>
                    </a:cubicBezTo>
                    <a:cubicBezTo>
                      <a:pt x="112" y="26"/>
                      <a:pt x="111" y="24"/>
                      <a:pt x="111" y="26"/>
                    </a:cubicBezTo>
                    <a:cubicBezTo>
                      <a:pt x="111" y="27"/>
                      <a:pt x="109" y="25"/>
                      <a:pt x="109" y="25"/>
                    </a:cubicBezTo>
                    <a:cubicBezTo>
                      <a:pt x="108" y="24"/>
                      <a:pt x="108" y="27"/>
                      <a:pt x="108" y="27"/>
                    </a:cubicBezTo>
                    <a:cubicBezTo>
                      <a:pt x="108" y="28"/>
                      <a:pt x="107" y="26"/>
                      <a:pt x="107" y="25"/>
                    </a:cubicBezTo>
                    <a:cubicBezTo>
                      <a:pt x="106" y="23"/>
                      <a:pt x="106" y="24"/>
                      <a:pt x="105" y="25"/>
                    </a:cubicBezTo>
                    <a:cubicBezTo>
                      <a:pt x="105" y="26"/>
                      <a:pt x="105" y="27"/>
                      <a:pt x="105" y="29"/>
                    </a:cubicBezTo>
                    <a:cubicBezTo>
                      <a:pt x="105" y="31"/>
                      <a:pt x="104" y="31"/>
                      <a:pt x="103" y="29"/>
                    </a:cubicBezTo>
                    <a:cubicBezTo>
                      <a:pt x="103" y="28"/>
                      <a:pt x="102" y="29"/>
                      <a:pt x="103" y="30"/>
                    </a:cubicBezTo>
                    <a:cubicBezTo>
                      <a:pt x="103" y="32"/>
                      <a:pt x="103" y="33"/>
                      <a:pt x="102" y="33"/>
                    </a:cubicBezTo>
                    <a:cubicBezTo>
                      <a:pt x="101" y="33"/>
                      <a:pt x="102" y="34"/>
                      <a:pt x="101" y="35"/>
                    </a:cubicBezTo>
                    <a:cubicBezTo>
                      <a:pt x="101" y="36"/>
                      <a:pt x="100" y="34"/>
                      <a:pt x="99" y="33"/>
                    </a:cubicBezTo>
                    <a:cubicBezTo>
                      <a:pt x="98" y="32"/>
                      <a:pt x="98" y="33"/>
                      <a:pt x="98" y="34"/>
                    </a:cubicBezTo>
                    <a:cubicBezTo>
                      <a:pt x="98" y="36"/>
                      <a:pt x="96" y="33"/>
                      <a:pt x="96" y="32"/>
                    </a:cubicBezTo>
                    <a:cubicBezTo>
                      <a:pt x="94" y="32"/>
                      <a:pt x="96" y="38"/>
                      <a:pt x="94" y="35"/>
                    </a:cubicBezTo>
                    <a:cubicBezTo>
                      <a:pt x="94" y="35"/>
                      <a:pt x="93" y="33"/>
                      <a:pt x="92" y="34"/>
                    </a:cubicBezTo>
                    <a:cubicBezTo>
                      <a:pt x="92" y="35"/>
                      <a:pt x="93" y="39"/>
                      <a:pt x="91" y="36"/>
                    </a:cubicBezTo>
                    <a:cubicBezTo>
                      <a:pt x="91" y="35"/>
                      <a:pt x="89" y="32"/>
                      <a:pt x="89" y="33"/>
                    </a:cubicBezTo>
                    <a:cubicBezTo>
                      <a:pt x="89" y="34"/>
                      <a:pt x="90" y="36"/>
                      <a:pt x="90" y="37"/>
                    </a:cubicBezTo>
                    <a:cubicBezTo>
                      <a:pt x="90" y="39"/>
                      <a:pt x="90" y="41"/>
                      <a:pt x="90" y="42"/>
                    </a:cubicBezTo>
                    <a:cubicBezTo>
                      <a:pt x="90" y="44"/>
                      <a:pt x="90" y="42"/>
                      <a:pt x="89" y="42"/>
                    </a:cubicBezTo>
                    <a:cubicBezTo>
                      <a:pt x="88" y="41"/>
                      <a:pt x="89" y="45"/>
                      <a:pt x="89" y="46"/>
                    </a:cubicBezTo>
                    <a:cubicBezTo>
                      <a:pt x="89" y="49"/>
                      <a:pt x="88" y="46"/>
                      <a:pt x="87" y="46"/>
                    </a:cubicBezTo>
                    <a:cubicBezTo>
                      <a:pt x="87" y="46"/>
                      <a:pt x="88" y="51"/>
                      <a:pt x="88" y="52"/>
                    </a:cubicBezTo>
                    <a:cubicBezTo>
                      <a:pt x="88" y="53"/>
                      <a:pt x="86" y="50"/>
                      <a:pt x="86" y="52"/>
                    </a:cubicBezTo>
                    <a:cubicBezTo>
                      <a:pt x="86" y="53"/>
                      <a:pt x="86" y="54"/>
                      <a:pt x="86" y="55"/>
                    </a:cubicBezTo>
                    <a:cubicBezTo>
                      <a:pt x="86" y="56"/>
                      <a:pt x="85" y="55"/>
                      <a:pt x="85" y="54"/>
                    </a:cubicBezTo>
                    <a:cubicBezTo>
                      <a:pt x="85" y="53"/>
                      <a:pt x="84" y="50"/>
                      <a:pt x="84" y="51"/>
                    </a:cubicBezTo>
                    <a:cubicBezTo>
                      <a:pt x="84" y="54"/>
                      <a:pt x="84" y="53"/>
                      <a:pt x="83" y="52"/>
                    </a:cubicBezTo>
                    <a:cubicBezTo>
                      <a:pt x="83" y="55"/>
                      <a:pt x="84" y="58"/>
                      <a:pt x="83" y="60"/>
                    </a:cubicBezTo>
                    <a:cubicBezTo>
                      <a:pt x="83" y="61"/>
                      <a:pt x="82" y="62"/>
                      <a:pt x="83" y="63"/>
                    </a:cubicBezTo>
                    <a:cubicBezTo>
                      <a:pt x="83" y="64"/>
                      <a:pt x="83" y="64"/>
                      <a:pt x="84" y="66"/>
                    </a:cubicBezTo>
                    <a:cubicBezTo>
                      <a:pt x="84" y="67"/>
                      <a:pt x="84" y="69"/>
                      <a:pt x="84" y="70"/>
                    </a:cubicBezTo>
                    <a:cubicBezTo>
                      <a:pt x="84" y="72"/>
                      <a:pt x="84" y="73"/>
                      <a:pt x="84" y="74"/>
                    </a:cubicBezTo>
                    <a:cubicBezTo>
                      <a:pt x="83" y="75"/>
                      <a:pt x="83" y="75"/>
                      <a:pt x="82" y="76"/>
                    </a:cubicBezTo>
                    <a:cubicBezTo>
                      <a:pt x="82" y="77"/>
                      <a:pt x="82" y="79"/>
                      <a:pt x="82" y="80"/>
                    </a:cubicBezTo>
                    <a:cubicBezTo>
                      <a:pt x="82" y="81"/>
                      <a:pt x="81" y="80"/>
                      <a:pt x="81" y="81"/>
                    </a:cubicBezTo>
                    <a:cubicBezTo>
                      <a:pt x="81" y="82"/>
                      <a:pt x="81" y="83"/>
                      <a:pt x="81" y="84"/>
                    </a:cubicBezTo>
                    <a:cubicBezTo>
                      <a:pt x="81" y="85"/>
                      <a:pt x="80" y="86"/>
                      <a:pt x="81" y="88"/>
                    </a:cubicBezTo>
                    <a:cubicBezTo>
                      <a:pt x="81" y="89"/>
                      <a:pt x="82" y="91"/>
                      <a:pt x="81" y="92"/>
                    </a:cubicBezTo>
                    <a:cubicBezTo>
                      <a:pt x="81" y="93"/>
                      <a:pt x="80" y="94"/>
                      <a:pt x="80" y="96"/>
                    </a:cubicBezTo>
                    <a:cubicBezTo>
                      <a:pt x="80" y="97"/>
                      <a:pt x="80" y="99"/>
                      <a:pt x="80" y="101"/>
                    </a:cubicBezTo>
                    <a:cubicBezTo>
                      <a:pt x="79" y="104"/>
                      <a:pt x="79" y="108"/>
                      <a:pt x="78" y="110"/>
                    </a:cubicBezTo>
                    <a:cubicBezTo>
                      <a:pt x="77" y="111"/>
                      <a:pt x="76" y="111"/>
                      <a:pt x="76" y="113"/>
                    </a:cubicBezTo>
                    <a:cubicBezTo>
                      <a:pt x="75" y="114"/>
                      <a:pt x="75" y="116"/>
                      <a:pt x="75" y="117"/>
                    </a:cubicBezTo>
                    <a:cubicBezTo>
                      <a:pt x="74" y="120"/>
                      <a:pt x="72" y="122"/>
                      <a:pt x="72" y="124"/>
                    </a:cubicBezTo>
                    <a:cubicBezTo>
                      <a:pt x="71" y="126"/>
                      <a:pt x="71" y="128"/>
                      <a:pt x="71" y="128"/>
                    </a:cubicBezTo>
                    <a:cubicBezTo>
                      <a:pt x="70" y="129"/>
                      <a:pt x="69" y="129"/>
                      <a:pt x="68" y="129"/>
                    </a:cubicBezTo>
                    <a:cubicBezTo>
                      <a:pt x="66" y="131"/>
                      <a:pt x="65" y="134"/>
                      <a:pt x="64" y="137"/>
                    </a:cubicBezTo>
                    <a:cubicBezTo>
                      <a:pt x="63" y="138"/>
                      <a:pt x="63" y="140"/>
                      <a:pt x="62" y="140"/>
                    </a:cubicBezTo>
                    <a:cubicBezTo>
                      <a:pt x="61" y="140"/>
                      <a:pt x="61" y="139"/>
                      <a:pt x="61" y="141"/>
                    </a:cubicBezTo>
                    <a:cubicBezTo>
                      <a:pt x="61" y="143"/>
                      <a:pt x="61" y="145"/>
                      <a:pt x="61" y="147"/>
                    </a:cubicBezTo>
                    <a:cubicBezTo>
                      <a:pt x="61" y="150"/>
                      <a:pt x="61" y="152"/>
                      <a:pt x="61" y="154"/>
                    </a:cubicBezTo>
                    <a:cubicBezTo>
                      <a:pt x="61" y="156"/>
                      <a:pt x="63" y="161"/>
                      <a:pt x="62" y="162"/>
                    </a:cubicBezTo>
                    <a:cubicBezTo>
                      <a:pt x="60" y="164"/>
                      <a:pt x="58" y="161"/>
                      <a:pt x="56" y="161"/>
                    </a:cubicBezTo>
                    <a:cubicBezTo>
                      <a:pt x="56" y="164"/>
                      <a:pt x="59" y="165"/>
                      <a:pt x="60" y="166"/>
                    </a:cubicBezTo>
                    <a:cubicBezTo>
                      <a:pt x="61" y="166"/>
                      <a:pt x="62" y="165"/>
                      <a:pt x="63" y="166"/>
                    </a:cubicBezTo>
                    <a:cubicBezTo>
                      <a:pt x="64" y="167"/>
                      <a:pt x="64" y="171"/>
                      <a:pt x="64" y="173"/>
                    </a:cubicBezTo>
                    <a:cubicBezTo>
                      <a:pt x="63" y="177"/>
                      <a:pt x="66" y="178"/>
                      <a:pt x="66" y="181"/>
                    </a:cubicBezTo>
                    <a:cubicBezTo>
                      <a:pt x="66" y="184"/>
                      <a:pt x="65" y="187"/>
                      <a:pt x="65" y="191"/>
                    </a:cubicBezTo>
                    <a:cubicBezTo>
                      <a:pt x="66" y="192"/>
                      <a:pt x="67" y="193"/>
                      <a:pt x="67" y="193"/>
                    </a:cubicBezTo>
                    <a:cubicBezTo>
                      <a:pt x="68" y="193"/>
                      <a:pt x="69" y="194"/>
                      <a:pt x="70" y="195"/>
                    </a:cubicBezTo>
                    <a:cubicBezTo>
                      <a:pt x="72" y="196"/>
                      <a:pt x="73" y="196"/>
                      <a:pt x="74" y="195"/>
                    </a:cubicBezTo>
                    <a:cubicBezTo>
                      <a:pt x="74" y="195"/>
                      <a:pt x="75" y="194"/>
                      <a:pt x="75" y="194"/>
                    </a:cubicBezTo>
                    <a:cubicBezTo>
                      <a:pt x="76" y="193"/>
                      <a:pt x="76" y="193"/>
                      <a:pt x="77" y="193"/>
                    </a:cubicBezTo>
                    <a:cubicBezTo>
                      <a:pt x="78" y="192"/>
                      <a:pt x="79" y="190"/>
                      <a:pt x="79" y="188"/>
                    </a:cubicBezTo>
                    <a:cubicBezTo>
                      <a:pt x="80" y="186"/>
                      <a:pt x="80" y="185"/>
                      <a:pt x="81" y="184"/>
                    </a:cubicBezTo>
                    <a:cubicBezTo>
                      <a:pt x="82" y="183"/>
                      <a:pt x="82" y="183"/>
                      <a:pt x="82" y="181"/>
                    </a:cubicBezTo>
                    <a:cubicBezTo>
                      <a:pt x="82" y="179"/>
                      <a:pt x="81" y="176"/>
                      <a:pt x="82" y="177"/>
                    </a:cubicBezTo>
                    <a:cubicBezTo>
                      <a:pt x="85" y="178"/>
                      <a:pt x="84" y="185"/>
                      <a:pt x="84" y="188"/>
                    </a:cubicBezTo>
                    <a:cubicBezTo>
                      <a:pt x="84" y="190"/>
                      <a:pt x="85" y="192"/>
                      <a:pt x="85" y="193"/>
                    </a:cubicBezTo>
                    <a:cubicBezTo>
                      <a:pt x="85" y="195"/>
                      <a:pt x="86" y="195"/>
                      <a:pt x="87" y="194"/>
                    </a:cubicBezTo>
                    <a:cubicBezTo>
                      <a:pt x="88" y="192"/>
                      <a:pt x="89" y="191"/>
                      <a:pt x="90" y="188"/>
                    </a:cubicBezTo>
                    <a:cubicBezTo>
                      <a:pt x="90" y="187"/>
                      <a:pt x="90" y="186"/>
                      <a:pt x="91" y="186"/>
                    </a:cubicBezTo>
                    <a:cubicBezTo>
                      <a:pt x="92" y="187"/>
                      <a:pt x="92" y="188"/>
                      <a:pt x="92" y="189"/>
                    </a:cubicBezTo>
                    <a:cubicBezTo>
                      <a:pt x="91" y="192"/>
                      <a:pt x="89" y="193"/>
                      <a:pt x="88" y="196"/>
                    </a:cubicBezTo>
                    <a:cubicBezTo>
                      <a:pt x="87" y="197"/>
                      <a:pt x="86" y="199"/>
                      <a:pt x="86" y="201"/>
                    </a:cubicBezTo>
                    <a:cubicBezTo>
                      <a:pt x="87" y="203"/>
                      <a:pt x="88" y="205"/>
                      <a:pt x="88" y="206"/>
                    </a:cubicBezTo>
                    <a:cubicBezTo>
                      <a:pt x="89" y="208"/>
                      <a:pt x="91" y="215"/>
                      <a:pt x="90" y="217"/>
                    </a:cubicBezTo>
                    <a:cubicBezTo>
                      <a:pt x="90" y="218"/>
                      <a:pt x="89" y="220"/>
                      <a:pt x="88" y="220"/>
                    </a:cubicBezTo>
                    <a:cubicBezTo>
                      <a:pt x="87" y="221"/>
                      <a:pt x="86" y="219"/>
                      <a:pt x="86" y="222"/>
                    </a:cubicBezTo>
                    <a:cubicBezTo>
                      <a:pt x="86" y="223"/>
                      <a:pt x="86" y="225"/>
                      <a:pt x="86" y="227"/>
                    </a:cubicBezTo>
                    <a:cubicBezTo>
                      <a:pt x="86" y="229"/>
                      <a:pt x="85" y="230"/>
                      <a:pt x="85" y="231"/>
                    </a:cubicBezTo>
                    <a:cubicBezTo>
                      <a:pt x="83" y="235"/>
                      <a:pt x="88" y="235"/>
                      <a:pt x="89" y="235"/>
                    </a:cubicBezTo>
                    <a:cubicBezTo>
                      <a:pt x="91" y="233"/>
                      <a:pt x="91" y="229"/>
                      <a:pt x="92" y="227"/>
                    </a:cubicBezTo>
                    <a:cubicBezTo>
                      <a:pt x="93" y="226"/>
                      <a:pt x="94" y="227"/>
                      <a:pt x="95" y="226"/>
                    </a:cubicBezTo>
                    <a:cubicBezTo>
                      <a:pt x="96" y="225"/>
                      <a:pt x="96" y="223"/>
                      <a:pt x="97" y="221"/>
                    </a:cubicBezTo>
                    <a:cubicBezTo>
                      <a:pt x="98" y="219"/>
                      <a:pt x="100" y="224"/>
                      <a:pt x="101" y="220"/>
                    </a:cubicBezTo>
                    <a:cubicBezTo>
                      <a:pt x="102" y="218"/>
                      <a:pt x="102" y="216"/>
                      <a:pt x="103" y="214"/>
                    </a:cubicBezTo>
                    <a:cubicBezTo>
                      <a:pt x="103" y="212"/>
                      <a:pt x="104" y="210"/>
                      <a:pt x="103" y="208"/>
                    </a:cubicBezTo>
                    <a:cubicBezTo>
                      <a:pt x="103" y="207"/>
                      <a:pt x="102" y="206"/>
                      <a:pt x="102" y="204"/>
                    </a:cubicBezTo>
                    <a:cubicBezTo>
                      <a:pt x="102" y="202"/>
                      <a:pt x="103" y="199"/>
                      <a:pt x="102" y="197"/>
                    </a:cubicBezTo>
                    <a:cubicBezTo>
                      <a:pt x="101" y="193"/>
                      <a:pt x="104" y="189"/>
                      <a:pt x="105" y="188"/>
                    </a:cubicBezTo>
                    <a:cubicBezTo>
                      <a:pt x="107" y="187"/>
                      <a:pt x="107" y="181"/>
                      <a:pt x="107" y="178"/>
                    </a:cubicBezTo>
                    <a:cubicBezTo>
                      <a:pt x="107" y="176"/>
                      <a:pt x="107" y="173"/>
                      <a:pt x="106" y="172"/>
                    </a:cubicBezTo>
                    <a:cubicBezTo>
                      <a:pt x="105" y="171"/>
                      <a:pt x="105" y="171"/>
                      <a:pt x="105" y="171"/>
                    </a:cubicBezTo>
                    <a:cubicBezTo>
                      <a:pt x="104" y="170"/>
                      <a:pt x="104" y="169"/>
                      <a:pt x="104" y="168"/>
                    </a:cubicBezTo>
                    <a:cubicBezTo>
                      <a:pt x="103" y="166"/>
                      <a:pt x="102" y="166"/>
                      <a:pt x="102" y="164"/>
                    </a:cubicBezTo>
                    <a:cubicBezTo>
                      <a:pt x="101" y="162"/>
                      <a:pt x="101" y="160"/>
                      <a:pt x="101" y="158"/>
                    </a:cubicBezTo>
                    <a:cubicBezTo>
                      <a:pt x="100" y="156"/>
                      <a:pt x="101" y="154"/>
                      <a:pt x="101" y="153"/>
                    </a:cubicBezTo>
                    <a:cubicBezTo>
                      <a:pt x="102" y="150"/>
                      <a:pt x="101" y="148"/>
                      <a:pt x="101" y="145"/>
                    </a:cubicBezTo>
                    <a:cubicBezTo>
                      <a:pt x="100" y="141"/>
                      <a:pt x="102" y="137"/>
                      <a:pt x="103" y="135"/>
                    </a:cubicBezTo>
                    <a:cubicBezTo>
                      <a:pt x="104" y="134"/>
                      <a:pt x="105" y="132"/>
                      <a:pt x="106" y="131"/>
                    </a:cubicBezTo>
                    <a:cubicBezTo>
                      <a:pt x="107" y="130"/>
                      <a:pt x="108" y="128"/>
                      <a:pt x="108" y="126"/>
                    </a:cubicBezTo>
                    <a:cubicBezTo>
                      <a:pt x="109" y="124"/>
                      <a:pt x="111" y="122"/>
                      <a:pt x="110" y="118"/>
                    </a:cubicBezTo>
                    <a:cubicBezTo>
                      <a:pt x="110" y="113"/>
                      <a:pt x="108" y="109"/>
                      <a:pt x="109" y="105"/>
                    </a:cubicBezTo>
                    <a:cubicBezTo>
                      <a:pt x="109" y="103"/>
                      <a:pt x="111" y="104"/>
                      <a:pt x="111" y="103"/>
                    </a:cubicBezTo>
                    <a:cubicBezTo>
                      <a:pt x="111" y="101"/>
                      <a:pt x="110" y="99"/>
                      <a:pt x="112" y="100"/>
                    </a:cubicBezTo>
                    <a:cubicBezTo>
                      <a:pt x="113" y="100"/>
                      <a:pt x="114" y="99"/>
                      <a:pt x="115" y="100"/>
                    </a:cubicBezTo>
                    <a:cubicBezTo>
                      <a:pt x="116" y="100"/>
                      <a:pt x="117" y="101"/>
                      <a:pt x="118" y="102"/>
                    </a:cubicBezTo>
                    <a:cubicBezTo>
                      <a:pt x="120" y="105"/>
                      <a:pt x="122" y="109"/>
                      <a:pt x="121" y="113"/>
                    </a:cubicBezTo>
                    <a:cubicBezTo>
                      <a:pt x="121" y="114"/>
                      <a:pt x="120" y="115"/>
                      <a:pt x="119" y="116"/>
                    </a:cubicBezTo>
                    <a:cubicBezTo>
                      <a:pt x="119" y="117"/>
                      <a:pt x="119" y="120"/>
                      <a:pt x="118" y="122"/>
                    </a:cubicBezTo>
                    <a:cubicBezTo>
                      <a:pt x="118" y="124"/>
                      <a:pt x="117" y="126"/>
                      <a:pt x="117" y="128"/>
                    </a:cubicBezTo>
                    <a:cubicBezTo>
                      <a:pt x="116" y="130"/>
                      <a:pt x="116" y="133"/>
                      <a:pt x="115" y="134"/>
                    </a:cubicBezTo>
                    <a:cubicBezTo>
                      <a:pt x="114" y="135"/>
                      <a:pt x="113" y="136"/>
                      <a:pt x="112" y="137"/>
                    </a:cubicBezTo>
                    <a:cubicBezTo>
                      <a:pt x="112" y="139"/>
                      <a:pt x="112" y="143"/>
                      <a:pt x="112" y="146"/>
                    </a:cubicBezTo>
                    <a:cubicBezTo>
                      <a:pt x="112" y="149"/>
                      <a:pt x="113" y="152"/>
                      <a:pt x="113" y="155"/>
                    </a:cubicBezTo>
                    <a:cubicBezTo>
                      <a:pt x="113" y="158"/>
                      <a:pt x="112" y="159"/>
                      <a:pt x="112" y="161"/>
                    </a:cubicBezTo>
                    <a:cubicBezTo>
                      <a:pt x="112" y="163"/>
                      <a:pt x="113" y="165"/>
                      <a:pt x="113" y="166"/>
                    </a:cubicBezTo>
                    <a:cubicBezTo>
                      <a:pt x="114" y="166"/>
                      <a:pt x="115" y="169"/>
                      <a:pt x="115" y="169"/>
                    </a:cubicBezTo>
                    <a:cubicBezTo>
                      <a:pt x="115" y="169"/>
                      <a:pt x="115" y="169"/>
                      <a:pt x="115" y="169"/>
                    </a:cubicBezTo>
                    <a:cubicBezTo>
                      <a:pt x="116" y="171"/>
                      <a:pt x="118" y="172"/>
                      <a:pt x="118" y="175"/>
                    </a:cubicBezTo>
                    <a:cubicBezTo>
                      <a:pt x="119" y="177"/>
                      <a:pt x="119" y="178"/>
                      <a:pt x="118" y="178"/>
                    </a:cubicBezTo>
                    <a:cubicBezTo>
                      <a:pt x="118" y="179"/>
                      <a:pt x="117" y="179"/>
                      <a:pt x="117" y="179"/>
                    </a:cubicBezTo>
                    <a:cubicBezTo>
                      <a:pt x="117" y="179"/>
                      <a:pt x="117" y="181"/>
                      <a:pt x="117" y="181"/>
                    </a:cubicBezTo>
                    <a:cubicBezTo>
                      <a:pt x="118" y="181"/>
                      <a:pt x="119" y="180"/>
                      <a:pt x="119" y="179"/>
                    </a:cubicBezTo>
                    <a:cubicBezTo>
                      <a:pt x="120" y="179"/>
                      <a:pt x="121" y="179"/>
                      <a:pt x="122" y="178"/>
                    </a:cubicBezTo>
                    <a:cubicBezTo>
                      <a:pt x="123" y="177"/>
                      <a:pt x="123" y="175"/>
                      <a:pt x="124" y="175"/>
                    </a:cubicBezTo>
                    <a:cubicBezTo>
                      <a:pt x="125" y="174"/>
                      <a:pt x="125" y="176"/>
                      <a:pt x="126" y="177"/>
                    </a:cubicBezTo>
                    <a:cubicBezTo>
                      <a:pt x="127" y="177"/>
                      <a:pt x="128" y="176"/>
                      <a:pt x="129" y="176"/>
                    </a:cubicBezTo>
                    <a:cubicBezTo>
                      <a:pt x="130" y="177"/>
                      <a:pt x="132" y="177"/>
                      <a:pt x="133" y="177"/>
                    </a:cubicBezTo>
                    <a:cubicBezTo>
                      <a:pt x="133" y="177"/>
                      <a:pt x="134" y="177"/>
                      <a:pt x="135" y="176"/>
                    </a:cubicBezTo>
                    <a:cubicBezTo>
                      <a:pt x="135" y="174"/>
                      <a:pt x="135" y="173"/>
                      <a:pt x="136" y="175"/>
                    </a:cubicBezTo>
                    <a:cubicBezTo>
                      <a:pt x="137" y="175"/>
                      <a:pt x="137" y="177"/>
                      <a:pt x="138" y="177"/>
                    </a:cubicBezTo>
                    <a:cubicBezTo>
                      <a:pt x="138" y="177"/>
                      <a:pt x="139" y="177"/>
                      <a:pt x="139" y="178"/>
                    </a:cubicBezTo>
                    <a:cubicBezTo>
                      <a:pt x="139" y="180"/>
                      <a:pt x="138" y="180"/>
                      <a:pt x="138" y="180"/>
                    </a:cubicBezTo>
                    <a:cubicBezTo>
                      <a:pt x="137" y="180"/>
                      <a:pt x="136" y="178"/>
                      <a:pt x="135" y="180"/>
                    </a:cubicBezTo>
                    <a:cubicBezTo>
                      <a:pt x="134" y="181"/>
                      <a:pt x="134" y="181"/>
                      <a:pt x="133" y="182"/>
                    </a:cubicBezTo>
                    <a:cubicBezTo>
                      <a:pt x="133" y="183"/>
                      <a:pt x="132" y="184"/>
                      <a:pt x="131" y="183"/>
                    </a:cubicBezTo>
                    <a:cubicBezTo>
                      <a:pt x="131" y="183"/>
                      <a:pt x="130" y="182"/>
                      <a:pt x="129" y="181"/>
                    </a:cubicBezTo>
                    <a:cubicBezTo>
                      <a:pt x="128" y="181"/>
                      <a:pt x="127" y="182"/>
                      <a:pt x="126" y="182"/>
                    </a:cubicBezTo>
                    <a:cubicBezTo>
                      <a:pt x="124" y="182"/>
                      <a:pt x="124" y="182"/>
                      <a:pt x="123" y="184"/>
                    </a:cubicBezTo>
                    <a:cubicBezTo>
                      <a:pt x="123" y="185"/>
                      <a:pt x="122" y="186"/>
                      <a:pt x="121" y="186"/>
                    </a:cubicBezTo>
                    <a:cubicBezTo>
                      <a:pt x="120" y="185"/>
                      <a:pt x="119" y="184"/>
                      <a:pt x="119" y="186"/>
                    </a:cubicBezTo>
                    <a:cubicBezTo>
                      <a:pt x="118" y="188"/>
                      <a:pt x="119" y="190"/>
                      <a:pt x="119" y="191"/>
                    </a:cubicBezTo>
                    <a:cubicBezTo>
                      <a:pt x="118" y="194"/>
                      <a:pt x="117" y="196"/>
                      <a:pt x="119" y="198"/>
                    </a:cubicBezTo>
                    <a:cubicBezTo>
                      <a:pt x="120" y="199"/>
                      <a:pt x="122" y="199"/>
                      <a:pt x="123" y="198"/>
                    </a:cubicBezTo>
                    <a:cubicBezTo>
                      <a:pt x="124" y="198"/>
                      <a:pt x="124" y="196"/>
                      <a:pt x="125" y="198"/>
                    </a:cubicBezTo>
                    <a:cubicBezTo>
                      <a:pt x="126" y="202"/>
                      <a:pt x="125" y="205"/>
                      <a:pt x="125" y="208"/>
                    </a:cubicBezTo>
                    <a:cubicBezTo>
                      <a:pt x="125" y="213"/>
                      <a:pt x="123" y="211"/>
                      <a:pt x="122" y="208"/>
                    </a:cubicBezTo>
                    <a:cubicBezTo>
                      <a:pt x="120" y="205"/>
                      <a:pt x="120" y="202"/>
                      <a:pt x="118" y="204"/>
                    </a:cubicBezTo>
                    <a:cubicBezTo>
                      <a:pt x="117" y="205"/>
                      <a:pt x="117" y="205"/>
                      <a:pt x="117" y="208"/>
                    </a:cubicBezTo>
                    <a:cubicBezTo>
                      <a:pt x="117" y="210"/>
                      <a:pt x="116" y="212"/>
                      <a:pt x="116" y="214"/>
                    </a:cubicBezTo>
                    <a:cubicBezTo>
                      <a:pt x="116" y="216"/>
                      <a:pt x="116" y="218"/>
                      <a:pt x="116" y="220"/>
                    </a:cubicBezTo>
                    <a:cubicBezTo>
                      <a:pt x="116" y="222"/>
                      <a:pt x="115" y="224"/>
                      <a:pt x="116" y="226"/>
                    </a:cubicBezTo>
                    <a:cubicBezTo>
                      <a:pt x="117" y="229"/>
                      <a:pt x="116" y="233"/>
                      <a:pt x="114" y="234"/>
                    </a:cubicBezTo>
                    <a:cubicBezTo>
                      <a:pt x="112" y="234"/>
                      <a:pt x="113" y="239"/>
                      <a:pt x="111" y="239"/>
                    </a:cubicBezTo>
                    <a:cubicBezTo>
                      <a:pt x="110" y="239"/>
                      <a:pt x="110" y="237"/>
                      <a:pt x="109" y="236"/>
                    </a:cubicBezTo>
                    <a:cubicBezTo>
                      <a:pt x="109" y="235"/>
                      <a:pt x="108" y="234"/>
                      <a:pt x="108" y="234"/>
                    </a:cubicBezTo>
                    <a:cubicBezTo>
                      <a:pt x="108" y="233"/>
                      <a:pt x="107" y="233"/>
                      <a:pt x="107" y="233"/>
                    </a:cubicBezTo>
                    <a:cubicBezTo>
                      <a:pt x="106" y="233"/>
                      <a:pt x="105" y="235"/>
                      <a:pt x="104" y="236"/>
                    </a:cubicBezTo>
                    <a:cubicBezTo>
                      <a:pt x="103" y="238"/>
                      <a:pt x="103" y="238"/>
                      <a:pt x="102" y="240"/>
                    </a:cubicBezTo>
                    <a:cubicBezTo>
                      <a:pt x="101" y="241"/>
                      <a:pt x="101" y="241"/>
                      <a:pt x="100" y="243"/>
                    </a:cubicBezTo>
                    <a:cubicBezTo>
                      <a:pt x="99" y="245"/>
                      <a:pt x="98" y="243"/>
                      <a:pt x="97" y="243"/>
                    </a:cubicBezTo>
                    <a:cubicBezTo>
                      <a:pt x="96" y="244"/>
                      <a:pt x="97" y="250"/>
                      <a:pt x="95" y="246"/>
                    </a:cubicBezTo>
                    <a:cubicBezTo>
                      <a:pt x="94" y="244"/>
                      <a:pt x="94" y="243"/>
                      <a:pt x="94" y="241"/>
                    </a:cubicBezTo>
                    <a:cubicBezTo>
                      <a:pt x="93" y="240"/>
                      <a:pt x="93" y="239"/>
                      <a:pt x="93" y="238"/>
                    </a:cubicBezTo>
                    <a:cubicBezTo>
                      <a:pt x="93" y="236"/>
                      <a:pt x="92" y="238"/>
                      <a:pt x="92" y="239"/>
                    </a:cubicBezTo>
                    <a:cubicBezTo>
                      <a:pt x="91" y="240"/>
                      <a:pt x="90" y="239"/>
                      <a:pt x="90" y="241"/>
                    </a:cubicBezTo>
                    <a:cubicBezTo>
                      <a:pt x="90" y="243"/>
                      <a:pt x="88" y="243"/>
                      <a:pt x="87" y="244"/>
                    </a:cubicBezTo>
                    <a:cubicBezTo>
                      <a:pt x="85" y="246"/>
                      <a:pt x="84" y="243"/>
                      <a:pt x="83" y="239"/>
                    </a:cubicBezTo>
                    <a:cubicBezTo>
                      <a:pt x="83" y="237"/>
                      <a:pt x="82" y="235"/>
                      <a:pt x="82" y="233"/>
                    </a:cubicBezTo>
                    <a:cubicBezTo>
                      <a:pt x="81" y="231"/>
                      <a:pt x="82" y="229"/>
                      <a:pt x="82" y="227"/>
                    </a:cubicBezTo>
                    <a:cubicBezTo>
                      <a:pt x="82" y="224"/>
                      <a:pt x="82" y="222"/>
                      <a:pt x="82" y="220"/>
                    </a:cubicBezTo>
                    <a:cubicBezTo>
                      <a:pt x="82" y="219"/>
                      <a:pt x="83" y="218"/>
                      <a:pt x="83" y="218"/>
                    </a:cubicBezTo>
                    <a:cubicBezTo>
                      <a:pt x="83" y="216"/>
                      <a:pt x="83" y="215"/>
                      <a:pt x="83" y="213"/>
                    </a:cubicBezTo>
                    <a:cubicBezTo>
                      <a:pt x="83" y="211"/>
                      <a:pt x="83" y="208"/>
                      <a:pt x="83" y="206"/>
                    </a:cubicBezTo>
                    <a:cubicBezTo>
                      <a:pt x="83" y="205"/>
                      <a:pt x="83" y="201"/>
                      <a:pt x="82" y="202"/>
                    </a:cubicBezTo>
                    <a:cubicBezTo>
                      <a:pt x="81" y="203"/>
                      <a:pt x="81" y="204"/>
                      <a:pt x="80" y="205"/>
                    </a:cubicBezTo>
                    <a:cubicBezTo>
                      <a:pt x="79" y="205"/>
                      <a:pt x="78" y="204"/>
                      <a:pt x="77" y="206"/>
                    </a:cubicBezTo>
                    <a:cubicBezTo>
                      <a:pt x="76" y="209"/>
                      <a:pt x="74" y="213"/>
                      <a:pt x="75" y="216"/>
                    </a:cubicBezTo>
                    <a:cubicBezTo>
                      <a:pt x="75" y="218"/>
                      <a:pt x="75" y="220"/>
                      <a:pt x="76" y="221"/>
                    </a:cubicBezTo>
                    <a:cubicBezTo>
                      <a:pt x="76" y="222"/>
                      <a:pt x="76" y="223"/>
                      <a:pt x="76" y="224"/>
                    </a:cubicBezTo>
                    <a:cubicBezTo>
                      <a:pt x="76" y="226"/>
                      <a:pt x="76" y="228"/>
                      <a:pt x="77" y="229"/>
                    </a:cubicBezTo>
                    <a:cubicBezTo>
                      <a:pt x="77" y="230"/>
                      <a:pt x="78" y="233"/>
                      <a:pt x="78" y="234"/>
                    </a:cubicBezTo>
                    <a:cubicBezTo>
                      <a:pt x="78" y="236"/>
                      <a:pt x="78" y="237"/>
                      <a:pt x="78" y="240"/>
                    </a:cubicBezTo>
                    <a:cubicBezTo>
                      <a:pt x="78" y="242"/>
                      <a:pt x="78" y="244"/>
                      <a:pt x="77" y="246"/>
                    </a:cubicBezTo>
                    <a:cubicBezTo>
                      <a:pt x="77" y="248"/>
                      <a:pt x="76" y="247"/>
                      <a:pt x="75" y="247"/>
                    </a:cubicBezTo>
                    <a:cubicBezTo>
                      <a:pt x="73" y="247"/>
                      <a:pt x="73" y="247"/>
                      <a:pt x="72" y="249"/>
                    </a:cubicBezTo>
                    <a:cubicBezTo>
                      <a:pt x="71" y="251"/>
                      <a:pt x="70" y="250"/>
                      <a:pt x="69" y="251"/>
                    </a:cubicBezTo>
                    <a:cubicBezTo>
                      <a:pt x="68" y="252"/>
                      <a:pt x="66" y="252"/>
                      <a:pt x="65" y="253"/>
                    </a:cubicBezTo>
                    <a:cubicBezTo>
                      <a:pt x="65" y="255"/>
                      <a:pt x="64" y="257"/>
                      <a:pt x="64" y="259"/>
                    </a:cubicBezTo>
                    <a:cubicBezTo>
                      <a:pt x="63" y="261"/>
                      <a:pt x="63" y="264"/>
                      <a:pt x="62" y="265"/>
                    </a:cubicBezTo>
                    <a:cubicBezTo>
                      <a:pt x="62" y="267"/>
                      <a:pt x="63" y="269"/>
                      <a:pt x="61" y="270"/>
                    </a:cubicBezTo>
                    <a:cubicBezTo>
                      <a:pt x="60" y="271"/>
                      <a:pt x="60" y="272"/>
                      <a:pt x="60" y="274"/>
                    </a:cubicBezTo>
                    <a:cubicBezTo>
                      <a:pt x="59" y="274"/>
                      <a:pt x="58" y="275"/>
                      <a:pt x="58" y="275"/>
                    </a:cubicBezTo>
                    <a:cubicBezTo>
                      <a:pt x="57" y="275"/>
                      <a:pt x="56" y="277"/>
                      <a:pt x="56" y="277"/>
                    </a:cubicBezTo>
                    <a:cubicBezTo>
                      <a:pt x="55" y="277"/>
                      <a:pt x="55" y="274"/>
                      <a:pt x="54" y="276"/>
                    </a:cubicBezTo>
                    <a:cubicBezTo>
                      <a:pt x="54" y="278"/>
                      <a:pt x="54" y="279"/>
                      <a:pt x="53" y="281"/>
                    </a:cubicBezTo>
                    <a:cubicBezTo>
                      <a:pt x="52" y="282"/>
                      <a:pt x="53" y="284"/>
                      <a:pt x="52" y="286"/>
                    </a:cubicBezTo>
                    <a:cubicBezTo>
                      <a:pt x="52" y="287"/>
                      <a:pt x="51" y="290"/>
                      <a:pt x="50" y="291"/>
                    </a:cubicBezTo>
                    <a:cubicBezTo>
                      <a:pt x="49" y="292"/>
                      <a:pt x="48" y="291"/>
                      <a:pt x="48" y="294"/>
                    </a:cubicBezTo>
                    <a:cubicBezTo>
                      <a:pt x="47" y="296"/>
                      <a:pt x="45" y="295"/>
                      <a:pt x="45" y="293"/>
                    </a:cubicBezTo>
                    <a:cubicBezTo>
                      <a:pt x="45" y="292"/>
                      <a:pt x="44" y="292"/>
                      <a:pt x="43" y="292"/>
                    </a:cubicBezTo>
                    <a:cubicBezTo>
                      <a:pt x="42" y="292"/>
                      <a:pt x="41" y="290"/>
                      <a:pt x="40" y="291"/>
                    </a:cubicBezTo>
                    <a:cubicBezTo>
                      <a:pt x="37" y="295"/>
                      <a:pt x="41" y="296"/>
                      <a:pt x="41" y="300"/>
                    </a:cubicBezTo>
                    <a:cubicBezTo>
                      <a:pt x="40" y="307"/>
                      <a:pt x="35" y="303"/>
                      <a:pt x="34" y="302"/>
                    </a:cubicBezTo>
                    <a:cubicBezTo>
                      <a:pt x="32" y="301"/>
                      <a:pt x="31" y="303"/>
                      <a:pt x="30" y="304"/>
                    </a:cubicBezTo>
                    <a:cubicBezTo>
                      <a:pt x="29" y="305"/>
                      <a:pt x="28" y="306"/>
                      <a:pt x="29" y="308"/>
                    </a:cubicBezTo>
                    <a:cubicBezTo>
                      <a:pt x="29" y="313"/>
                      <a:pt x="32" y="313"/>
                      <a:pt x="34" y="314"/>
                    </a:cubicBezTo>
                    <a:cubicBezTo>
                      <a:pt x="35" y="315"/>
                      <a:pt x="37" y="316"/>
                      <a:pt x="38" y="317"/>
                    </a:cubicBezTo>
                    <a:cubicBezTo>
                      <a:pt x="39" y="319"/>
                      <a:pt x="38" y="320"/>
                      <a:pt x="38" y="322"/>
                    </a:cubicBezTo>
                    <a:cubicBezTo>
                      <a:pt x="38" y="323"/>
                      <a:pt x="39" y="325"/>
                      <a:pt x="39" y="325"/>
                    </a:cubicBezTo>
                    <a:cubicBezTo>
                      <a:pt x="41" y="326"/>
                      <a:pt x="41" y="329"/>
                      <a:pt x="41" y="331"/>
                    </a:cubicBezTo>
                    <a:cubicBezTo>
                      <a:pt x="42" y="336"/>
                      <a:pt x="40" y="337"/>
                      <a:pt x="40" y="341"/>
                    </a:cubicBezTo>
                    <a:cubicBezTo>
                      <a:pt x="40" y="343"/>
                      <a:pt x="39" y="344"/>
                      <a:pt x="39" y="345"/>
                    </a:cubicBezTo>
                    <a:cubicBezTo>
                      <a:pt x="39" y="346"/>
                      <a:pt x="38" y="347"/>
                      <a:pt x="38" y="348"/>
                    </a:cubicBezTo>
                    <a:cubicBezTo>
                      <a:pt x="38" y="350"/>
                      <a:pt x="38" y="353"/>
                      <a:pt x="37" y="354"/>
                    </a:cubicBezTo>
                    <a:cubicBezTo>
                      <a:pt x="34" y="357"/>
                      <a:pt x="31" y="355"/>
                      <a:pt x="29" y="355"/>
                    </a:cubicBezTo>
                    <a:cubicBezTo>
                      <a:pt x="27" y="355"/>
                      <a:pt x="25" y="355"/>
                      <a:pt x="24" y="354"/>
                    </a:cubicBezTo>
                    <a:cubicBezTo>
                      <a:pt x="22" y="354"/>
                      <a:pt x="20" y="355"/>
                      <a:pt x="18" y="356"/>
                    </a:cubicBezTo>
                    <a:cubicBezTo>
                      <a:pt x="16" y="357"/>
                      <a:pt x="14" y="358"/>
                      <a:pt x="13" y="357"/>
                    </a:cubicBezTo>
                    <a:cubicBezTo>
                      <a:pt x="12" y="357"/>
                      <a:pt x="10" y="355"/>
                      <a:pt x="9" y="355"/>
                    </a:cubicBezTo>
                    <a:cubicBezTo>
                      <a:pt x="8" y="355"/>
                      <a:pt x="6" y="364"/>
                      <a:pt x="6" y="365"/>
                    </a:cubicBezTo>
                    <a:cubicBezTo>
                      <a:pt x="6" y="368"/>
                      <a:pt x="7" y="370"/>
                      <a:pt x="7" y="372"/>
                    </a:cubicBezTo>
                    <a:cubicBezTo>
                      <a:pt x="7" y="375"/>
                      <a:pt x="6" y="379"/>
                      <a:pt x="6" y="382"/>
                    </a:cubicBezTo>
                    <a:cubicBezTo>
                      <a:pt x="5" y="387"/>
                      <a:pt x="3" y="393"/>
                      <a:pt x="1" y="399"/>
                    </a:cubicBezTo>
                    <a:cubicBezTo>
                      <a:pt x="0" y="401"/>
                      <a:pt x="0" y="403"/>
                      <a:pt x="0" y="405"/>
                    </a:cubicBezTo>
                    <a:cubicBezTo>
                      <a:pt x="1" y="405"/>
                      <a:pt x="1" y="405"/>
                      <a:pt x="1" y="406"/>
                    </a:cubicBezTo>
                    <a:cubicBezTo>
                      <a:pt x="14" y="400"/>
                      <a:pt x="26" y="394"/>
                      <a:pt x="39" y="388"/>
                    </a:cubicBezTo>
                    <a:cubicBezTo>
                      <a:pt x="39" y="388"/>
                      <a:pt x="39" y="388"/>
                      <a:pt x="39" y="388"/>
                    </a:cubicBezTo>
                    <a:cubicBezTo>
                      <a:pt x="39" y="385"/>
                      <a:pt x="40" y="383"/>
                      <a:pt x="41" y="380"/>
                    </a:cubicBezTo>
                    <a:cubicBezTo>
                      <a:pt x="42" y="376"/>
                      <a:pt x="46" y="373"/>
                      <a:pt x="48" y="372"/>
                    </a:cubicBezTo>
                    <a:cubicBezTo>
                      <a:pt x="49" y="371"/>
                      <a:pt x="50" y="372"/>
                      <a:pt x="51" y="370"/>
                    </a:cubicBezTo>
                    <a:cubicBezTo>
                      <a:pt x="52" y="368"/>
                      <a:pt x="53" y="367"/>
                      <a:pt x="53" y="364"/>
                    </a:cubicBezTo>
                    <a:cubicBezTo>
                      <a:pt x="53" y="361"/>
                      <a:pt x="52" y="358"/>
                      <a:pt x="54" y="355"/>
                    </a:cubicBezTo>
                    <a:cubicBezTo>
                      <a:pt x="56" y="352"/>
                      <a:pt x="59" y="350"/>
                      <a:pt x="61" y="352"/>
                    </a:cubicBezTo>
                    <a:cubicBezTo>
                      <a:pt x="62" y="353"/>
                      <a:pt x="62" y="355"/>
                      <a:pt x="63" y="354"/>
                    </a:cubicBezTo>
                    <a:cubicBezTo>
                      <a:pt x="65" y="353"/>
                      <a:pt x="66" y="352"/>
                      <a:pt x="67" y="350"/>
                    </a:cubicBezTo>
                    <a:cubicBezTo>
                      <a:pt x="68" y="348"/>
                      <a:pt x="69" y="346"/>
                      <a:pt x="70" y="345"/>
                    </a:cubicBezTo>
                    <a:cubicBezTo>
                      <a:pt x="71" y="343"/>
                      <a:pt x="72" y="342"/>
                      <a:pt x="73" y="340"/>
                    </a:cubicBezTo>
                    <a:cubicBezTo>
                      <a:pt x="74" y="338"/>
                      <a:pt x="78" y="339"/>
                      <a:pt x="79" y="341"/>
                    </a:cubicBezTo>
                    <a:cubicBezTo>
                      <a:pt x="80" y="345"/>
                      <a:pt x="79" y="352"/>
                      <a:pt x="80" y="356"/>
                    </a:cubicBezTo>
                    <a:cubicBezTo>
                      <a:pt x="81" y="358"/>
                      <a:pt x="82" y="361"/>
                      <a:pt x="84" y="362"/>
                    </a:cubicBezTo>
                    <a:cubicBezTo>
                      <a:pt x="87" y="360"/>
                      <a:pt x="90" y="358"/>
                      <a:pt x="93" y="357"/>
                    </a:cubicBezTo>
                    <a:cubicBezTo>
                      <a:pt x="91" y="355"/>
                      <a:pt x="90" y="354"/>
                      <a:pt x="90" y="350"/>
                    </a:cubicBezTo>
                    <a:cubicBezTo>
                      <a:pt x="90" y="346"/>
                      <a:pt x="88" y="342"/>
                      <a:pt x="87" y="338"/>
                    </a:cubicBezTo>
                    <a:cubicBezTo>
                      <a:pt x="86" y="337"/>
                      <a:pt x="86" y="336"/>
                      <a:pt x="85" y="335"/>
                    </a:cubicBezTo>
                    <a:cubicBezTo>
                      <a:pt x="85" y="334"/>
                      <a:pt x="85" y="331"/>
                      <a:pt x="86" y="331"/>
                    </a:cubicBezTo>
                    <a:cubicBezTo>
                      <a:pt x="87" y="331"/>
                      <a:pt x="87" y="332"/>
                      <a:pt x="88" y="333"/>
                    </a:cubicBezTo>
                    <a:cubicBezTo>
                      <a:pt x="89" y="335"/>
                      <a:pt x="90" y="335"/>
                      <a:pt x="91" y="334"/>
                    </a:cubicBezTo>
                    <a:cubicBezTo>
                      <a:pt x="93" y="334"/>
                      <a:pt x="95" y="331"/>
                      <a:pt x="96" y="335"/>
                    </a:cubicBezTo>
                    <a:cubicBezTo>
                      <a:pt x="96" y="337"/>
                      <a:pt x="96" y="339"/>
                      <a:pt x="97" y="340"/>
                    </a:cubicBezTo>
                    <a:cubicBezTo>
                      <a:pt x="97" y="343"/>
                      <a:pt x="99" y="343"/>
                      <a:pt x="100" y="343"/>
                    </a:cubicBezTo>
                    <a:cubicBezTo>
                      <a:pt x="101" y="344"/>
                      <a:pt x="101" y="346"/>
                      <a:pt x="101" y="347"/>
                    </a:cubicBezTo>
                    <a:cubicBezTo>
                      <a:pt x="102" y="348"/>
                      <a:pt x="102" y="349"/>
                      <a:pt x="103" y="350"/>
                    </a:cubicBezTo>
                    <a:cubicBezTo>
                      <a:pt x="114" y="342"/>
                      <a:pt x="125" y="334"/>
                      <a:pt x="136" y="326"/>
                    </a:cubicBezTo>
                    <a:cubicBezTo>
                      <a:pt x="137" y="324"/>
                      <a:pt x="137" y="321"/>
                      <a:pt x="138" y="319"/>
                    </a:cubicBezTo>
                    <a:cubicBezTo>
                      <a:pt x="139" y="316"/>
                      <a:pt x="140" y="313"/>
                      <a:pt x="142" y="311"/>
                    </a:cubicBezTo>
                    <a:cubicBezTo>
                      <a:pt x="144" y="310"/>
                      <a:pt x="144" y="313"/>
                      <a:pt x="145" y="315"/>
                    </a:cubicBezTo>
                    <a:cubicBezTo>
                      <a:pt x="145" y="316"/>
                      <a:pt x="146" y="317"/>
                      <a:pt x="145" y="318"/>
                    </a:cubicBezTo>
                    <a:cubicBezTo>
                      <a:pt x="145" y="319"/>
                      <a:pt x="145" y="319"/>
                      <a:pt x="145" y="319"/>
                    </a:cubicBezTo>
                    <a:cubicBezTo>
                      <a:pt x="147" y="317"/>
                      <a:pt x="150" y="315"/>
                      <a:pt x="152" y="314"/>
                    </a:cubicBezTo>
                    <a:cubicBezTo>
                      <a:pt x="152" y="313"/>
                      <a:pt x="153" y="311"/>
                      <a:pt x="153" y="311"/>
                    </a:cubicBezTo>
                    <a:cubicBezTo>
                      <a:pt x="155" y="309"/>
                      <a:pt x="157" y="307"/>
                      <a:pt x="159" y="304"/>
                    </a:cubicBezTo>
                    <a:cubicBezTo>
                      <a:pt x="159" y="304"/>
                      <a:pt x="161" y="302"/>
                      <a:pt x="161" y="304"/>
                    </a:cubicBezTo>
                    <a:cubicBezTo>
                      <a:pt x="161" y="305"/>
                      <a:pt x="160" y="306"/>
                      <a:pt x="160" y="306"/>
                    </a:cubicBezTo>
                    <a:cubicBezTo>
                      <a:pt x="160" y="307"/>
                      <a:pt x="159" y="307"/>
                      <a:pt x="159" y="308"/>
                    </a:cubicBezTo>
                    <a:cubicBezTo>
                      <a:pt x="205" y="271"/>
                      <a:pt x="245" y="234"/>
                      <a:pt x="284" y="209"/>
                    </a:cubicBezTo>
                    <a:cubicBezTo>
                      <a:pt x="288" y="207"/>
                      <a:pt x="292" y="204"/>
                      <a:pt x="296" y="202"/>
                    </a:cubicBezTo>
                    <a:cubicBezTo>
                      <a:pt x="293" y="131"/>
                      <a:pt x="280" y="64"/>
                      <a:pt x="259" y="0"/>
                    </a:cubicBezTo>
                    <a:cubicBezTo>
                      <a:pt x="258" y="0"/>
                      <a:pt x="258" y="1"/>
                      <a:pt x="257" y="2"/>
                    </a:cubicBezTo>
                    <a:close/>
                    <a:moveTo>
                      <a:pt x="146" y="170"/>
                    </a:moveTo>
                    <a:cubicBezTo>
                      <a:pt x="146" y="171"/>
                      <a:pt x="146" y="172"/>
                      <a:pt x="146" y="173"/>
                    </a:cubicBezTo>
                    <a:cubicBezTo>
                      <a:pt x="145" y="174"/>
                      <a:pt x="145" y="176"/>
                      <a:pt x="145" y="177"/>
                    </a:cubicBezTo>
                    <a:cubicBezTo>
                      <a:pt x="145" y="178"/>
                      <a:pt x="143" y="180"/>
                      <a:pt x="142" y="178"/>
                    </a:cubicBezTo>
                    <a:cubicBezTo>
                      <a:pt x="141" y="176"/>
                      <a:pt x="142" y="174"/>
                      <a:pt x="141" y="172"/>
                    </a:cubicBezTo>
                    <a:cubicBezTo>
                      <a:pt x="141" y="170"/>
                      <a:pt x="140" y="168"/>
                      <a:pt x="139" y="166"/>
                    </a:cubicBezTo>
                    <a:cubicBezTo>
                      <a:pt x="139" y="163"/>
                      <a:pt x="136" y="156"/>
                      <a:pt x="139" y="157"/>
                    </a:cubicBezTo>
                    <a:cubicBezTo>
                      <a:pt x="140" y="157"/>
                      <a:pt x="141" y="158"/>
                      <a:pt x="142" y="158"/>
                    </a:cubicBezTo>
                    <a:cubicBezTo>
                      <a:pt x="143" y="159"/>
                      <a:pt x="143" y="161"/>
                      <a:pt x="143" y="162"/>
                    </a:cubicBezTo>
                    <a:cubicBezTo>
                      <a:pt x="144" y="164"/>
                      <a:pt x="145" y="164"/>
                      <a:pt x="146" y="165"/>
                    </a:cubicBezTo>
                    <a:cubicBezTo>
                      <a:pt x="146" y="166"/>
                      <a:pt x="147" y="169"/>
                      <a:pt x="146" y="170"/>
                    </a:cubicBezTo>
                    <a:close/>
                    <a:moveTo>
                      <a:pt x="155" y="167"/>
                    </a:moveTo>
                    <a:cubicBezTo>
                      <a:pt x="154" y="167"/>
                      <a:pt x="154" y="168"/>
                      <a:pt x="154" y="168"/>
                    </a:cubicBezTo>
                    <a:cubicBezTo>
                      <a:pt x="153" y="166"/>
                      <a:pt x="153" y="165"/>
                      <a:pt x="152" y="163"/>
                    </a:cubicBezTo>
                    <a:cubicBezTo>
                      <a:pt x="151" y="161"/>
                      <a:pt x="150" y="160"/>
                      <a:pt x="150" y="158"/>
                    </a:cubicBezTo>
                    <a:cubicBezTo>
                      <a:pt x="149" y="157"/>
                      <a:pt x="149" y="155"/>
                      <a:pt x="149" y="154"/>
                    </a:cubicBezTo>
                    <a:cubicBezTo>
                      <a:pt x="149" y="152"/>
                      <a:pt x="149" y="150"/>
                      <a:pt x="149" y="148"/>
                    </a:cubicBezTo>
                    <a:cubicBezTo>
                      <a:pt x="150" y="144"/>
                      <a:pt x="152" y="153"/>
                      <a:pt x="153" y="155"/>
                    </a:cubicBezTo>
                    <a:cubicBezTo>
                      <a:pt x="153" y="157"/>
                      <a:pt x="153" y="159"/>
                      <a:pt x="154" y="161"/>
                    </a:cubicBezTo>
                    <a:cubicBezTo>
                      <a:pt x="154" y="163"/>
                      <a:pt x="155" y="165"/>
                      <a:pt x="155" y="167"/>
                    </a:cubicBezTo>
                    <a:close/>
                    <a:moveTo>
                      <a:pt x="163" y="199"/>
                    </a:moveTo>
                    <a:cubicBezTo>
                      <a:pt x="163" y="201"/>
                      <a:pt x="161" y="201"/>
                      <a:pt x="161" y="199"/>
                    </a:cubicBezTo>
                    <a:cubicBezTo>
                      <a:pt x="161" y="198"/>
                      <a:pt x="161" y="197"/>
                      <a:pt x="160" y="196"/>
                    </a:cubicBezTo>
                    <a:cubicBezTo>
                      <a:pt x="160" y="195"/>
                      <a:pt x="159" y="195"/>
                      <a:pt x="159" y="193"/>
                    </a:cubicBezTo>
                    <a:cubicBezTo>
                      <a:pt x="158" y="190"/>
                      <a:pt x="160" y="193"/>
                      <a:pt x="161" y="193"/>
                    </a:cubicBezTo>
                    <a:cubicBezTo>
                      <a:pt x="162" y="194"/>
                      <a:pt x="162" y="194"/>
                      <a:pt x="162" y="195"/>
                    </a:cubicBezTo>
                    <a:cubicBezTo>
                      <a:pt x="163" y="197"/>
                      <a:pt x="164" y="197"/>
                      <a:pt x="163" y="19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3" name="Freeform 164"/>
              <p:cNvSpPr>
                <a:spLocks/>
              </p:cNvSpPr>
              <p:nvPr/>
            </p:nvSpPr>
            <p:spPr bwMode="auto">
              <a:xfrm>
                <a:off x="3497263" y="3898900"/>
                <a:ext cx="34925" cy="63500"/>
              </a:xfrm>
              <a:custGeom>
                <a:avLst/>
                <a:gdLst>
                  <a:gd name="T0" fmla="*/ 7 w 46"/>
                  <a:gd name="T1" fmla="*/ 3 h 83"/>
                  <a:gd name="T2" fmla="*/ 4 w 46"/>
                  <a:gd name="T3" fmla="*/ 3 h 83"/>
                  <a:gd name="T4" fmla="*/ 2 w 46"/>
                  <a:gd name="T5" fmla="*/ 1 h 83"/>
                  <a:gd name="T6" fmla="*/ 0 w 46"/>
                  <a:gd name="T7" fmla="*/ 3 h 83"/>
                  <a:gd name="T8" fmla="*/ 3 w 46"/>
                  <a:gd name="T9" fmla="*/ 11 h 83"/>
                  <a:gd name="T10" fmla="*/ 6 w 46"/>
                  <a:gd name="T11" fmla="*/ 16 h 83"/>
                  <a:gd name="T12" fmla="*/ 9 w 46"/>
                  <a:gd name="T13" fmla="*/ 19 h 83"/>
                  <a:gd name="T14" fmla="*/ 10 w 46"/>
                  <a:gd name="T15" fmla="*/ 26 h 83"/>
                  <a:gd name="T16" fmla="*/ 16 w 46"/>
                  <a:gd name="T17" fmla="*/ 35 h 83"/>
                  <a:gd name="T18" fmla="*/ 19 w 46"/>
                  <a:gd name="T19" fmla="*/ 40 h 83"/>
                  <a:gd name="T20" fmla="*/ 22 w 46"/>
                  <a:gd name="T21" fmla="*/ 41 h 83"/>
                  <a:gd name="T22" fmla="*/ 24 w 46"/>
                  <a:gd name="T23" fmla="*/ 40 h 83"/>
                  <a:gd name="T24" fmla="*/ 23 w 46"/>
                  <a:gd name="T25" fmla="*/ 35 h 83"/>
                  <a:gd name="T26" fmla="*/ 25 w 46"/>
                  <a:gd name="T27" fmla="*/ 35 h 83"/>
                  <a:gd name="T28" fmla="*/ 27 w 46"/>
                  <a:gd name="T29" fmla="*/ 39 h 83"/>
                  <a:gd name="T30" fmla="*/ 28 w 46"/>
                  <a:gd name="T31" fmla="*/ 36 h 83"/>
                  <a:gd name="T32" fmla="*/ 30 w 46"/>
                  <a:gd name="T33" fmla="*/ 36 h 83"/>
                  <a:gd name="T34" fmla="*/ 29 w 46"/>
                  <a:gd name="T35" fmla="*/ 42 h 83"/>
                  <a:gd name="T36" fmla="*/ 26 w 46"/>
                  <a:gd name="T37" fmla="*/ 42 h 83"/>
                  <a:gd name="T38" fmla="*/ 25 w 46"/>
                  <a:gd name="T39" fmla="*/ 45 h 83"/>
                  <a:gd name="T40" fmla="*/ 23 w 46"/>
                  <a:gd name="T41" fmla="*/ 48 h 83"/>
                  <a:gd name="T42" fmla="*/ 26 w 46"/>
                  <a:gd name="T43" fmla="*/ 52 h 83"/>
                  <a:gd name="T44" fmla="*/ 29 w 46"/>
                  <a:gd name="T45" fmla="*/ 54 h 83"/>
                  <a:gd name="T46" fmla="*/ 32 w 46"/>
                  <a:gd name="T47" fmla="*/ 58 h 83"/>
                  <a:gd name="T48" fmla="*/ 30 w 46"/>
                  <a:gd name="T49" fmla="*/ 59 h 83"/>
                  <a:gd name="T50" fmla="*/ 28 w 46"/>
                  <a:gd name="T51" fmla="*/ 60 h 83"/>
                  <a:gd name="T52" fmla="*/ 31 w 46"/>
                  <a:gd name="T53" fmla="*/ 64 h 83"/>
                  <a:gd name="T54" fmla="*/ 35 w 46"/>
                  <a:gd name="T55" fmla="*/ 68 h 83"/>
                  <a:gd name="T56" fmla="*/ 37 w 46"/>
                  <a:gd name="T57" fmla="*/ 71 h 83"/>
                  <a:gd name="T58" fmla="*/ 40 w 46"/>
                  <a:gd name="T59" fmla="*/ 72 h 83"/>
                  <a:gd name="T60" fmla="*/ 39 w 46"/>
                  <a:gd name="T61" fmla="*/ 75 h 83"/>
                  <a:gd name="T62" fmla="*/ 44 w 46"/>
                  <a:gd name="T63" fmla="*/ 83 h 83"/>
                  <a:gd name="T64" fmla="*/ 42 w 46"/>
                  <a:gd name="T65" fmla="*/ 68 h 83"/>
                  <a:gd name="T66" fmla="*/ 42 w 46"/>
                  <a:gd name="T67" fmla="*/ 63 h 83"/>
                  <a:gd name="T68" fmla="*/ 41 w 46"/>
                  <a:gd name="T69" fmla="*/ 57 h 83"/>
                  <a:gd name="T70" fmla="*/ 42 w 46"/>
                  <a:gd name="T71" fmla="*/ 53 h 83"/>
                  <a:gd name="T72" fmla="*/ 41 w 46"/>
                  <a:gd name="T73" fmla="*/ 48 h 83"/>
                  <a:gd name="T74" fmla="*/ 41 w 46"/>
                  <a:gd name="T75" fmla="*/ 43 h 83"/>
                  <a:gd name="T76" fmla="*/ 43 w 46"/>
                  <a:gd name="T77" fmla="*/ 41 h 83"/>
                  <a:gd name="T78" fmla="*/ 46 w 46"/>
                  <a:gd name="T79" fmla="*/ 40 h 83"/>
                  <a:gd name="T80" fmla="*/ 44 w 46"/>
                  <a:gd name="T81" fmla="*/ 36 h 83"/>
                  <a:gd name="T82" fmla="*/ 41 w 46"/>
                  <a:gd name="T83" fmla="*/ 33 h 83"/>
                  <a:gd name="T84" fmla="*/ 39 w 46"/>
                  <a:gd name="T85" fmla="*/ 31 h 83"/>
                  <a:gd name="T86" fmla="*/ 37 w 46"/>
                  <a:gd name="T87" fmla="*/ 29 h 83"/>
                  <a:gd name="T88" fmla="*/ 34 w 46"/>
                  <a:gd name="T89" fmla="*/ 26 h 83"/>
                  <a:gd name="T90" fmla="*/ 31 w 46"/>
                  <a:gd name="T91" fmla="*/ 23 h 83"/>
                  <a:gd name="T92" fmla="*/ 28 w 46"/>
                  <a:gd name="T93" fmla="*/ 16 h 83"/>
                  <a:gd name="T94" fmla="*/ 28 w 46"/>
                  <a:gd name="T95" fmla="*/ 17 h 83"/>
                  <a:gd name="T96" fmla="*/ 26 w 46"/>
                  <a:gd name="T97" fmla="*/ 14 h 83"/>
                  <a:gd name="T98" fmla="*/ 25 w 46"/>
                  <a:gd name="T99" fmla="*/ 11 h 83"/>
                  <a:gd name="T100" fmla="*/ 22 w 46"/>
                  <a:gd name="T101" fmla="*/ 8 h 83"/>
                  <a:gd name="T102" fmla="*/ 18 w 46"/>
                  <a:gd name="T103" fmla="*/ 3 h 83"/>
                  <a:gd name="T104" fmla="*/ 18 w 46"/>
                  <a:gd name="T105" fmla="*/ 6 h 83"/>
                  <a:gd name="T106" fmla="*/ 20 w 46"/>
                  <a:gd name="T107" fmla="*/ 15 h 83"/>
                  <a:gd name="T108" fmla="*/ 13 w 46"/>
                  <a:gd name="T109" fmla="*/ 8 h 83"/>
                  <a:gd name="T110" fmla="*/ 13 w 46"/>
                  <a:gd name="T111" fmla="*/ 13 h 83"/>
                  <a:gd name="T112" fmla="*/ 10 w 46"/>
                  <a:gd name="T113" fmla="*/ 9 h 83"/>
                  <a:gd name="T114" fmla="*/ 10 w 46"/>
                  <a:gd name="T115" fmla="*/ 6 h 83"/>
                  <a:gd name="T116" fmla="*/ 7 w 46"/>
                  <a:gd name="T117" fmla="*/ 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 h="83">
                    <a:moveTo>
                      <a:pt x="7" y="3"/>
                    </a:moveTo>
                    <a:cubicBezTo>
                      <a:pt x="7" y="4"/>
                      <a:pt x="6" y="5"/>
                      <a:pt x="4" y="3"/>
                    </a:cubicBezTo>
                    <a:cubicBezTo>
                      <a:pt x="3" y="1"/>
                      <a:pt x="3" y="0"/>
                      <a:pt x="2" y="1"/>
                    </a:cubicBezTo>
                    <a:cubicBezTo>
                      <a:pt x="1" y="1"/>
                      <a:pt x="0" y="2"/>
                      <a:pt x="0" y="3"/>
                    </a:cubicBezTo>
                    <a:cubicBezTo>
                      <a:pt x="0" y="5"/>
                      <a:pt x="3" y="9"/>
                      <a:pt x="3" y="11"/>
                    </a:cubicBezTo>
                    <a:cubicBezTo>
                      <a:pt x="4" y="13"/>
                      <a:pt x="4" y="14"/>
                      <a:pt x="6" y="16"/>
                    </a:cubicBezTo>
                    <a:cubicBezTo>
                      <a:pt x="7" y="17"/>
                      <a:pt x="8" y="18"/>
                      <a:pt x="9" y="19"/>
                    </a:cubicBezTo>
                    <a:cubicBezTo>
                      <a:pt x="11" y="22"/>
                      <a:pt x="8" y="24"/>
                      <a:pt x="10" y="26"/>
                    </a:cubicBezTo>
                    <a:cubicBezTo>
                      <a:pt x="12" y="30"/>
                      <a:pt x="14" y="32"/>
                      <a:pt x="16" y="35"/>
                    </a:cubicBezTo>
                    <a:cubicBezTo>
                      <a:pt x="18" y="37"/>
                      <a:pt x="18" y="39"/>
                      <a:pt x="19" y="40"/>
                    </a:cubicBezTo>
                    <a:cubicBezTo>
                      <a:pt x="20" y="42"/>
                      <a:pt x="21" y="42"/>
                      <a:pt x="22" y="41"/>
                    </a:cubicBezTo>
                    <a:cubicBezTo>
                      <a:pt x="23" y="41"/>
                      <a:pt x="24" y="41"/>
                      <a:pt x="24" y="40"/>
                    </a:cubicBezTo>
                    <a:cubicBezTo>
                      <a:pt x="24" y="38"/>
                      <a:pt x="23" y="37"/>
                      <a:pt x="23" y="35"/>
                    </a:cubicBezTo>
                    <a:cubicBezTo>
                      <a:pt x="23" y="35"/>
                      <a:pt x="24" y="34"/>
                      <a:pt x="25" y="35"/>
                    </a:cubicBezTo>
                    <a:cubicBezTo>
                      <a:pt x="26" y="36"/>
                      <a:pt x="26" y="37"/>
                      <a:pt x="27" y="39"/>
                    </a:cubicBezTo>
                    <a:cubicBezTo>
                      <a:pt x="28" y="40"/>
                      <a:pt x="28" y="36"/>
                      <a:pt x="28" y="36"/>
                    </a:cubicBezTo>
                    <a:cubicBezTo>
                      <a:pt x="28" y="35"/>
                      <a:pt x="29" y="34"/>
                      <a:pt x="30" y="36"/>
                    </a:cubicBezTo>
                    <a:cubicBezTo>
                      <a:pt x="31" y="40"/>
                      <a:pt x="32" y="43"/>
                      <a:pt x="29" y="42"/>
                    </a:cubicBezTo>
                    <a:cubicBezTo>
                      <a:pt x="28" y="42"/>
                      <a:pt x="27" y="41"/>
                      <a:pt x="26" y="42"/>
                    </a:cubicBezTo>
                    <a:cubicBezTo>
                      <a:pt x="26" y="43"/>
                      <a:pt x="26" y="45"/>
                      <a:pt x="25" y="45"/>
                    </a:cubicBezTo>
                    <a:cubicBezTo>
                      <a:pt x="23" y="45"/>
                      <a:pt x="21" y="44"/>
                      <a:pt x="23" y="48"/>
                    </a:cubicBezTo>
                    <a:cubicBezTo>
                      <a:pt x="24" y="49"/>
                      <a:pt x="25" y="51"/>
                      <a:pt x="26" y="52"/>
                    </a:cubicBezTo>
                    <a:cubicBezTo>
                      <a:pt x="27" y="54"/>
                      <a:pt x="28" y="54"/>
                      <a:pt x="29" y="54"/>
                    </a:cubicBezTo>
                    <a:cubicBezTo>
                      <a:pt x="30" y="55"/>
                      <a:pt x="31" y="57"/>
                      <a:pt x="32" y="58"/>
                    </a:cubicBezTo>
                    <a:cubicBezTo>
                      <a:pt x="32" y="60"/>
                      <a:pt x="31" y="59"/>
                      <a:pt x="30" y="59"/>
                    </a:cubicBezTo>
                    <a:cubicBezTo>
                      <a:pt x="30" y="59"/>
                      <a:pt x="28" y="58"/>
                      <a:pt x="28" y="60"/>
                    </a:cubicBezTo>
                    <a:cubicBezTo>
                      <a:pt x="29" y="61"/>
                      <a:pt x="30" y="63"/>
                      <a:pt x="31" y="64"/>
                    </a:cubicBezTo>
                    <a:cubicBezTo>
                      <a:pt x="32" y="65"/>
                      <a:pt x="33" y="66"/>
                      <a:pt x="35" y="68"/>
                    </a:cubicBezTo>
                    <a:cubicBezTo>
                      <a:pt x="35" y="69"/>
                      <a:pt x="36" y="70"/>
                      <a:pt x="37" y="71"/>
                    </a:cubicBezTo>
                    <a:cubicBezTo>
                      <a:pt x="38" y="73"/>
                      <a:pt x="39" y="72"/>
                      <a:pt x="40" y="72"/>
                    </a:cubicBezTo>
                    <a:cubicBezTo>
                      <a:pt x="40" y="73"/>
                      <a:pt x="39" y="74"/>
                      <a:pt x="39" y="75"/>
                    </a:cubicBezTo>
                    <a:cubicBezTo>
                      <a:pt x="39" y="77"/>
                      <a:pt x="42" y="81"/>
                      <a:pt x="44" y="83"/>
                    </a:cubicBezTo>
                    <a:cubicBezTo>
                      <a:pt x="44" y="78"/>
                      <a:pt x="43" y="73"/>
                      <a:pt x="42" y="68"/>
                    </a:cubicBezTo>
                    <a:cubicBezTo>
                      <a:pt x="42" y="65"/>
                      <a:pt x="43" y="65"/>
                      <a:pt x="42" y="63"/>
                    </a:cubicBezTo>
                    <a:cubicBezTo>
                      <a:pt x="42" y="61"/>
                      <a:pt x="42" y="59"/>
                      <a:pt x="41" y="57"/>
                    </a:cubicBezTo>
                    <a:cubicBezTo>
                      <a:pt x="41" y="55"/>
                      <a:pt x="41" y="53"/>
                      <a:pt x="42" y="53"/>
                    </a:cubicBezTo>
                    <a:cubicBezTo>
                      <a:pt x="42" y="52"/>
                      <a:pt x="41" y="50"/>
                      <a:pt x="41" y="48"/>
                    </a:cubicBezTo>
                    <a:cubicBezTo>
                      <a:pt x="40" y="46"/>
                      <a:pt x="40" y="45"/>
                      <a:pt x="41" y="43"/>
                    </a:cubicBezTo>
                    <a:cubicBezTo>
                      <a:pt x="41" y="42"/>
                      <a:pt x="41" y="40"/>
                      <a:pt x="43" y="41"/>
                    </a:cubicBezTo>
                    <a:cubicBezTo>
                      <a:pt x="44" y="41"/>
                      <a:pt x="46" y="41"/>
                      <a:pt x="46" y="40"/>
                    </a:cubicBezTo>
                    <a:cubicBezTo>
                      <a:pt x="46" y="39"/>
                      <a:pt x="44" y="38"/>
                      <a:pt x="44" y="36"/>
                    </a:cubicBezTo>
                    <a:cubicBezTo>
                      <a:pt x="43" y="34"/>
                      <a:pt x="42" y="35"/>
                      <a:pt x="41" y="33"/>
                    </a:cubicBezTo>
                    <a:cubicBezTo>
                      <a:pt x="40" y="32"/>
                      <a:pt x="40" y="32"/>
                      <a:pt x="39" y="31"/>
                    </a:cubicBezTo>
                    <a:cubicBezTo>
                      <a:pt x="39" y="30"/>
                      <a:pt x="38" y="29"/>
                      <a:pt x="37" y="29"/>
                    </a:cubicBezTo>
                    <a:cubicBezTo>
                      <a:pt x="36" y="28"/>
                      <a:pt x="35" y="28"/>
                      <a:pt x="34" y="26"/>
                    </a:cubicBezTo>
                    <a:cubicBezTo>
                      <a:pt x="33" y="25"/>
                      <a:pt x="32" y="24"/>
                      <a:pt x="31" y="23"/>
                    </a:cubicBezTo>
                    <a:cubicBezTo>
                      <a:pt x="31" y="21"/>
                      <a:pt x="30" y="17"/>
                      <a:pt x="28" y="16"/>
                    </a:cubicBezTo>
                    <a:cubicBezTo>
                      <a:pt x="28" y="17"/>
                      <a:pt x="28" y="17"/>
                      <a:pt x="28" y="17"/>
                    </a:cubicBezTo>
                    <a:cubicBezTo>
                      <a:pt x="27" y="16"/>
                      <a:pt x="26" y="15"/>
                      <a:pt x="26" y="14"/>
                    </a:cubicBezTo>
                    <a:cubicBezTo>
                      <a:pt x="26" y="13"/>
                      <a:pt x="26" y="12"/>
                      <a:pt x="25" y="11"/>
                    </a:cubicBezTo>
                    <a:cubicBezTo>
                      <a:pt x="24" y="10"/>
                      <a:pt x="23" y="9"/>
                      <a:pt x="22" y="8"/>
                    </a:cubicBezTo>
                    <a:cubicBezTo>
                      <a:pt x="21" y="6"/>
                      <a:pt x="20" y="3"/>
                      <a:pt x="18" y="3"/>
                    </a:cubicBezTo>
                    <a:cubicBezTo>
                      <a:pt x="17" y="3"/>
                      <a:pt x="17" y="5"/>
                      <a:pt x="18" y="6"/>
                    </a:cubicBezTo>
                    <a:cubicBezTo>
                      <a:pt x="19" y="9"/>
                      <a:pt x="21" y="13"/>
                      <a:pt x="20" y="15"/>
                    </a:cubicBezTo>
                    <a:cubicBezTo>
                      <a:pt x="19" y="17"/>
                      <a:pt x="15" y="9"/>
                      <a:pt x="13" y="8"/>
                    </a:cubicBezTo>
                    <a:cubicBezTo>
                      <a:pt x="12" y="8"/>
                      <a:pt x="14" y="13"/>
                      <a:pt x="13" y="13"/>
                    </a:cubicBezTo>
                    <a:cubicBezTo>
                      <a:pt x="12" y="12"/>
                      <a:pt x="10" y="10"/>
                      <a:pt x="10" y="9"/>
                    </a:cubicBezTo>
                    <a:cubicBezTo>
                      <a:pt x="9" y="7"/>
                      <a:pt x="11" y="7"/>
                      <a:pt x="10" y="6"/>
                    </a:cubicBezTo>
                    <a:cubicBezTo>
                      <a:pt x="9" y="4"/>
                      <a:pt x="8" y="2"/>
                      <a:pt x="7"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4" name="Freeform 165"/>
              <p:cNvSpPr>
                <a:spLocks/>
              </p:cNvSpPr>
              <p:nvPr/>
            </p:nvSpPr>
            <p:spPr bwMode="auto">
              <a:xfrm>
                <a:off x="3046413" y="4576763"/>
                <a:ext cx="17463" cy="7938"/>
              </a:xfrm>
              <a:custGeom>
                <a:avLst/>
                <a:gdLst>
                  <a:gd name="T0" fmla="*/ 3 w 22"/>
                  <a:gd name="T1" fmla="*/ 6 h 9"/>
                  <a:gd name="T2" fmla="*/ 9 w 22"/>
                  <a:gd name="T3" fmla="*/ 7 h 9"/>
                  <a:gd name="T4" fmla="*/ 17 w 22"/>
                  <a:gd name="T5" fmla="*/ 9 h 9"/>
                  <a:gd name="T6" fmla="*/ 21 w 22"/>
                  <a:gd name="T7" fmla="*/ 7 h 9"/>
                  <a:gd name="T8" fmla="*/ 13 w 22"/>
                  <a:gd name="T9" fmla="*/ 5 h 9"/>
                  <a:gd name="T10" fmla="*/ 4 w 22"/>
                  <a:gd name="T11" fmla="*/ 0 h 9"/>
                  <a:gd name="T12" fmla="*/ 3 w 2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3" y="6"/>
                    </a:moveTo>
                    <a:cubicBezTo>
                      <a:pt x="4" y="7"/>
                      <a:pt x="7" y="7"/>
                      <a:pt x="9" y="7"/>
                    </a:cubicBezTo>
                    <a:cubicBezTo>
                      <a:pt x="12" y="8"/>
                      <a:pt x="14" y="9"/>
                      <a:pt x="17" y="9"/>
                    </a:cubicBezTo>
                    <a:cubicBezTo>
                      <a:pt x="18" y="9"/>
                      <a:pt x="22" y="9"/>
                      <a:pt x="21" y="7"/>
                    </a:cubicBezTo>
                    <a:cubicBezTo>
                      <a:pt x="20" y="5"/>
                      <a:pt x="16" y="6"/>
                      <a:pt x="13" y="5"/>
                    </a:cubicBezTo>
                    <a:cubicBezTo>
                      <a:pt x="9" y="5"/>
                      <a:pt x="9" y="1"/>
                      <a:pt x="4" y="0"/>
                    </a:cubicBezTo>
                    <a:cubicBezTo>
                      <a:pt x="0" y="0"/>
                      <a:pt x="0" y="4"/>
                      <a:pt x="3"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5" name="Freeform 166"/>
              <p:cNvSpPr>
                <a:spLocks/>
              </p:cNvSpPr>
              <p:nvPr/>
            </p:nvSpPr>
            <p:spPr bwMode="auto">
              <a:xfrm>
                <a:off x="3059113" y="4560888"/>
                <a:ext cx="4763" cy="6350"/>
              </a:xfrm>
              <a:custGeom>
                <a:avLst/>
                <a:gdLst>
                  <a:gd name="T0" fmla="*/ 8 w 8"/>
                  <a:gd name="T1" fmla="*/ 5 h 7"/>
                  <a:gd name="T2" fmla="*/ 8 w 8"/>
                  <a:gd name="T3" fmla="*/ 2 h 7"/>
                  <a:gd name="T4" fmla="*/ 3 w 8"/>
                  <a:gd name="T5" fmla="*/ 4 h 7"/>
                  <a:gd name="T6" fmla="*/ 8 w 8"/>
                  <a:gd name="T7" fmla="*/ 5 h 7"/>
                </a:gdLst>
                <a:ahLst/>
                <a:cxnLst>
                  <a:cxn ang="0">
                    <a:pos x="T0" y="T1"/>
                  </a:cxn>
                  <a:cxn ang="0">
                    <a:pos x="T2" y="T3"/>
                  </a:cxn>
                  <a:cxn ang="0">
                    <a:pos x="T4" y="T5"/>
                  </a:cxn>
                  <a:cxn ang="0">
                    <a:pos x="T6" y="T7"/>
                  </a:cxn>
                </a:cxnLst>
                <a:rect l="0" t="0" r="r" b="b"/>
                <a:pathLst>
                  <a:path w="8" h="7">
                    <a:moveTo>
                      <a:pt x="8" y="5"/>
                    </a:moveTo>
                    <a:cubicBezTo>
                      <a:pt x="8" y="5"/>
                      <a:pt x="8" y="2"/>
                      <a:pt x="8" y="2"/>
                    </a:cubicBezTo>
                    <a:cubicBezTo>
                      <a:pt x="4" y="0"/>
                      <a:pt x="0" y="0"/>
                      <a:pt x="3" y="4"/>
                    </a:cubicBezTo>
                    <a:cubicBezTo>
                      <a:pt x="4" y="5"/>
                      <a:pt x="7" y="7"/>
                      <a:pt x="8"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6" name="Freeform 167"/>
              <p:cNvSpPr>
                <a:spLocks/>
              </p:cNvSpPr>
              <p:nvPr/>
            </p:nvSpPr>
            <p:spPr bwMode="auto">
              <a:xfrm>
                <a:off x="3051176" y="4573588"/>
                <a:ext cx="9525" cy="6350"/>
              </a:xfrm>
              <a:custGeom>
                <a:avLst/>
                <a:gdLst>
                  <a:gd name="T0" fmla="*/ 1 w 12"/>
                  <a:gd name="T1" fmla="*/ 3 h 9"/>
                  <a:gd name="T2" fmla="*/ 11 w 12"/>
                  <a:gd name="T3" fmla="*/ 6 h 9"/>
                  <a:gd name="T4" fmla="*/ 1 w 12"/>
                  <a:gd name="T5" fmla="*/ 3 h 9"/>
                </a:gdLst>
                <a:ahLst/>
                <a:cxnLst>
                  <a:cxn ang="0">
                    <a:pos x="T0" y="T1"/>
                  </a:cxn>
                  <a:cxn ang="0">
                    <a:pos x="T2" y="T3"/>
                  </a:cxn>
                  <a:cxn ang="0">
                    <a:pos x="T4" y="T5"/>
                  </a:cxn>
                </a:cxnLst>
                <a:rect l="0" t="0" r="r" b="b"/>
                <a:pathLst>
                  <a:path w="12" h="9">
                    <a:moveTo>
                      <a:pt x="1" y="3"/>
                    </a:moveTo>
                    <a:cubicBezTo>
                      <a:pt x="1" y="6"/>
                      <a:pt x="9" y="9"/>
                      <a:pt x="11" y="6"/>
                    </a:cubicBezTo>
                    <a:cubicBezTo>
                      <a:pt x="12" y="1"/>
                      <a:pt x="0" y="0"/>
                      <a:pt x="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7" name="Freeform 168"/>
              <p:cNvSpPr>
                <a:spLocks/>
              </p:cNvSpPr>
              <p:nvPr/>
            </p:nvSpPr>
            <p:spPr bwMode="auto">
              <a:xfrm>
                <a:off x="3167063" y="4713288"/>
                <a:ext cx="3175" cy="3175"/>
              </a:xfrm>
              <a:custGeom>
                <a:avLst/>
                <a:gdLst>
                  <a:gd name="T0" fmla="*/ 1 w 5"/>
                  <a:gd name="T1" fmla="*/ 1 h 5"/>
                  <a:gd name="T2" fmla="*/ 1 w 5"/>
                  <a:gd name="T3" fmla="*/ 4 h 5"/>
                  <a:gd name="T4" fmla="*/ 4 w 5"/>
                  <a:gd name="T5" fmla="*/ 4 h 5"/>
                  <a:gd name="T6" fmla="*/ 3 w 5"/>
                  <a:gd name="T7" fmla="*/ 2 h 5"/>
                  <a:gd name="T8" fmla="*/ 1 w 5"/>
                  <a:gd name="T9" fmla="*/ 1 h 5"/>
                </a:gdLst>
                <a:ahLst/>
                <a:cxnLst>
                  <a:cxn ang="0">
                    <a:pos x="T0" y="T1"/>
                  </a:cxn>
                  <a:cxn ang="0">
                    <a:pos x="T2" y="T3"/>
                  </a:cxn>
                  <a:cxn ang="0">
                    <a:pos x="T4" y="T5"/>
                  </a:cxn>
                  <a:cxn ang="0">
                    <a:pos x="T6" y="T7"/>
                  </a:cxn>
                  <a:cxn ang="0">
                    <a:pos x="T8" y="T9"/>
                  </a:cxn>
                </a:cxnLst>
                <a:rect l="0" t="0" r="r" b="b"/>
                <a:pathLst>
                  <a:path w="5" h="5">
                    <a:moveTo>
                      <a:pt x="1" y="1"/>
                    </a:moveTo>
                    <a:cubicBezTo>
                      <a:pt x="0" y="2"/>
                      <a:pt x="1" y="3"/>
                      <a:pt x="1" y="4"/>
                    </a:cubicBezTo>
                    <a:cubicBezTo>
                      <a:pt x="1" y="4"/>
                      <a:pt x="4" y="5"/>
                      <a:pt x="4" y="4"/>
                    </a:cubicBezTo>
                    <a:cubicBezTo>
                      <a:pt x="5" y="3"/>
                      <a:pt x="4" y="2"/>
                      <a:pt x="3" y="2"/>
                    </a:cubicBezTo>
                    <a:cubicBezTo>
                      <a:pt x="3" y="2"/>
                      <a:pt x="1" y="0"/>
                      <a:pt x="1"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8" name="Freeform 169"/>
              <p:cNvSpPr>
                <a:spLocks/>
              </p:cNvSpPr>
              <p:nvPr/>
            </p:nvSpPr>
            <p:spPr bwMode="auto">
              <a:xfrm>
                <a:off x="3048001" y="4562475"/>
                <a:ext cx="6350" cy="4763"/>
              </a:xfrm>
              <a:custGeom>
                <a:avLst/>
                <a:gdLst>
                  <a:gd name="T0" fmla="*/ 5 w 9"/>
                  <a:gd name="T1" fmla="*/ 1 h 6"/>
                  <a:gd name="T2" fmla="*/ 6 w 9"/>
                  <a:gd name="T3" fmla="*/ 5 h 6"/>
                  <a:gd name="T4" fmla="*/ 8 w 9"/>
                  <a:gd name="T5" fmla="*/ 2 h 6"/>
                  <a:gd name="T6" fmla="*/ 5 w 9"/>
                  <a:gd name="T7" fmla="*/ 1 h 6"/>
                </a:gdLst>
                <a:ahLst/>
                <a:cxnLst>
                  <a:cxn ang="0">
                    <a:pos x="T0" y="T1"/>
                  </a:cxn>
                  <a:cxn ang="0">
                    <a:pos x="T2" y="T3"/>
                  </a:cxn>
                  <a:cxn ang="0">
                    <a:pos x="T4" y="T5"/>
                  </a:cxn>
                  <a:cxn ang="0">
                    <a:pos x="T6" y="T7"/>
                  </a:cxn>
                </a:cxnLst>
                <a:rect l="0" t="0" r="r" b="b"/>
                <a:pathLst>
                  <a:path w="9" h="6">
                    <a:moveTo>
                      <a:pt x="5" y="1"/>
                    </a:moveTo>
                    <a:cubicBezTo>
                      <a:pt x="0" y="0"/>
                      <a:pt x="2" y="6"/>
                      <a:pt x="6" y="5"/>
                    </a:cubicBezTo>
                    <a:cubicBezTo>
                      <a:pt x="9" y="5"/>
                      <a:pt x="8" y="3"/>
                      <a:pt x="8" y="2"/>
                    </a:cubicBezTo>
                    <a:cubicBezTo>
                      <a:pt x="8" y="1"/>
                      <a:pt x="6" y="1"/>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59" name="Freeform 170"/>
              <p:cNvSpPr>
                <a:spLocks/>
              </p:cNvSpPr>
              <p:nvPr/>
            </p:nvSpPr>
            <p:spPr bwMode="auto">
              <a:xfrm>
                <a:off x="3095626" y="4567238"/>
                <a:ext cx="4763" cy="4763"/>
              </a:xfrm>
              <a:custGeom>
                <a:avLst/>
                <a:gdLst>
                  <a:gd name="T0" fmla="*/ 6 w 7"/>
                  <a:gd name="T1" fmla="*/ 5 h 6"/>
                  <a:gd name="T2" fmla="*/ 4 w 7"/>
                  <a:gd name="T3" fmla="*/ 1 h 6"/>
                  <a:gd name="T4" fmla="*/ 4 w 7"/>
                  <a:gd name="T5" fmla="*/ 1 h 6"/>
                  <a:gd name="T6" fmla="*/ 2 w 7"/>
                  <a:gd name="T7" fmla="*/ 5 h 6"/>
                  <a:gd name="T8" fmla="*/ 6 w 7"/>
                  <a:gd name="T9" fmla="*/ 5 h 6"/>
                </a:gdLst>
                <a:ahLst/>
                <a:cxnLst>
                  <a:cxn ang="0">
                    <a:pos x="T0" y="T1"/>
                  </a:cxn>
                  <a:cxn ang="0">
                    <a:pos x="T2" y="T3"/>
                  </a:cxn>
                  <a:cxn ang="0">
                    <a:pos x="T4" y="T5"/>
                  </a:cxn>
                  <a:cxn ang="0">
                    <a:pos x="T6" y="T7"/>
                  </a:cxn>
                  <a:cxn ang="0">
                    <a:pos x="T8" y="T9"/>
                  </a:cxn>
                </a:cxnLst>
                <a:rect l="0" t="0" r="r" b="b"/>
                <a:pathLst>
                  <a:path w="7" h="6">
                    <a:moveTo>
                      <a:pt x="6" y="5"/>
                    </a:moveTo>
                    <a:cubicBezTo>
                      <a:pt x="7" y="3"/>
                      <a:pt x="6" y="2"/>
                      <a:pt x="4" y="1"/>
                    </a:cubicBezTo>
                    <a:cubicBezTo>
                      <a:pt x="4" y="1"/>
                      <a:pt x="4" y="1"/>
                      <a:pt x="4" y="1"/>
                    </a:cubicBezTo>
                    <a:cubicBezTo>
                      <a:pt x="0" y="0"/>
                      <a:pt x="0" y="4"/>
                      <a:pt x="2" y="5"/>
                    </a:cubicBezTo>
                    <a:cubicBezTo>
                      <a:pt x="4" y="6"/>
                      <a:pt x="6" y="6"/>
                      <a:pt x="6"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0" name="Freeform 171"/>
              <p:cNvSpPr>
                <a:spLocks/>
              </p:cNvSpPr>
              <p:nvPr/>
            </p:nvSpPr>
            <p:spPr bwMode="auto">
              <a:xfrm>
                <a:off x="3043238" y="4572000"/>
                <a:ext cx="6350" cy="3175"/>
              </a:xfrm>
              <a:custGeom>
                <a:avLst/>
                <a:gdLst>
                  <a:gd name="T0" fmla="*/ 2 w 8"/>
                  <a:gd name="T1" fmla="*/ 0 h 5"/>
                  <a:gd name="T2" fmla="*/ 1 w 8"/>
                  <a:gd name="T3" fmla="*/ 3 h 5"/>
                  <a:gd name="T4" fmla="*/ 6 w 8"/>
                  <a:gd name="T5" fmla="*/ 5 h 5"/>
                  <a:gd name="T6" fmla="*/ 7 w 8"/>
                  <a:gd name="T7" fmla="*/ 2 h 5"/>
                  <a:gd name="T8" fmla="*/ 2 w 8"/>
                  <a:gd name="T9" fmla="*/ 0 h 5"/>
                </a:gdLst>
                <a:ahLst/>
                <a:cxnLst>
                  <a:cxn ang="0">
                    <a:pos x="T0" y="T1"/>
                  </a:cxn>
                  <a:cxn ang="0">
                    <a:pos x="T2" y="T3"/>
                  </a:cxn>
                  <a:cxn ang="0">
                    <a:pos x="T4" y="T5"/>
                  </a:cxn>
                  <a:cxn ang="0">
                    <a:pos x="T6" y="T7"/>
                  </a:cxn>
                  <a:cxn ang="0">
                    <a:pos x="T8" y="T9"/>
                  </a:cxn>
                </a:cxnLst>
                <a:rect l="0" t="0" r="r" b="b"/>
                <a:pathLst>
                  <a:path w="8" h="5">
                    <a:moveTo>
                      <a:pt x="2" y="0"/>
                    </a:moveTo>
                    <a:cubicBezTo>
                      <a:pt x="0" y="0"/>
                      <a:pt x="0" y="2"/>
                      <a:pt x="1" y="3"/>
                    </a:cubicBezTo>
                    <a:cubicBezTo>
                      <a:pt x="2" y="4"/>
                      <a:pt x="4" y="5"/>
                      <a:pt x="6" y="5"/>
                    </a:cubicBezTo>
                    <a:cubicBezTo>
                      <a:pt x="8" y="5"/>
                      <a:pt x="7" y="3"/>
                      <a:pt x="7" y="2"/>
                    </a:cubicBezTo>
                    <a:cubicBezTo>
                      <a:pt x="5" y="2"/>
                      <a:pt x="4" y="0"/>
                      <a:pt x="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1" name="Freeform 172"/>
              <p:cNvSpPr>
                <a:spLocks/>
              </p:cNvSpPr>
              <p:nvPr/>
            </p:nvSpPr>
            <p:spPr bwMode="auto">
              <a:xfrm>
                <a:off x="3162301" y="4708525"/>
                <a:ext cx="6350" cy="4763"/>
              </a:xfrm>
              <a:custGeom>
                <a:avLst/>
                <a:gdLst>
                  <a:gd name="T0" fmla="*/ 5 w 7"/>
                  <a:gd name="T1" fmla="*/ 1 h 5"/>
                  <a:gd name="T2" fmla="*/ 3 w 7"/>
                  <a:gd name="T3" fmla="*/ 2 h 5"/>
                  <a:gd name="T4" fmla="*/ 2 w 7"/>
                  <a:gd name="T5" fmla="*/ 4 h 5"/>
                  <a:gd name="T6" fmla="*/ 6 w 7"/>
                  <a:gd name="T7" fmla="*/ 5 h 5"/>
                  <a:gd name="T8" fmla="*/ 6 w 7"/>
                  <a:gd name="T9" fmla="*/ 3 h 5"/>
                  <a:gd name="T10" fmla="*/ 5 w 7"/>
                  <a:gd name="T11" fmla="*/ 2 h 5"/>
                  <a:gd name="T12" fmla="*/ 5 w 7"/>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1"/>
                    </a:moveTo>
                    <a:cubicBezTo>
                      <a:pt x="3" y="0"/>
                      <a:pt x="0" y="2"/>
                      <a:pt x="3" y="2"/>
                    </a:cubicBezTo>
                    <a:cubicBezTo>
                      <a:pt x="4" y="3"/>
                      <a:pt x="2" y="4"/>
                      <a:pt x="2" y="4"/>
                    </a:cubicBezTo>
                    <a:cubicBezTo>
                      <a:pt x="2" y="5"/>
                      <a:pt x="6" y="5"/>
                      <a:pt x="6" y="5"/>
                    </a:cubicBezTo>
                    <a:cubicBezTo>
                      <a:pt x="7" y="4"/>
                      <a:pt x="6" y="3"/>
                      <a:pt x="6" y="3"/>
                    </a:cubicBezTo>
                    <a:cubicBezTo>
                      <a:pt x="5" y="2"/>
                      <a:pt x="5" y="2"/>
                      <a:pt x="5" y="2"/>
                    </a:cubicBezTo>
                    <a:cubicBezTo>
                      <a:pt x="5" y="1"/>
                      <a:pt x="6" y="1"/>
                      <a:pt x="5"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2" name="Freeform 173"/>
              <p:cNvSpPr>
                <a:spLocks/>
              </p:cNvSpPr>
              <p:nvPr/>
            </p:nvSpPr>
            <p:spPr bwMode="auto">
              <a:xfrm>
                <a:off x="3132138" y="4456113"/>
                <a:ext cx="11113" cy="7938"/>
              </a:xfrm>
              <a:custGeom>
                <a:avLst/>
                <a:gdLst>
                  <a:gd name="T0" fmla="*/ 11 w 15"/>
                  <a:gd name="T1" fmla="*/ 3 h 9"/>
                  <a:gd name="T2" fmla="*/ 3 w 15"/>
                  <a:gd name="T3" fmla="*/ 2 h 9"/>
                  <a:gd name="T4" fmla="*/ 2 w 15"/>
                  <a:gd name="T5" fmla="*/ 4 h 9"/>
                  <a:gd name="T6" fmla="*/ 8 w 15"/>
                  <a:gd name="T7" fmla="*/ 4 h 9"/>
                  <a:gd name="T8" fmla="*/ 13 w 15"/>
                  <a:gd name="T9" fmla="*/ 8 h 9"/>
                  <a:gd name="T10" fmla="*/ 14 w 15"/>
                  <a:gd name="T11" fmla="*/ 4 h 9"/>
                  <a:gd name="T12" fmla="*/ 11 w 15"/>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15" h="9">
                    <a:moveTo>
                      <a:pt x="11" y="3"/>
                    </a:moveTo>
                    <a:cubicBezTo>
                      <a:pt x="11" y="0"/>
                      <a:pt x="5" y="1"/>
                      <a:pt x="3" y="2"/>
                    </a:cubicBezTo>
                    <a:cubicBezTo>
                      <a:pt x="1" y="2"/>
                      <a:pt x="0" y="3"/>
                      <a:pt x="2" y="4"/>
                    </a:cubicBezTo>
                    <a:cubicBezTo>
                      <a:pt x="4" y="4"/>
                      <a:pt x="6" y="4"/>
                      <a:pt x="8" y="4"/>
                    </a:cubicBezTo>
                    <a:cubicBezTo>
                      <a:pt x="10" y="4"/>
                      <a:pt x="10" y="9"/>
                      <a:pt x="13" y="8"/>
                    </a:cubicBezTo>
                    <a:cubicBezTo>
                      <a:pt x="14" y="7"/>
                      <a:pt x="15" y="5"/>
                      <a:pt x="14" y="4"/>
                    </a:cubicBezTo>
                    <a:cubicBezTo>
                      <a:pt x="13" y="3"/>
                      <a:pt x="10" y="5"/>
                      <a:pt x="1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3" name="Freeform 174"/>
              <p:cNvSpPr>
                <a:spLocks/>
              </p:cNvSpPr>
              <p:nvPr/>
            </p:nvSpPr>
            <p:spPr bwMode="auto">
              <a:xfrm>
                <a:off x="3127376" y="4495800"/>
                <a:ext cx="14288" cy="3175"/>
              </a:xfrm>
              <a:custGeom>
                <a:avLst/>
                <a:gdLst>
                  <a:gd name="T0" fmla="*/ 10 w 18"/>
                  <a:gd name="T1" fmla="*/ 2 h 6"/>
                  <a:gd name="T2" fmla="*/ 3 w 18"/>
                  <a:gd name="T3" fmla="*/ 0 h 6"/>
                  <a:gd name="T4" fmla="*/ 3 w 18"/>
                  <a:gd name="T5" fmla="*/ 4 h 6"/>
                  <a:gd name="T6" fmla="*/ 7 w 18"/>
                  <a:gd name="T7" fmla="*/ 5 h 6"/>
                  <a:gd name="T8" fmla="*/ 12 w 18"/>
                  <a:gd name="T9" fmla="*/ 5 h 6"/>
                  <a:gd name="T10" fmla="*/ 18 w 18"/>
                  <a:gd name="T11" fmla="*/ 3 h 6"/>
                  <a:gd name="T12" fmla="*/ 10 w 18"/>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18" h="6">
                    <a:moveTo>
                      <a:pt x="10" y="2"/>
                    </a:moveTo>
                    <a:cubicBezTo>
                      <a:pt x="7" y="2"/>
                      <a:pt x="6" y="1"/>
                      <a:pt x="3" y="0"/>
                    </a:cubicBezTo>
                    <a:cubicBezTo>
                      <a:pt x="1" y="0"/>
                      <a:pt x="0" y="4"/>
                      <a:pt x="3" y="4"/>
                    </a:cubicBezTo>
                    <a:cubicBezTo>
                      <a:pt x="5" y="4"/>
                      <a:pt x="5" y="5"/>
                      <a:pt x="7" y="5"/>
                    </a:cubicBezTo>
                    <a:cubicBezTo>
                      <a:pt x="8" y="5"/>
                      <a:pt x="10" y="5"/>
                      <a:pt x="12" y="5"/>
                    </a:cubicBezTo>
                    <a:cubicBezTo>
                      <a:pt x="14" y="5"/>
                      <a:pt x="18" y="6"/>
                      <a:pt x="18" y="3"/>
                    </a:cubicBezTo>
                    <a:cubicBezTo>
                      <a:pt x="16" y="1"/>
                      <a:pt x="13" y="2"/>
                      <a:pt x="1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4" name="Freeform 175"/>
              <p:cNvSpPr>
                <a:spLocks/>
              </p:cNvSpPr>
              <p:nvPr/>
            </p:nvSpPr>
            <p:spPr bwMode="auto">
              <a:xfrm>
                <a:off x="3186113" y="4527550"/>
                <a:ext cx="9525" cy="4763"/>
              </a:xfrm>
              <a:custGeom>
                <a:avLst/>
                <a:gdLst>
                  <a:gd name="T0" fmla="*/ 2 w 13"/>
                  <a:gd name="T1" fmla="*/ 3 h 6"/>
                  <a:gd name="T2" fmla="*/ 8 w 13"/>
                  <a:gd name="T3" fmla="*/ 6 h 6"/>
                  <a:gd name="T4" fmla="*/ 11 w 13"/>
                  <a:gd name="T5" fmla="*/ 5 h 6"/>
                  <a:gd name="T6" fmla="*/ 11 w 13"/>
                  <a:gd name="T7" fmla="*/ 3 h 6"/>
                  <a:gd name="T8" fmla="*/ 5 w 13"/>
                  <a:gd name="T9" fmla="*/ 1 h 6"/>
                  <a:gd name="T10" fmla="*/ 2 w 13"/>
                  <a:gd name="T11" fmla="*/ 3 h 6"/>
                </a:gdLst>
                <a:ahLst/>
                <a:cxnLst>
                  <a:cxn ang="0">
                    <a:pos x="T0" y="T1"/>
                  </a:cxn>
                  <a:cxn ang="0">
                    <a:pos x="T2" y="T3"/>
                  </a:cxn>
                  <a:cxn ang="0">
                    <a:pos x="T4" y="T5"/>
                  </a:cxn>
                  <a:cxn ang="0">
                    <a:pos x="T6" y="T7"/>
                  </a:cxn>
                  <a:cxn ang="0">
                    <a:pos x="T8" y="T9"/>
                  </a:cxn>
                  <a:cxn ang="0">
                    <a:pos x="T10" y="T11"/>
                  </a:cxn>
                </a:cxnLst>
                <a:rect l="0" t="0" r="r" b="b"/>
                <a:pathLst>
                  <a:path w="13" h="6">
                    <a:moveTo>
                      <a:pt x="2" y="3"/>
                    </a:moveTo>
                    <a:cubicBezTo>
                      <a:pt x="4" y="4"/>
                      <a:pt x="5" y="6"/>
                      <a:pt x="8" y="6"/>
                    </a:cubicBezTo>
                    <a:cubicBezTo>
                      <a:pt x="9" y="6"/>
                      <a:pt x="10" y="5"/>
                      <a:pt x="11" y="5"/>
                    </a:cubicBezTo>
                    <a:cubicBezTo>
                      <a:pt x="13" y="5"/>
                      <a:pt x="13" y="3"/>
                      <a:pt x="11" y="3"/>
                    </a:cubicBezTo>
                    <a:cubicBezTo>
                      <a:pt x="8" y="4"/>
                      <a:pt x="7" y="2"/>
                      <a:pt x="5" y="1"/>
                    </a:cubicBezTo>
                    <a:cubicBezTo>
                      <a:pt x="2" y="0"/>
                      <a:pt x="0" y="2"/>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5" name="Freeform 176"/>
              <p:cNvSpPr>
                <a:spLocks/>
              </p:cNvSpPr>
              <p:nvPr/>
            </p:nvSpPr>
            <p:spPr bwMode="auto">
              <a:xfrm>
                <a:off x="3095626" y="4468813"/>
                <a:ext cx="3175" cy="3175"/>
              </a:xfrm>
              <a:custGeom>
                <a:avLst/>
                <a:gdLst>
                  <a:gd name="T0" fmla="*/ 5 w 5"/>
                  <a:gd name="T1" fmla="*/ 2 h 3"/>
                  <a:gd name="T2" fmla="*/ 2 w 5"/>
                  <a:gd name="T3" fmla="*/ 2 h 3"/>
                  <a:gd name="T4" fmla="*/ 5 w 5"/>
                  <a:gd name="T5" fmla="*/ 2 h 3"/>
                </a:gdLst>
                <a:ahLst/>
                <a:cxnLst>
                  <a:cxn ang="0">
                    <a:pos x="T0" y="T1"/>
                  </a:cxn>
                  <a:cxn ang="0">
                    <a:pos x="T2" y="T3"/>
                  </a:cxn>
                  <a:cxn ang="0">
                    <a:pos x="T4" y="T5"/>
                  </a:cxn>
                </a:cxnLst>
                <a:rect l="0" t="0" r="r" b="b"/>
                <a:pathLst>
                  <a:path w="5" h="3">
                    <a:moveTo>
                      <a:pt x="5" y="2"/>
                    </a:moveTo>
                    <a:cubicBezTo>
                      <a:pt x="5" y="0"/>
                      <a:pt x="0" y="2"/>
                      <a:pt x="2" y="2"/>
                    </a:cubicBezTo>
                    <a:cubicBezTo>
                      <a:pt x="3" y="2"/>
                      <a:pt x="5" y="3"/>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6" name="Freeform 177"/>
              <p:cNvSpPr>
                <a:spLocks/>
              </p:cNvSpPr>
              <p:nvPr/>
            </p:nvSpPr>
            <p:spPr bwMode="auto">
              <a:xfrm>
                <a:off x="3151188" y="4476750"/>
                <a:ext cx="41275" cy="19050"/>
              </a:xfrm>
              <a:custGeom>
                <a:avLst/>
                <a:gdLst>
                  <a:gd name="T0" fmla="*/ 52 w 56"/>
                  <a:gd name="T1" fmla="*/ 6 h 25"/>
                  <a:gd name="T2" fmla="*/ 48 w 56"/>
                  <a:gd name="T3" fmla="*/ 6 h 25"/>
                  <a:gd name="T4" fmla="*/ 45 w 56"/>
                  <a:gd name="T5" fmla="*/ 3 h 25"/>
                  <a:gd name="T6" fmla="*/ 41 w 56"/>
                  <a:gd name="T7" fmla="*/ 1 h 25"/>
                  <a:gd name="T8" fmla="*/ 27 w 56"/>
                  <a:gd name="T9" fmla="*/ 4 h 25"/>
                  <a:gd name="T10" fmla="*/ 21 w 56"/>
                  <a:gd name="T11" fmla="*/ 4 h 25"/>
                  <a:gd name="T12" fmla="*/ 15 w 56"/>
                  <a:gd name="T13" fmla="*/ 5 h 25"/>
                  <a:gd name="T14" fmla="*/ 15 w 56"/>
                  <a:gd name="T15" fmla="*/ 11 h 25"/>
                  <a:gd name="T16" fmla="*/ 18 w 56"/>
                  <a:gd name="T17" fmla="*/ 16 h 25"/>
                  <a:gd name="T18" fmla="*/ 13 w 56"/>
                  <a:gd name="T19" fmla="*/ 18 h 25"/>
                  <a:gd name="T20" fmla="*/ 6 w 56"/>
                  <a:gd name="T21" fmla="*/ 21 h 25"/>
                  <a:gd name="T22" fmla="*/ 3 w 56"/>
                  <a:gd name="T23" fmla="*/ 24 h 25"/>
                  <a:gd name="T24" fmla="*/ 19 w 56"/>
                  <a:gd name="T25" fmla="*/ 21 h 25"/>
                  <a:gd name="T26" fmla="*/ 28 w 56"/>
                  <a:gd name="T27" fmla="*/ 20 h 25"/>
                  <a:gd name="T28" fmla="*/ 33 w 56"/>
                  <a:gd name="T29" fmla="*/ 15 h 25"/>
                  <a:gd name="T30" fmla="*/ 35 w 56"/>
                  <a:gd name="T31" fmla="*/ 13 h 25"/>
                  <a:gd name="T32" fmla="*/ 39 w 56"/>
                  <a:gd name="T33" fmla="*/ 12 h 25"/>
                  <a:gd name="T34" fmla="*/ 48 w 56"/>
                  <a:gd name="T35" fmla="*/ 10 h 25"/>
                  <a:gd name="T36" fmla="*/ 52 w 56"/>
                  <a:gd name="T37"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25">
                    <a:moveTo>
                      <a:pt x="52" y="6"/>
                    </a:moveTo>
                    <a:cubicBezTo>
                      <a:pt x="51" y="6"/>
                      <a:pt x="49" y="6"/>
                      <a:pt x="48" y="6"/>
                    </a:cubicBezTo>
                    <a:cubicBezTo>
                      <a:pt x="46" y="6"/>
                      <a:pt x="46" y="4"/>
                      <a:pt x="45" y="3"/>
                    </a:cubicBezTo>
                    <a:cubicBezTo>
                      <a:pt x="43" y="3"/>
                      <a:pt x="43" y="0"/>
                      <a:pt x="41" y="1"/>
                    </a:cubicBezTo>
                    <a:cubicBezTo>
                      <a:pt x="36" y="2"/>
                      <a:pt x="32" y="4"/>
                      <a:pt x="27" y="4"/>
                    </a:cubicBezTo>
                    <a:cubicBezTo>
                      <a:pt x="25" y="5"/>
                      <a:pt x="23" y="4"/>
                      <a:pt x="21" y="4"/>
                    </a:cubicBezTo>
                    <a:cubicBezTo>
                      <a:pt x="19" y="4"/>
                      <a:pt x="18" y="5"/>
                      <a:pt x="15" y="5"/>
                    </a:cubicBezTo>
                    <a:cubicBezTo>
                      <a:pt x="15" y="6"/>
                      <a:pt x="14" y="10"/>
                      <a:pt x="15" y="11"/>
                    </a:cubicBezTo>
                    <a:cubicBezTo>
                      <a:pt x="16" y="13"/>
                      <a:pt x="17" y="14"/>
                      <a:pt x="18" y="16"/>
                    </a:cubicBezTo>
                    <a:cubicBezTo>
                      <a:pt x="18" y="18"/>
                      <a:pt x="15" y="17"/>
                      <a:pt x="13" y="18"/>
                    </a:cubicBezTo>
                    <a:cubicBezTo>
                      <a:pt x="9" y="20"/>
                      <a:pt x="10" y="22"/>
                      <a:pt x="6" y="21"/>
                    </a:cubicBezTo>
                    <a:cubicBezTo>
                      <a:pt x="3" y="21"/>
                      <a:pt x="0" y="24"/>
                      <a:pt x="3" y="24"/>
                    </a:cubicBezTo>
                    <a:cubicBezTo>
                      <a:pt x="9" y="24"/>
                      <a:pt x="14" y="25"/>
                      <a:pt x="19" y="21"/>
                    </a:cubicBezTo>
                    <a:cubicBezTo>
                      <a:pt x="22" y="19"/>
                      <a:pt x="25" y="21"/>
                      <a:pt x="28" y="20"/>
                    </a:cubicBezTo>
                    <a:cubicBezTo>
                      <a:pt x="31" y="20"/>
                      <a:pt x="30" y="17"/>
                      <a:pt x="33" y="15"/>
                    </a:cubicBezTo>
                    <a:cubicBezTo>
                      <a:pt x="35" y="15"/>
                      <a:pt x="34" y="14"/>
                      <a:pt x="35" y="13"/>
                    </a:cubicBezTo>
                    <a:cubicBezTo>
                      <a:pt x="36" y="12"/>
                      <a:pt x="38" y="12"/>
                      <a:pt x="39" y="12"/>
                    </a:cubicBezTo>
                    <a:cubicBezTo>
                      <a:pt x="42" y="13"/>
                      <a:pt x="45" y="10"/>
                      <a:pt x="48" y="10"/>
                    </a:cubicBezTo>
                    <a:cubicBezTo>
                      <a:pt x="49" y="9"/>
                      <a:pt x="56" y="7"/>
                      <a:pt x="52"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7" name="Freeform 178"/>
              <p:cNvSpPr>
                <a:spLocks/>
              </p:cNvSpPr>
              <p:nvPr/>
            </p:nvSpPr>
            <p:spPr bwMode="auto">
              <a:xfrm>
                <a:off x="3162301" y="4714875"/>
                <a:ext cx="3175" cy="1588"/>
              </a:xfrm>
              <a:custGeom>
                <a:avLst/>
                <a:gdLst>
                  <a:gd name="T0" fmla="*/ 0 w 4"/>
                  <a:gd name="T1" fmla="*/ 2 h 2"/>
                  <a:gd name="T2" fmla="*/ 4 w 4"/>
                  <a:gd name="T3" fmla="*/ 1 h 2"/>
                  <a:gd name="T4" fmla="*/ 0 w 4"/>
                  <a:gd name="T5" fmla="*/ 2 h 2"/>
                </a:gdLst>
                <a:ahLst/>
                <a:cxnLst>
                  <a:cxn ang="0">
                    <a:pos x="T0" y="T1"/>
                  </a:cxn>
                  <a:cxn ang="0">
                    <a:pos x="T2" y="T3"/>
                  </a:cxn>
                  <a:cxn ang="0">
                    <a:pos x="T4" y="T5"/>
                  </a:cxn>
                </a:cxnLst>
                <a:rect l="0" t="0" r="r" b="b"/>
                <a:pathLst>
                  <a:path w="4" h="2">
                    <a:moveTo>
                      <a:pt x="0" y="2"/>
                    </a:moveTo>
                    <a:cubicBezTo>
                      <a:pt x="1" y="2"/>
                      <a:pt x="4" y="2"/>
                      <a:pt x="4" y="1"/>
                    </a:cubicBezTo>
                    <a:cubicBezTo>
                      <a:pt x="4" y="0"/>
                      <a:pt x="0" y="1"/>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8" name="Freeform 179"/>
              <p:cNvSpPr>
                <a:spLocks/>
              </p:cNvSpPr>
              <p:nvPr/>
            </p:nvSpPr>
            <p:spPr bwMode="auto">
              <a:xfrm>
                <a:off x="3100388" y="4465638"/>
                <a:ext cx="12700" cy="6350"/>
              </a:xfrm>
              <a:custGeom>
                <a:avLst/>
                <a:gdLst>
                  <a:gd name="T0" fmla="*/ 14 w 18"/>
                  <a:gd name="T1" fmla="*/ 5 h 10"/>
                  <a:gd name="T2" fmla="*/ 16 w 18"/>
                  <a:gd name="T3" fmla="*/ 0 h 10"/>
                  <a:gd name="T4" fmla="*/ 13 w 18"/>
                  <a:gd name="T5" fmla="*/ 4 h 10"/>
                  <a:gd name="T6" fmla="*/ 7 w 18"/>
                  <a:gd name="T7" fmla="*/ 6 h 10"/>
                  <a:gd name="T8" fmla="*/ 1 w 18"/>
                  <a:gd name="T9" fmla="*/ 8 h 10"/>
                  <a:gd name="T10" fmla="*/ 14 w 18"/>
                  <a:gd name="T11" fmla="*/ 5 h 10"/>
                </a:gdLst>
                <a:ahLst/>
                <a:cxnLst>
                  <a:cxn ang="0">
                    <a:pos x="T0" y="T1"/>
                  </a:cxn>
                  <a:cxn ang="0">
                    <a:pos x="T2" y="T3"/>
                  </a:cxn>
                  <a:cxn ang="0">
                    <a:pos x="T4" y="T5"/>
                  </a:cxn>
                  <a:cxn ang="0">
                    <a:pos x="T6" y="T7"/>
                  </a:cxn>
                  <a:cxn ang="0">
                    <a:pos x="T8" y="T9"/>
                  </a:cxn>
                  <a:cxn ang="0">
                    <a:pos x="T10" y="T11"/>
                  </a:cxn>
                </a:cxnLst>
                <a:rect l="0" t="0" r="r" b="b"/>
                <a:pathLst>
                  <a:path w="18" h="10">
                    <a:moveTo>
                      <a:pt x="14" y="5"/>
                    </a:moveTo>
                    <a:cubicBezTo>
                      <a:pt x="15" y="4"/>
                      <a:pt x="18" y="1"/>
                      <a:pt x="16" y="0"/>
                    </a:cubicBezTo>
                    <a:cubicBezTo>
                      <a:pt x="15" y="0"/>
                      <a:pt x="14" y="3"/>
                      <a:pt x="13" y="4"/>
                    </a:cubicBezTo>
                    <a:cubicBezTo>
                      <a:pt x="12" y="5"/>
                      <a:pt x="9" y="6"/>
                      <a:pt x="7" y="6"/>
                    </a:cubicBezTo>
                    <a:cubicBezTo>
                      <a:pt x="7" y="6"/>
                      <a:pt x="0" y="6"/>
                      <a:pt x="1" y="8"/>
                    </a:cubicBezTo>
                    <a:cubicBezTo>
                      <a:pt x="3" y="10"/>
                      <a:pt x="13" y="6"/>
                      <a:pt x="14"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69" name="Freeform 180"/>
              <p:cNvSpPr>
                <a:spLocks/>
              </p:cNvSpPr>
              <p:nvPr/>
            </p:nvSpPr>
            <p:spPr bwMode="auto">
              <a:xfrm>
                <a:off x="2681288" y="4108450"/>
                <a:ext cx="15875" cy="7938"/>
              </a:xfrm>
              <a:custGeom>
                <a:avLst/>
                <a:gdLst>
                  <a:gd name="T0" fmla="*/ 5 w 21"/>
                  <a:gd name="T1" fmla="*/ 8 h 11"/>
                  <a:gd name="T2" fmla="*/ 13 w 21"/>
                  <a:gd name="T3" fmla="*/ 8 h 11"/>
                  <a:gd name="T4" fmla="*/ 17 w 21"/>
                  <a:gd name="T5" fmla="*/ 5 h 11"/>
                  <a:gd name="T6" fmla="*/ 21 w 21"/>
                  <a:gd name="T7" fmla="*/ 0 h 11"/>
                  <a:gd name="T8" fmla="*/ 1 w 21"/>
                  <a:gd name="T9" fmla="*/ 2 h 11"/>
                  <a:gd name="T10" fmla="*/ 0 w 21"/>
                  <a:gd name="T11" fmla="*/ 3 h 11"/>
                  <a:gd name="T12" fmla="*/ 5 w 21"/>
                  <a:gd name="T13" fmla="*/ 8 h 11"/>
                </a:gdLst>
                <a:ahLst/>
                <a:cxnLst>
                  <a:cxn ang="0">
                    <a:pos x="T0" y="T1"/>
                  </a:cxn>
                  <a:cxn ang="0">
                    <a:pos x="T2" y="T3"/>
                  </a:cxn>
                  <a:cxn ang="0">
                    <a:pos x="T4" y="T5"/>
                  </a:cxn>
                  <a:cxn ang="0">
                    <a:pos x="T6" y="T7"/>
                  </a:cxn>
                  <a:cxn ang="0">
                    <a:pos x="T8" y="T9"/>
                  </a:cxn>
                  <a:cxn ang="0">
                    <a:pos x="T10" y="T11"/>
                  </a:cxn>
                  <a:cxn ang="0">
                    <a:pos x="T12" y="T13"/>
                  </a:cxn>
                </a:cxnLst>
                <a:rect l="0" t="0" r="r" b="b"/>
                <a:pathLst>
                  <a:path w="21" h="11">
                    <a:moveTo>
                      <a:pt x="5" y="8"/>
                    </a:moveTo>
                    <a:cubicBezTo>
                      <a:pt x="7" y="8"/>
                      <a:pt x="10" y="11"/>
                      <a:pt x="13" y="8"/>
                    </a:cubicBezTo>
                    <a:cubicBezTo>
                      <a:pt x="14" y="6"/>
                      <a:pt x="16" y="5"/>
                      <a:pt x="17" y="5"/>
                    </a:cubicBezTo>
                    <a:cubicBezTo>
                      <a:pt x="19" y="4"/>
                      <a:pt x="20" y="2"/>
                      <a:pt x="21" y="0"/>
                    </a:cubicBezTo>
                    <a:cubicBezTo>
                      <a:pt x="14" y="0"/>
                      <a:pt x="7" y="1"/>
                      <a:pt x="1" y="2"/>
                    </a:cubicBezTo>
                    <a:cubicBezTo>
                      <a:pt x="1" y="2"/>
                      <a:pt x="0" y="3"/>
                      <a:pt x="0" y="3"/>
                    </a:cubicBezTo>
                    <a:cubicBezTo>
                      <a:pt x="1" y="7"/>
                      <a:pt x="3" y="9"/>
                      <a:pt x="5" y="8"/>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0" name="Freeform 181"/>
              <p:cNvSpPr>
                <a:spLocks/>
              </p:cNvSpPr>
              <p:nvPr/>
            </p:nvSpPr>
            <p:spPr bwMode="auto">
              <a:xfrm>
                <a:off x="3167063" y="4721225"/>
                <a:ext cx="4763" cy="3175"/>
              </a:xfrm>
              <a:custGeom>
                <a:avLst/>
                <a:gdLst>
                  <a:gd name="T0" fmla="*/ 5 w 6"/>
                  <a:gd name="T1" fmla="*/ 2 h 3"/>
                  <a:gd name="T2" fmla="*/ 5 w 6"/>
                  <a:gd name="T3" fmla="*/ 1 h 3"/>
                  <a:gd name="T4" fmla="*/ 2 w 6"/>
                  <a:gd name="T5" fmla="*/ 0 h 3"/>
                  <a:gd name="T6" fmla="*/ 1 w 6"/>
                  <a:gd name="T7" fmla="*/ 0 h 3"/>
                  <a:gd name="T8" fmla="*/ 1 w 6"/>
                  <a:gd name="T9" fmla="*/ 2 h 3"/>
                  <a:gd name="T10" fmla="*/ 5 w 6"/>
                  <a:gd name="T11" fmla="*/ 2 h 3"/>
                </a:gdLst>
                <a:ahLst/>
                <a:cxnLst>
                  <a:cxn ang="0">
                    <a:pos x="T0" y="T1"/>
                  </a:cxn>
                  <a:cxn ang="0">
                    <a:pos x="T2" y="T3"/>
                  </a:cxn>
                  <a:cxn ang="0">
                    <a:pos x="T4" y="T5"/>
                  </a:cxn>
                  <a:cxn ang="0">
                    <a:pos x="T6" y="T7"/>
                  </a:cxn>
                  <a:cxn ang="0">
                    <a:pos x="T8" y="T9"/>
                  </a:cxn>
                  <a:cxn ang="0">
                    <a:pos x="T10" y="T11"/>
                  </a:cxn>
                </a:cxnLst>
                <a:rect l="0" t="0" r="r" b="b"/>
                <a:pathLst>
                  <a:path w="6" h="3">
                    <a:moveTo>
                      <a:pt x="5" y="2"/>
                    </a:moveTo>
                    <a:cubicBezTo>
                      <a:pt x="6" y="2"/>
                      <a:pt x="5" y="1"/>
                      <a:pt x="5" y="1"/>
                    </a:cubicBezTo>
                    <a:cubicBezTo>
                      <a:pt x="4" y="0"/>
                      <a:pt x="3" y="1"/>
                      <a:pt x="2" y="0"/>
                    </a:cubicBezTo>
                    <a:cubicBezTo>
                      <a:pt x="2" y="0"/>
                      <a:pt x="1" y="0"/>
                      <a:pt x="1" y="0"/>
                    </a:cubicBezTo>
                    <a:cubicBezTo>
                      <a:pt x="0" y="1"/>
                      <a:pt x="0" y="1"/>
                      <a:pt x="1" y="2"/>
                    </a:cubicBezTo>
                    <a:cubicBezTo>
                      <a:pt x="1" y="3"/>
                      <a:pt x="4" y="2"/>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1" name="Freeform 182"/>
              <p:cNvSpPr>
                <a:spLocks/>
              </p:cNvSpPr>
              <p:nvPr/>
            </p:nvSpPr>
            <p:spPr bwMode="auto">
              <a:xfrm>
                <a:off x="3160713" y="4713288"/>
                <a:ext cx="3175" cy="1588"/>
              </a:xfrm>
              <a:custGeom>
                <a:avLst/>
                <a:gdLst>
                  <a:gd name="T0" fmla="*/ 2 w 4"/>
                  <a:gd name="T1" fmla="*/ 1 h 2"/>
                  <a:gd name="T2" fmla="*/ 4 w 4"/>
                  <a:gd name="T3" fmla="*/ 1 h 2"/>
                  <a:gd name="T4" fmla="*/ 2 w 4"/>
                  <a:gd name="T5" fmla="*/ 1 h 2"/>
                </a:gdLst>
                <a:ahLst/>
                <a:cxnLst>
                  <a:cxn ang="0">
                    <a:pos x="T0" y="T1"/>
                  </a:cxn>
                  <a:cxn ang="0">
                    <a:pos x="T2" y="T3"/>
                  </a:cxn>
                  <a:cxn ang="0">
                    <a:pos x="T4" y="T5"/>
                  </a:cxn>
                </a:cxnLst>
                <a:rect l="0" t="0" r="r" b="b"/>
                <a:pathLst>
                  <a:path w="4" h="2">
                    <a:moveTo>
                      <a:pt x="2" y="1"/>
                    </a:moveTo>
                    <a:cubicBezTo>
                      <a:pt x="0" y="2"/>
                      <a:pt x="4" y="2"/>
                      <a:pt x="4" y="1"/>
                    </a:cubicBezTo>
                    <a:cubicBezTo>
                      <a:pt x="4" y="1"/>
                      <a:pt x="3"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2" name="Freeform 183"/>
              <p:cNvSpPr>
                <a:spLocks/>
              </p:cNvSpPr>
              <p:nvPr/>
            </p:nvSpPr>
            <p:spPr bwMode="auto">
              <a:xfrm>
                <a:off x="3171826" y="4725988"/>
                <a:ext cx="3175" cy="3175"/>
              </a:xfrm>
              <a:custGeom>
                <a:avLst/>
                <a:gdLst>
                  <a:gd name="T0" fmla="*/ 5 w 6"/>
                  <a:gd name="T1" fmla="*/ 3 h 3"/>
                  <a:gd name="T2" fmla="*/ 2 w 6"/>
                  <a:gd name="T3" fmla="*/ 1 h 3"/>
                  <a:gd name="T4" fmla="*/ 1 w 6"/>
                  <a:gd name="T5" fmla="*/ 2 h 3"/>
                  <a:gd name="T6" fmla="*/ 5 w 6"/>
                  <a:gd name="T7" fmla="*/ 3 h 3"/>
                </a:gdLst>
                <a:ahLst/>
                <a:cxnLst>
                  <a:cxn ang="0">
                    <a:pos x="T0" y="T1"/>
                  </a:cxn>
                  <a:cxn ang="0">
                    <a:pos x="T2" y="T3"/>
                  </a:cxn>
                  <a:cxn ang="0">
                    <a:pos x="T4" y="T5"/>
                  </a:cxn>
                  <a:cxn ang="0">
                    <a:pos x="T6" y="T7"/>
                  </a:cxn>
                </a:cxnLst>
                <a:rect l="0" t="0" r="r" b="b"/>
                <a:pathLst>
                  <a:path w="6" h="3">
                    <a:moveTo>
                      <a:pt x="5" y="3"/>
                    </a:moveTo>
                    <a:cubicBezTo>
                      <a:pt x="6" y="2"/>
                      <a:pt x="4" y="0"/>
                      <a:pt x="2" y="1"/>
                    </a:cubicBezTo>
                    <a:cubicBezTo>
                      <a:pt x="0" y="2"/>
                      <a:pt x="0" y="2"/>
                      <a:pt x="1" y="2"/>
                    </a:cubicBezTo>
                    <a:cubicBezTo>
                      <a:pt x="2" y="2"/>
                      <a:pt x="4" y="3"/>
                      <a:pt x="5"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3" name="Freeform 184"/>
              <p:cNvSpPr>
                <a:spLocks/>
              </p:cNvSpPr>
              <p:nvPr/>
            </p:nvSpPr>
            <p:spPr bwMode="auto">
              <a:xfrm>
                <a:off x="3173413" y="4729163"/>
                <a:ext cx="4763" cy="0"/>
              </a:xfrm>
              <a:custGeom>
                <a:avLst/>
                <a:gdLst>
                  <a:gd name="T0" fmla="*/ 4 w 7"/>
                  <a:gd name="T1" fmla="*/ 1 w 7"/>
                  <a:gd name="T2" fmla="*/ 7 w 7"/>
                  <a:gd name="T3" fmla="*/ 4 w 7"/>
                </a:gdLst>
                <a:ahLst/>
                <a:cxnLst>
                  <a:cxn ang="0">
                    <a:pos x="T0" y="0"/>
                  </a:cxn>
                  <a:cxn ang="0">
                    <a:pos x="T1" y="0"/>
                  </a:cxn>
                  <a:cxn ang="0">
                    <a:pos x="T2" y="0"/>
                  </a:cxn>
                  <a:cxn ang="0">
                    <a:pos x="T3" y="0"/>
                  </a:cxn>
                </a:cxnLst>
                <a:rect l="0" t="0" r="r" b="b"/>
                <a:pathLst>
                  <a:path w="7">
                    <a:moveTo>
                      <a:pt x="4" y="0"/>
                    </a:moveTo>
                    <a:cubicBezTo>
                      <a:pt x="3" y="0"/>
                      <a:pt x="0" y="0"/>
                      <a:pt x="1" y="0"/>
                    </a:cubicBezTo>
                    <a:cubicBezTo>
                      <a:pt x="3" y="0"/>
                      <a:pt x="5" y="0"/>
                      <a:pt x="7" y="0"/>
                    </a:cubicBezTo>
                    <a:cubicBezTo>
                      <a:pt x="7" y="0"/>
                      <a:pt x="4" y="0"/>
                      <a:pt x="4"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5" name="Freeform 186"/>
              <p:cNvSpPr>
                <a:spLocks/>
              </p:cNvSpPr>
              <p:nvPr/>
            </p:nvSpPr>
            <p:spPr bwMode="auto">
              <a:xfrm>
                <a:off x="3084513" y="4470400"/>
                <a:ext cx="69850" cy="19050"/>
              </a:xfrm>
              <a:custGeom>
                <a:avLst/>
                <a:gdLst>
                  <a:gd name="T0" fmla="*/ 89 w 92"/>
                  <a:gd name="T1" fmla="*/ 13 h 24"/>
                  <a:gd name="T2" fmla="*/ 81 w 92"/>
                  <a:gd name="T3" fmla="*/ 11 h 24"/>
                  <a:gd name="T4" fmla="*/ 71 w 92"/>
                  <a:gd name="T5" fmla="*/ 9 h 24"/>
                  <a:gd name="T6" fmla="*/ 65 w 92"/>
                  <a:gd name="T7" fmla="*/ 8 h 24"/>
                  <a:gd name="T8" fmla="*/ 59 w 92"/>
                  <a:gd name="T9" fmla="*/ 5 h 24"/>
                  <a:gd name="T10" fmla="*/ 52 w 92"/>
                  <a:gd name="T11" fmla="*/ 4 h 24"/>
                  <a:gd name="T12" fmla="*/ 44 w 92"/>
                  <a:gd name="T13" fmla="*/ 2 h 24"/>
                  <a:gd name="T14" fmla="*/ 39 w 92"/>
                  <a:gd name="T15" fmla="*/ 1 h 24"/>
                  <a:gd name="T16" fmla="*/ 35 w 92"/>
                  <a:gd name="T17" fmla="*/ 0 h 24"/>
                  <a:gd name="T18" fmla="*/ 28 w 92"/>
                  <a:gd name="T19" fmla="*/ 6 h 24"/>
                  <a:gd name="T20" fmla="*/ 15 w 92"/>
                  <a:gd name="T21" fmla="*/ 6 h 24"/>
                  <a:gd name="T22" fmla="*/ 6 w 92"/>
                  <a:gd name="T23" fmla="*/ 12 h 24"/>
                  <a:gd name="T24" fmla="*/ 1 w 92"/>
                  <a:gd name="T25" fmla="*/ 15 h 24"/>
                  <a:gd name="T26" fmla="*/ 4 w 92"/>
                  <a:gd name="T27" fmla="*/ 17 h 24"/>
                  <a:gd name="T28" fmla="*/ 13 w 92"/>
                  <a:gd name="T29" fmla="*/ 14 h 24"/>
                  <a:gd name="T30" fmla="*/ 18 w 92"/>
                  <a:gd name="T31" fmla="*/ 12 h 24"/>
                  <a:gd name="T32" fmla="*/ 24 w 92"/>
                  <a:gd name="T33" fmla="*/ 10 h 24"/>
                  <a:gd name="T34" fmla="*/ 28 w 92"/>
                  <a:gd name="T35" fmla="*/ 12 h 24"/>
                  <a:gd name="T36" fmla="*/ 35 w 92"/>
                  <a:gd name="T37" fmla="*/ 11 h 24"/>
                  <a:gd name="T38" fmla="*/ 40 w 92"/>
                  <a:gd name="T39" fmla="*/ 12 h 24"/>
                  <a:gd name="T40" fmla="*/ 44 w 92"/>
                  <a:gd name="T41" fmla="*/ 10 h 24"/>
                  <a:gd name="T42" fmla="*/ 53 w 92"/>
                  <a:gd name="T43" fmla="*/ 16 h 24"/>
                  <a:gd name="T44" fmla="*/ 58 w 92"/>
                  <a:gd name="T45" fmla="*/ 17 h 24"/>
                  <a:gd name="T46" fmla="*/ 60 w 92"/>
                  <a:gd name="T47" fmla="*/ 24 h 24"/>
                  <a:gd name="T48" fmla="*/ 65 w 92"/>
                  <a:gd name="T49" fmla="*/ 21 h 24"/>
                  <a:gd name="T50" fmla="*/ 71 w 92"/>
                  <a:gd name="T51" fmla="*/ 21 h 24"/>
                  <a:gd name="T52" fmla="*/ 89 w 92"/>
                  <a:gd name="T53" fmla="*/ 17 h 24"/>
                  <a:gd name="T54" fmla="*/ 89 w 92"/>
                  <a:gd name="T5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2" h="24">
                    <a:moveTo>
                      <a:pt x="89" y="13"/>
                    </a:moveTo>
                    <a:cubicBezTo>
                      <a:pt x="86" y="13"/>
                      <a:pt x="84" y="13"/>
                      <a:pt x="81" y="11"/>
                    </a:cubicBezTo>
                    <a:cubicBezTo>
                      <a:pt x="79" y="10"/>
                      <a:pt x="74" y="11"/>
                      <a:pt x="71" y="9"/>
                    </a:cubicBezTo>
                    <a:cubicBezTo>
                      <a:pt x="69" y="9"/>
                      <a:pt x="67" y="9"/>
                      <a:pt x="65" y="8"/>
                    </a:cubicBezTo>
                    <a:cubicBezTo>
                      <a:pt x="62" y="8"/>
                      <a:pt x="61" y="6"/>
                      <a:pt x="59" y="5"/>
                    </a:cubicBezTo>
                    <a:cubicBezTo>
                      <a:pt x="56" y="4"/>
                      <a:pt x="54" y="5"/>
                      <a:pt x="52" y="4"/>
                    </a:cubicBezTo>
                    <a:cubicBezTo>
                      <a:pt x="49" y="3"/>
                      <a:pt x="47" y="2"/>
                      <a:pt x="44" y="2"/>
                    </a:cubicBezTo>
                    <a:cubicBezTo>
                      <a:pt x="42" y="1"/>
                      <a:pt x="40" y="2"/>
                      <a:pt x="39" y="1"/>
                    </a:cubicBezTo>
                    <a:cubicBezTo>
                      <a:pt x="38" y="0"/>
                      <a:pt x="36" y="0"/>
                      <a:pt x="35" y="0"/>
                    </a:cubicBezTo>
                    <a:cubicBezTo>
                      <a:pt x="32" y="2"/>
                      <a:pt x="31" y="4"/>
                      <a:pt x="28" y="6"/>
                    </a:cubicBezTo>
                    <a:cubicBezTo>
                      <a:pt x="26" y="9"/>
                      <a:pt x="19" y="6"/>
                      <a:pt x="15" y="6"/>
                    </a:cubicBezTo>
                    <a:cubicBezTo>
                      <a:pt x="10" y="5"/>
                      <a:pt x="10" y="10"/>
                      <a:pt x="6" y="12"/>
                    </a:cubicBezTo>
                    <a:cubicBezTo>
                      <a:pt x="5" y="13"/>
                      <a:pt x="1" y="13"/>
                      <a:pt x="1" y="15"/>
                    </a:cubicBezTo>
                    <a:cubicBezTo>
                      <a:pt x="0" y="16"/>
                      <a:pt x="3" y="17"/>
                      <a:pt x="4" y="17"/>
                    </a:cubicBezTo>
                    <a:cubicBezTo>
                      <a:pt x="8" y="17"/>
                      <a:pt x="11" y="16"/>
                      <a:pt x="13" y="14"/>
                    </a:cubicBezTo>
                    <a:cubicBezTo>
                      <a:pt x="15" y="13"/>
                      <a:pt x="17" y="14"/>
                      <a:pt x="18" y="12"/>
                    </a:cubicBezTo>
                    <a:cubicBezTo>
                      <a:pt x="20" y="10"/>
                      <a:pt x="21" y="10"/>
                      <a:pt x="24" y="10"/>
                    </a:cubicBezTo>
                    <a:cubicBezTo>
                      <a:pt x="26" y="10"/>
                      <a:pt x="27" y="11"/>
                      <a:pt x="28" y="12"/>
                    </a:cubicBezTo>
                    <a:cubicBezTo>
                      <a:pt x="31" y="13"/>
                      <a:pt x="33" y="10"/>
                      <a:pt x="35" y="11"/>
                    </a:cubicBezTo>
                    <a:cubicBezTo>
                      <a:pt x="37" y="12"/>
                      <a:pt x="38" y="13"/>
                      <a:pt x="40" y="12"/>
                    </a:cubicBezTo>
                    <a:cubicBezTo>
                      <a:pt x="41" y="12"/>
                      <a:pt x="43" y="9"/>
                      <a:pt x="44" y="10"/>
                    </a:cubicBezTo>
                    <a:cubicBezTo>
                      <a:pt x="48" y="11"/>
                      <a:pt x="50" y="14"/>
                      <a:pt x="53" y="16"/>
                    </a:cubicBezTo>
                    <a:cubicBezTo>
                      <a:pt x="54" y="16"/>
                      <a:pt x="57" y="16"/>
                      <a:pt x="58" y="17"/>
                    </a:cubicBezTo>
                    <a:cubicBezTo>
                      <a:pt x="60" y="18"/>
                      <a:pt x="60" y="22"/>
                      <a:pt x="60" y="24"/>
                    </a:cubicBezTo>
                    <a:cubicBezTo>
                      <a:pt x="63" y="24"/>
                      <a:pt x="64" y="23"/>
                      <a:pt x="65" y="21"/>
                    </a:cubicBezTo>
                    <a:cubicBezTo>
                      <a:pt x="67" y="19"/>
                      <a:pt x="68" y="20"/>
                      <a:pt x="71" y="21"/>
                    </a:cubicBezTo>
                    <a:cubicBezTo>
                      <a:pt x="76" y="22"/>
                      <a:pt x="85" y="19"/>
                      <a:pt x="89" y="17"/>
                    </a:cubicBezTo>
                    <a:cubicBezTo>
                      <a:pt x="92" y="15"/>
                      <a:pt x="92" y="14"/>
                      <a:pt x="89"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6" name="Freeform 187"/>
              <p:cNvSpPr>
                <a:spLocks/>
              </p:cNvSpPr>
              <p:nvPr/>
            </p:nvSpPr>
            <p:spPr bwMode="auto">
              <a:xfrm>
                <a:off x="2667001" y="4124325"/>
                <a:ext cx="9525" cy="7938"/>
              </a:xfrm>
              <a:custGeom>
                <a:avLst/>
                <a:gdLst>
                  <a:gd name="T0" fmla="*/ 10 w 12"/>
                  <a:gd name="T1" fmla="*/ 6 h 11"/>
                  <a:gd name="T2" fmla="*/ 8 w 12"/>
                  <a:gd name="T3" fmla="*/ 5 h 11"/>
                  <a:gd name="T4" fmla="*/ 4 w 12"/>
                  <a:gd name="T5" fmla="*/ 2 h 11"/>
                  <a:gd name="T6" fmla="*/ 2 w 12"/>
                  <a:gd name="T7" fmla="*/ 1 h 11"/>
                  <a:gd name="T8" fmla="*/ 2 w 12"/>
                  <a:gd name="T9" fmla="*/ 8 h 11"/>
                  <a:gd name="T10" fmla="*/ 6 w 12"/>
                  <a:gd name="T11" fmla="*/ 8 h 11"/>
                  <a:gd name="T12" fmla="*/ 7 w 12"/>
                  <a:gd name="T13" fmla="*/ 11 h 11"/>
                  <a:gd name="T14" fmla="*/ 8 w 12"/>
                  <a:gd name="T15" fmla="*/ 9 h 11"/>
                  <a:gd name="T16" fmla="*/ 10 w 12"/>
                  <a:gd name="T17"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1">
                    <a:moveTo>
                      <a:pt x="10" y="6"/>
                    </a:moveTo>
                    <a:cubicBezTo>
                      <a:pt x="9" y="6"/>
                      <a:pt x="8" y="6"/>
                      <a:pt x="8" y="5"/>
                    </a:cubicBezTo>
                    <a:cubicBezTo>
                      <a:pt x="6" y="4"/>
                      <a:pt x="6" y="2"/>
                      <a:pt x="4" y="2"/>
                    </a:cubicBezTo>
                    <a:cubicBezTo>
                      <a:pt x="3" y="2"/>
                      <a:pt x="3" y="0"/>
                      <a:pt x="2" y="1"/>
                    </a:cubicBezTo>
                    <a:cubicBezTo>
                      <a:pt x="0" y="3"/>
                      <a:pt x="0" y="9"/>
                      <a:pt x="2" y="8"/>
                    </a:cubicBezTo>
                    <a:cubicBezTo>
                      <a:pt x="4" y="6"/>
                      <a:pt x="4" y="6"/>
                      <a:pt x="6" y="8"/>
                    </a:cubicBezTo>
                    <a:cubicBezTo>
                      <a:pt x="6" y="9"/>
                      <a:pt x="7" y="10"/>
                      <a:pt x="7" y="11"/>
                    </a:cubicBezTo>
                    <a:cubicBezTo>
                      <a:pt x="7" y="11"/>
                      <a:pt x="8" y="10"/>
                      <a:pt x="8" y="9"/>
                    </a:cubicBezTo>
                    <a:cubicBezTo>
                      <a:pt x="9" y="8"/>
                      <a:pt x="12" y="7"/>
                      <a:pt x="10"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7" name="Freeform 188"/>
              <p:cNvSpPr>
                <a:spLocks/>
              </p:cNvSpPr>
              <p:nvPr/>
            </p:nvSpPr>
            <p:spPr bwMode="auto">
              <a:xfrm>
                <a:off x="2667001" y="4187825"/>
                <a:ext cx="1588" cy="3175"/>
              </a:xfrm>
              <a:custGeom>
                <a:avLst/>
                <a:gdLst>
                  <a:gd name="T0" fmla="*/ 0 w 3"/>
                  <a:gd name="T1" fmla="*/ 3 h 5"/>
                  <a:gd name="T2" fmla="*/ 3 w 3"/>
                  <a:gd name="T3" fmla="*/ 2 h 5"/>
                  <a:gd name="T4" fmla="*/ 2 w 3"/>
                  <a:gd name="T5" fmla="*/ 2 h 5"/>
                  <a:gd name="T6" fmla="*/ 0 w 3"/>
                  <a:gd name="T7" fmla="*/ 3 h 5"/>
                </a:gdLst>
                <a:ahLst/>
                <a:cxnLst>
                  <a:cxn ang="0">
                    <a:pos x="T0" y="T1"/>
                  </a:cxn>
                  <a:cxn ang="0">
                    <a:pos x="T2" y="T3"/>
                  </a:cxn>
                  <a:cxn ang="0">
                    <a:pos x="T4" y="T5"/>
                  </a:cxn>
                  <a:cxn ang="0">
                    <a:pos x="T6" y="T7"/>
                  </a:cxn>
                </a:cxnLst>
                <a:rect l="0" t="0" r="r" b="b"/>
                <a:pathLst>
                  <a:path w="3" h="5">
                    <a:moveTo>
                      <a:pt x="0" y="3"/>
                    </a:moveTo>
                    <a:cubicBezTo>
                      <a:pt x="1" y="4"/>
                      <a:pt x="3" y="5"/>
                      <a:pt x="3" y="2"/>
                    </a:cubicBezTo>
                    <a:cubicBezTo>
                      <a:pt x="2" y="2"/>
                      <a:pt x="2" y="2"/>
                      <a:pt x="2" y="2"/>
                    </a:cubicBezTo>
                    <a:cubicBezTo>
                      <a:pt x="2" y="1"/>
                      <a:pt x="0"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8" name="Freeform 189"/>
              <p:cNvSpPr>
                <a:spLocks/>
              </p:cNvSpPr>
              <p:nvPr/>
            </p:nvSpPr>
            <p:spPr bwMode="auto">
              <a:xfrm>
                <a:off x="2679701" y="4208463"/>
                <a:ext cx="7938" cy="6350"/>
              </a:xfrm>
              <a:custGeom>
                <a:avLst/>
                <a:gdLst>
                  <a:gd name="T0" fmla="*/ 3 w 9"/>
                  <a:gd name="T1" fmla="*/ 1 h 8"/>
                  <a:gd name="T2" fmla="*/ 2 w 9"/>
                  <a:gd name="T3" fmla="*/ 7 h 8"/>
                  <a:gd name="T4" fmla="*/ 4 w 9"/>
                  <a:gd name="T5" fmla="*/ 7 h 8"/>
                  <a:gd name="T6" fmla="*/ 7 w 9"/>
                  <a:gd name="T7" fmla="*/ 6 h 8"/>
                  <a:gd name="T8" fmla="*/ 7 w 9"/>
                  <a:gd name="T9" fmla="*/ 1 h 8"/>
                  <a:gd name="T10" fmla="*/ 3 w 9"/>
                  <a:gd name="T11" fmla="*/ 1 h 8"/>
                </a:gdLst>
                <a:ahLst/>
                <a:cxnLst>
                  <a:cxn ang="0">
                    <a:pos x="T0" y="T1"/>
                  </a:cxn>
                  <a:cxn ang="0">
                    <a:pos x="T2" y="T3"/>
                  </a:cxn>
                  <a:cxn ang="0">
                    <a:pos x="T4" y="T5"/>
                  </a:cxn>
                  <a:cxn ang="0">
                    <a:pos x="T6" y="T7"/>
                  </a:cxn>
                  <a:cxn ang="0">
                    <a:pos x="T8" y="T9"/>
                  </a:cxn>
                  <a:cxn ang="0">
                    <a:pos x="T10" y="T11"/>
                  </a:cxn>
                </a:cxnLst>
                <a:rect l="0" t="0" r="r" b="b"/>
                <a:pathLst>
                  <a:path w="9" h="8">
                    <a:moveTo>
                      <a:pt x="3" y="1"/>
                    </a:moveTo>
                    <a:cubicBezTo>
                      <a:pt x="3" y="3"/>
                      <a:pt x="0" y="5"/>
                      <a:pt x="2" y="7"/>
                    </a:cubicBezTo>
                    <a:cubicBezTo>
                      <a:pt x="3" y="8"/>
                      <a:pt x="3" y="8"/>
                      <a:pt x="4" y="7"/>
                    </a:cubicBezTo>
                    <a:cubicBezTo>
                      <a:pt x="5" y="6"/>
                      <a:pt x="6" y="6"/>
                      <a:pt x="7" y="6"/>
                    </a:cubicBezTo>
                    <a:cubicBezTo>
                      <a:pt x="9" y="6"/>
                      <a:pt x="9" y="1"/>
                      <a:pt x="7" y="1"/>
                    </a:cubicBezTo>
                    <a:cubicBezTo>
                      <a:pt x="7" y="0"/>
                      <a:pt x="4" y="0"/>
                      <a:pt x="3"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79" name="Freeform 190"/>
              <p:cNvSpPr>
                <a:spLocks/>
              </p:cNvSpPr>
              <p:nvPr/>
            </p:nvSpPr>
            <p:spPr bwMode="auto">
              <a:xfrm>
                <a:off x="2668588" y="4192588"/>
                <a:ext cx="1588" cy="6350"/>
              </a:xfrm>
              <a:custGeom>
                <a:avLst/>
                <a:gdLst>
                  <a:gd name="T0" fmla="*/ 1 w 3"/>
                  <a:gd name="T1" fmla="*/ 6 h 7"/>
                  <a:gd name="T2" fmla="*/ 3 w 3"/>
                  <a:gd name="T3" fmla="*/ 3 h 7"/>
                  <a:gd name="T4" fmla="*/ 1 w 3"/>
                  <a:gd name="T5" fmla="*/ 6 h 7"/>
                </a:gdLst>
                <a:ahLst/>
                <a:cxnLst>
                  <a:cxn ang="0">
                    <a:pos x="T0" y="T1"/>
                  </a:cxn>
                  <a:cxn ang="0">
                    <a:pos x="T2" y="T3"/>
                  </a:cxn>
                  <a:cxn ang="0">
                    <a:pos x="T4" y="T5"/>
                  </a:cxn>
                </a:cxnLst>
                <a:rect l="0" t="0" r="r" b="b"/>
                <a:pathLst>
                  <a:path w="3" h="7">
                    <a:moveTo>
                      <a:pt x="1" y="6"/>
                    </a:moveTo>
                    <a:cubicBezTo>
                      <a:pt x="2" y="7"/>
                      <a:pt x="3" y="5"/>
                      <a:pt x="3" y="3"/>
                    </a:cubicBezTo>
                    <a:cubicBezTo>
                      <a:pt x="2" y="0"/>
                      <a:pt x="0" y="3"/>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0" name="Freeform 191"/>
              <p:cNvSpPr>
                <a:spLocks/>
              </p:cNvSpPr>
              <p:nvPr/>
            </p:nvSpPr>
            <p:spPr bwMode="auto">
              <a:xfrm>
                <a:off x="2671763" y="4219575"/>
                <a:ext cx="3175" cy="6350"/>
              </a:xfrm>
              <a:custGeom>
                <a:avLst/>
                <a:gdLst>
                  <a:gd name="T0" fmla="*/ 0 w 3"/>
                  <a:gd name="T1" fmla="*/ 3 h 7"/>
                  <a:gd name="T2" fmla="*/ 2 w 3"/>
                  <a:gd name="T3" fmla="*/ 4 h 7"/>
                  <a:gd name="T4" fmla="*/ 0 w 3"/>
                  <a:gd name="T5" fmla="*/ 3 h 7"/>
                </a:gdLst>
                <a:ahLst/>
                <a:cxnLst>
                  <a:cxn ang="0">
                    <a:pos x="T0" y="T1"/>
                  </a:cxn>
                  <a:cxn ang="0">
                    <a:pos x="T2" y="T3"/>
                  </a:cxn>
                  <a:cxn ang="0">
                    <a:pos x="T4" y="T5"/>
                  </a:cxn>
                </a:cxnLst>
                <a:rect l="0" t="0" r="r" b="b"/>
                <a:pathLst>
                  <a:path w="3" h="7">
                    <a:moveTo>
                      <a:pt x="0" y="3"/>
                    </a:moveTo>
                    <a:cubicBezTo>
                      <a:pt x="0" y="7"/>
                      <a:pt x="3" y="5"/>
                      <a:pt x="2" y="4"/>
                    </a:cubicBezTo>
                    <a:cubicBezTo>
                      <a:pt x="2" y="3"/>
                      <a:pt x="1" y="0"/>
                      <a:pt x="0"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1" name="Freeform 192"/>
              <p:cNvSpPr>
                <a:spLocks/>
              </p:cNvSpPr>
              <p:nvPr/>
            </p:nvSpPr>
            <p:spPr bwMode="auto">
              <a:xfrm>
                <a:off x="2687638" y="4213225"/>
                <a:ext cx="1588" cy="3175"/>
              </a:xfrm>
              <a:custGeom>
                <a:avLst/>
                <a:gdLst>
                  <a:gd name="T0" fmla="*/ 2 w 3"/>
                  <a:gd name="T1" fmla="*/ 1 h 4"/>
                  <a:gd name="T2" fmla="*/ 1 w 3"/>
                  <a:gd name="T3" fmla="*/ 4 h 4"/>
                  <a:gd name="T4" fmla="*/ 2 w 3"/>
                  <a:gd name="T5" fmla="*/ 1 h 4"/>
                </a:gdLst>
                <a:ahLst/>
                <a:cxnLst>
                  <a:cxn ang="0">
                    <a:pos x="T0" y="T1"/>
                  </a:cxn>
                  <a:cxn ang="0">
                    <a:pos x="T2" y="T3"/>
                  </a:cxn>
                  <a:cxn ang="0">
                    <a:pos x="T4" y="T5"/>
                  </a:cxn>
                </a:cxnLst>
                <a:rect l="0" t="0" r="r" b="b"/>
                <a:pathLst>
                  <a:path w="3" h="4">
                    <a:moveTo>
                      <a:pt x="2" y="1"/>
                    </a:moveTo>
                    <a:cubicBezTo>
                      <a:pt x="1" y="1"/>
                      <a:pt x="0" y="3"/>
                      <a:pt x="1" y="4"/>
                    </a:cubicBezTo>
                    <a:cubicBezTo>
                      <a:pt x="3" y="4"/>
                      <a:pt x="2"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2" name="Freeform 193"/>
              <p:cNvSpPr>
                <a:spLocks/>
              </p:cNvSpPr>
              <p:nvPr/>
            </p:nvSpPr>
            <p:spPr bwMode="auto">
              <a:xfrm>
                <a:off x="2665413" y="419258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2"/>
                      <a:pt x="1" y="2"/>
                    </a:cubicBezTo>
                    <a:cubicBezTo>
                      <a:pt x="2" y="3"/>
                      <a:pt x="2" y="1"/>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3" name="Freeform 194"/>
              <p:cNvSpPr>
                <a:spLocks/>
              </p:cNvSpPr>
              <p:nvPr/>
            </p:nvSpPr>
            <p:spPr bwMode="auto">
              <a:xfrm>
                <a:off x="2686051" y="4198938"/>
                <a:ext cx="9525" cy="9525"/>
              </a:xfrm>
              <a:custGeom>
                <a:avLst/>
                <a:gdLst>
                  <a:gd name="T0" fmla="*/ 7 w 13"/>
                  <a:gd name="T1" fmla="*/ 9 h 14"/>
                  <a:gd name="T2" fmla="*/ 12 w 13"/>
                  <a:gd name="T3" fmla="*/ 9 h 14"/>
                  <a:gd name="T4" fmla="*/ 10 w 13"/>
                  <a:gd name="T5" fmla="*/ 7 h 14"/>
                  <a:gd name="T6" fmla="*/ 9 w 13"/>
                  <a:gd name="T7" fmla="*/ 4 h 14"/>
                  <a:gd name="T8" fmla="*/ 5 w 13"/>
                  <a:gd name="T9" fmla="*/ 4 h 14"/>
                  <a:gd name="T10" fmla="*/ 1 w 13"/>
                  <a:gd name="T11" fmla="*/ 8 h 14"/>
                  <a:gd name="T12" fmla="*/ 0 w 13"/>
                  <a:gd name="T13" fmla="*/ 11 h 14"/>
                  <a:gd name="T14" fmla="*/ 2 w 13"/>
                  <a:gd name="T15" fmla="*/ 12 h 14"/>
                  <a:gd name="T16" fmla="*/ 5 w 13"/>
                  <a:gd name="T17" fmla="*/ 14 h 14"/>
                  <a:gd name="T18" fmla="*/ 7 w 13"/>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7" y="9"/>
                    </a:moveTo>
                    <a:cubicBezTo>
                      <a:pt x="7" y="10"/>
                      <a:pt x="13" y="14"/>
                      <a:pt x="12" y="9"/>
                    </a:cubicBezTo>
                    <a:cubicBezTo>
                      <a:pt x="12" y="8"/>
                      <a:pt x="11" y="8"/>
                      <a:pt x="10" y="7"/>
                    </a:cubicBezTo>
                    <a:cubicBezTo>
                      <a:pt x="10" y="6"/>
                      <a:pt x="9" y="5"/>
                      <a:pt x="9" y="4"/>
                    </a:cubicBezTo>
                    <a:cubicBezTo>
                      <a:pt x="8" y="2"/>
                      <a:pt x="5" y="0"/>
                      <a:pt x="5" y="4"/>
                    </a:cubicBezTo>
                    <a:cubicBezTo>
                      <a:pt x="4" y="7"/>
                      <a:pt x="2" y="8"/>
                      <a:pt x="1" y="8"/>
                    </a:cubicBezTo>
                    <a:cubicBezTo>
                      <a:pt x="0" y="8"/>
                      <a:pt x="0" y="9"/>
                      <a:pt x="0" y="11"/>
                    </a:cubicBezTo>
                    <a:cubicBezTo>
                      <a:pt x="0" y="12"/>
                      <a:pt x="1" y="12"/>
                      <a:pt x="2" y="12"/>
                    </a:cubicBezTo>
                    <a:cubicBezTo>
                      <a:pt x="3" y="12"/>
                      <a:pt x="3" y="14"/>
                      <a:pt x="5" y="14"/>
                    </a:cubicBezTo>
                    <a:cubicBezTo>
                      <a:pt x="6" y="14"/>
                      <a:pt x="5" y="8"/>
                      <a:pt x="7"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4" name="Freeform 195"/>
              <p:cNvSpPr>
                <a:spLocks/>
              </p:cNvSpPr>
              <p:nvPr/>
            </p:nvSpPr>
            <p:spPr bwMode="auto">
              <a:xfrm>
                <a:off x="2663826" y="4227513"/>
                <a:ext cx="4763" cy="4763"/>
              </a:xfrm>
              <a:custGeom>
                <a:avLst/>
                <a:gdLst>
                  <a:gd name="T0" fmla="*/ 1 w 5"/>
                  <a:gd name="T1" fmla="*/ 4 h 5"/>
                  <a:gd name="T2" fmla="*/ 3 w 5"/>
                  <a:gd name="T3" fmla="*/ 1 h 5"/>
                  <a:gd name="T4" fmla="*/ 5 w 5"/>
                  <a:gd name="T5" fmla="*/ 0 h 5"/>
                  <a:gd name="T6" fmla="*/ 2 w 5"/>
                  <a:gd name="T7" fmla="*/ 0 h 5"/>
                  <a:gd name="T8" fmla="*/ 1 w 5"/>
                  <a:gd name="T9" fmla="*/ 4 h 5"/>
                </a:gdLst>
                <a:ahLst/>
                <a:cxnLst>
                  <a:cxn ang="0">
                    <a:pos x="T0" y="T1"/>
                  </a:cxn>
                  <a:cxn ang="0">
                    <a:pos x="T2" y="T3"/>
                  </a:cxn>
                  <a:cxn ang="0">
                    <a:pos x="T4" y="T5"/>
                  </a:cxn>
                  <a:cxn ang="0">
                    <a:pos x="T6" y="T7"/>
                  </a:cxn>
                  <a:cxn ang="0">
                    <a:pos x="T8" y="T9"/>
                  </a:cxn>
                </a:cxnLst>
                <a:rect l="0" t="0" r="r" b="b"/>
                <a:pathLst>
                  <a:path w="5" h="5">
                    <a:moveTo>
                      <a:pt x="1" y="4"/>
                    </a:moveTo>
                    <a:cubicBezTo>
                      <a:pt x="2" y="5"/>
                      <a:pt x="2" y="1"/>
                      <a:pt x="3" y="1"/>
                    </a:cubicBezTo>
                    <a:cubicBezTo>
                      <a:pt x="4" y="1"/>
                      <a:pt x="5" y="2"/>
                      <a:pt x="5" y="0"/>
                    </a:cubicBezTo>
                    <a:cubicBezTo>
                      <a:pt x="4" y="0"/>
                      <a:pt x="3" y="0"/>
                      <a:pt x="2" y="0"/>
                    </a:cubicBezTo>
                    <a:cubicBezTo>
                      <a:pt x="2" y="1"/>
                      <a:pt x="0" y="3"/>
                      <a:pt x="1"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5" name="Freeform 196"/>
              <p:cNvSpPr>
                <a:spLocks/>
              </p:cNvSpPr>
              <p:nvPr/>
            </p:nvSpPr>
            <p:spPr bwMode="auto">
              <a:xfrm>
                <a:off x="2676526" y="4157663"/>
                <a:ext cx="4763" cy="9525"/>
              </a:xfrm>
              <a:custGeom>
                <a:avLst/>
                <a:gdLst>
                  <a:gd name="T0" fmla="*/ 5 w 8"/>
                  <a:gd name="T1" fmla="*/ 9 h 13"/>
                  <a:gd name="T2" fmla="*/ 7 w 8"/>
                  <a:gd name="T3" fmla="*/ 2 h 13"/>
                  <a:gd name="T4" fmla="*/ 2 w 8"/>
                  <a:gd name="T5" fmla="*/ 6 h 13"/>
                  <a:gd name="T6" fmla="*/ 5 w 8"/>
                  <a:gd name="T7" fmla="*/ 9 h 13"/>
                </a:gdLst>
                <a:ahLst/>
                <a:cxnLst>
                  <a:cxn ang="0">
                    <a:pos x="T0" y="T1"/>
                  </a:cxn>
                  <a:cxn ang="0">
                    <a:pos x="T2" y="T3"/>
                  </a:cxn>
                  <a:cxn ang="0">
                    <a:pos x="T4" y="T5"/>
                  </a:cxn>
                  <a:cxn ang="0">
                    <a:pos x="T6" y="T7"/>
                  </a:cxn>
                </a:cxnLst>
                <a:rect l="0" t="0" r="r" b="b"/>
                <a:pathLst>
                  <a:path w="8" h="13">
                    <a:moveTo>
                      <a:pt x="5" y="9"/>
                    </a:moveTo>
                    <a:cubicBezTo>
                      <a:pt x="6" y="7"/>
                      <a:pt x="8" y="4"/>
                      <a:pt x="7" y="2"/>
                    </a:cubicBezTo>
                    <a:cubicBezTo>
                      <a:pt x="6" y="0"/>
                      <a:pt x="0" y="2"/>
                      <a:pt x="2" y="6"/>
                    </a:cubicBezTo>
                    <a:cubicBezTo>
                      <a:pt x="3" y="6"/>
                      <a:pt x="4" y="13"/>
                      <a:pt x="5"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6" name="Freeform 197"/>
              <p:cNvSpPr>
                <a:spLocks/>
              </p:cNvSpPr>
              <p:nvPr/>
            </p:nvSpPr>
            <p:spPr bwMode="auto">
              <a:xfrm>
                <a:off x="2674938" y="4214813"/>
                <a:ext cx="6350" cy="7938"/>
              </a:xfrm>
              <a:custGeom>
                <a:avLst/>
                <a:gdLst>
                  <a:gd name="T0" fmla="*/ 1 w 9"/>
                  <a:gd name="T1" fmla="*/ 6 h 11"/>
                  <a:gd name="T2" fmla="*/ 2 w 9"/>
                  <a:gd name="T3" fmla="*/ 10 h 11"/>
                  <a:gd name="T4" fmla="*/ 4 w 9"/>
                  <a:gd name="T5" fmla="*/ 7 h 11"/>
                  <a:gd name="T6" fmla="*/ 9 w 9"/>
                  <a:gd name="T7" fmla="*/ 3 h 11"/>
                  <a:gd name="T8" fmla="*/ 6 w 9"/>
                  <a:gd name="T9" fmla="*/ 0 h 11"/>
                  <a:gd name="T10" fmla="*/ 5 w 9"/>
                  <a:gd name="T11" fmla="*/ 4 h 11"/>
                  <a:gd name="T12" fmla="*/ 3 w 9"/>
                  <a:gd name="T13" fmla="*/ 5 h 11"/>
                  <a:gd name="T14" fmla="*/ 1 w 9"/>
                  <a:gd name="T15" fmla="*/ 6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1">
                    <a:moveTo>
                      <a:pt x="1" y="6"/>
                    </a:moveTo>
                    <a:cubicBezTo>
                      <a:pt x="0" y="7"/>
                      <a:pt x="1" y="11"/>
                      <a:pt x="2" y="10"/>
                    </a:cubicBezTo>
                    <a:cubicBezTo>
                      <a:pt x="3" y="10"/>
                      <a:pt x="3" y="7"/>
                      <a:pt x="4" y="7"/>
                    </a:cubicBezTo>
                    <a:cubicBezTo>
                      <a:pt x="4" y="8"/>
                      <a:pt x="9" y="4"/>
                      <a:pt x="9" y="3"/>
                    </a:cubicBezTo>
                    <a:cubicBezTo>
                      <a:pt x="8" y="1"/>
                      <a:pt x="7" y="0"/>
                      <a:pt x="6" y="0"/>
                    </a:cubicBezTo>
                    <a:cubicBezTo>
                      <a:pt x="4" y="0"/>
                      <a:pt x="4" y="3"/>
                      <a:pt x="5" y="4"/>
                    </a:cubicBezTo>
                    <a:cubicBezTo>
                      <a:pt x="6" y="5"/>
                      <a:pt x="3" y="5"/>
                      <a:pt x="3" y="5"/>
                    </a:cubicBezTo>
                    <a:cubicBezTo>
                      <a:pt x="2" y="5"/>
                      <a:pt x="1" y="4"/>
                      <a:pt x="1" y="6"/>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7" name="Freeform 198"/>
              <p:cNvSpPr>
                <a:spLocks/>
              </p:cNvSpPr>
              <p:nvPr/>
            </p:nvSpPr>
            <p:spPr bwMode="auto">
              <a:xfrm>
                <a:off x="2884488" y="4424363"/>
                <a:ext cx="3175" cy="4763"/>
              </a:xfrm>
              <a:custGeom>
                <a:avLst/>
                <a:gdLst>
                  <a:gd name="T0" fmla="*/ 4 w 4"/>
                  <a:gd name="T1" fmla="*/ 4 h 7"/>
                  <a:gd name="T2" fmla="*/ 2 w 4"/>
                  <a:gd name="T3" fmla="*/ 3 h 7"/>
                  <a:gd name="T4" fmla="*/ 1 w 4"/>
                  <a:gd name="T5" fmla="*/ 5 h 7"/>
                  <a:gd name="T6" fmla="*/ 4 w 4"/>
                  <a:gd name="T7" fmla="*/ 4 h 7"/>
                </a:gdLst>
                <a:ahLst/>
                <a:cxnLst>
                  <a:cxn ang="0">
                    <a:pos x="T0" y="T1"/>
                  </a:cxn>
                  <a:cxn ang="0">
                    <a:pos x="T2" y="T3"/>
                  </a:cxn>
                  <a:cxn ang="0">
                    <a:pos x="T4" y="T5"/>
                  </a:cxn>
                  <a:cxn ang="0">
                    <a:pos x="T6" y="T7"/>
                  </a:cxn>
                </a:cxnLst>
                <a:rect l="0" t="0" r="r" b="b"/>
                <a:pathLst>
                  <a:path w="4" h="7">
                    <a:moveTo>
                      <a:pt x="4" y="4"/>
                    </a:moveTo>
                    <a:cubicBezTo>
                      <a:pt x="2" y="3"/>
                      <a:pt x="2" y="3"/>
                      <a:pt x="2" y="3"/>
                    </a:cubicBezTo>
                    <a:cubicBezTo>
                      <a:pt x="0" y="0"/>
                      <a:pt x="1" y="4"/>
                      <a:pt x="1" y="5"/>
                    </a:cubicBezTo>
                    <a:cubicBezTo>
                      <a:pt x="2" y="7"/>
                      <a:pt x="4" y="6"/>
                      <a:pt x="4"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8" name="Freeform 199"/>
              <p:cNvSpPr>
                <a:spLocks/>
              </p:cNvSpPr>
              <p:nvPr/>
            </p:nvSpPr>
            <p:spPr bwMode="auto">
              <a:xfrm>
                <a:off x="2792413" y="4210050"/>
                <a:ext cx="6350" cy="7938"/>
              </a:xfrm>
              <a:custGeom>
                <a:avLst/>
                <a:gdLst>
                  <a:gd name="T0" fmla="*/ 4 w 8"/>
                  <a:gd name="T1" fmla="*/ 0 h 11"/>
                  <a:gd name="T2" fmla="*/ 1 w 8"/>
                  <a:gd name="T3" fmla="*/ 2 h 11"/>
                  <a:gd name="T4" fmla="*/ 1 w 8"/>
                  <a:gd name="T5" fmla="*/ 7 h 11"/>
                  <a:gd name="T6" fmla="*/ 2 w 8"/>
                  <a:gd name="T7" fmla="*/ 11 h 11"/>
                  <a:gd name="T8" fmla="*/ 4 w 8"/>
                  <a:gd name="T9" fmla="*/ 9 h 11"/>
                  <a:gd name="T10" fmla="*/ 8 w 8"/>
                  <a:gd name="T11" fmla="*/ 5 h 11"/>
                  <a:gd name="T12" fmla="*/ 4 w 8"/>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8" h="11">
                    <a:moveTo>
                      <a:pt x="4" y="0"/>
                    </a:moveTo>
                    <a:cubicBezTo>
                      <a:pt x="3" y="0"/>
                      <a:pt x="2" y="1"/>
                      <a:pt x="1" y="2"/>
                    </a:cubicBezTo>
                    <a:cubicBezTo>
                      <a:pt x="0" y="4"/>
                      <a:pt x="1" y="5"/>
                      <a:pt x="1" y="7"/>
                    </a:cubicBezTo>
                    <a:cubicBezTo>
                      <a:pt x="1" y="8"/>
                      <a:pt x="1" y="10"/>
                      <a:pt x="2" y="11"/>
                    </a:cubicBezTo>
                    <a:cubicBezTo>
                      <a:pt x="3" y="11"/>
                      <a:pt x="4" y="10"/>
                      <a:pt x="4" y="9"/>
                    </a:cubicBezTo>
                    <a:cubicBezTo>
                      <a:pt x="5" y="7"/>
                      <a:pt x="7" y="7"/>
                      <a:pt x="8" y="5"/>
                    </a:cubicBezTo>
                    <a:cubicBezTo>
                      <a:pt x="8" y="2"/>
                      <a:pt x="6" y="0"/>
                      <a:pt x="4"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89" name="Freeform 200"/>
              <p:cNvSpPr>
                <a:spLocks/>
              </p:cNvSpPr>
              <p:nvPr/>
            </p:nvSpPr>
            <p:spPr bwMode="auto">
              <a:xfrm>
                <a:off x="2790826" y="4195763"/>
                <a:ext cx="7938" cy="12700"/>
              </a:xfrm>
              <a:custGeom>
                <a:avLst/>
                <a:gdLst>
                  <a:gd name="T0" fmla="*/ 7 w 10"/>
                  <a:gd name="T1" fmla="*/ 3 h 17"/>
                  <a:gd name="T2" fmla="*/ 3 w 10"/>
                  <a:gd name="T3" fmla="*/ 0 h 17"/>
                  <a:gd name="T4" fmla="*/ 3 w 10"/>
                  <a:gd name="T5" fmla="*/ 10 h 17"/>
                  <a:gd name="T6" fmla="*/ 2 w 10"/>
                  <a:gd name="T7" fmla="*/ 16 h 17"/>
                  <a:gd name="T8" fmla="*/ 5 w 10"/>
                  <a:gd name="T9" fmla="*/ 15 h 17"/>
                  <a:gd name="T10" fmla="*/ 9 w 10"/>
                  <a:gd name="T11" fmla="*/ 14 h 17"/>
                  <a:gd name="T12" fmla="*/ 9 w 10"/>
                  <a:gd name="T13" fmla="*/ 9 h 17"/>
                  <a:gd name="T14" fmla="*/ 7 w 10"/>
                  <a:gd name="T15" fmla="*/ 3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7">
                    <a:moveTo>
                      <a:pt x="7" y="3"/>
                    </a:moveTo>
                    <a:cubicBezTo>
                      <a:pt x="6" y="1"/>
                      <a:pt x="3" y="1"/>
                      <a:pt x="3" y="0"/>
                    </a:cubicBezTo>
                    <a:cubicBezTo>
                      <a:pt x="0" y="3"/>
                      <a:pt x="3" y="7"/>
                      <a:pt x="3" y="10"/>
                    </a:cubicBezTo>
                    <a:cubicBezTo>
                      <a:pt x="3" y="12"/>
                      <a:pt x="2" y="14"/>
                      <a:pt x="2" y="16"/>
                    </a:cubicBezTo>
                    <a:cubicBezTo>
                      <a:pt x="3" y="17"/>
                      <a:pt x="5" y="16"/>
                      <a:pt x="5" y="15"/>
                    </a:cubicBezTo>
                    <a:cubicBezTo>
                      <a:pt x="7" y="12"/>
                      <a:pt x="7" y="15"/>
                      <a:pt x="9" y="14"/>
                    </a:cubicBezTo>
                    <a:cubicBezTo>
                      <a:pt x="10" y="14"/>
                      <a:pt x="9" y="10"/>
                      <a:pt x="9" y="9"/>
                    </a:cubicBezTo>
                    <a:cubicBezTo>
                      <a:pt x="8" y="7"/>
                      <a:pt x="8" y="5"/>
                      <a:pt x="7"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0" name="Freeform 201"/>
              <p:cNvSpPr>
                <a:spLocks/>
              </p:cNvSpPr>
              <p:nvPr/>
            </p:nvSpPr>
            <p:spPr bwMode="auto">
              <a:xfrm>
                <a:off x="2909888" y="4486275"/>
                <a:ext cx="6350" cy="6350"/>
              </a:xfrm>
              <a:custGeom>
                <a:avLst/>
                <a:gdLst>
                  <a:gd name="T0" fmla="*/ 7 w 7"/>
                  <a:gd name="T1" fmla="*/ 5 h 7"/>
                  <a:gd name="T2" fmla="*/ 5 w 7"/>
                  <a:gd name="T3" fmla="*/ 1 h 7"/>
                  <a:gd name="T4" fmla="*/ 1 w 7"/>
                  <a:gd name="T5" fmla="*/ 0 h 7"/>
                  <a:gd name="T6" fmla="*/ 2 w 7"/>
                  <a:gd name="T7" fmla="*/ 4 h 7"/>
                  <a:gd name="T8" fmla="*/ 7 w 7"/>
                  <a:gd name="T9" fmla="*/ 5 h 7"/>
                </a:gdLst>
                <a:ahLst/>
                <a:cxnLst>
                  <a:cxn ang="0">
                    <a:pos x="T0" y="T1"/>
                  </a:cxn>
                  <a:cxn ang="0">
                    <a:pos x="T2" y="T3"/>
                  </a:cxn>
                  <a:cxn ang="0">
                    <a:pos x="T4" y="T5"/>
                  </a:cxn>
                  <a:cxn ang="0">
                    <a:pos x="T6" y="T7"/>
                  </a:cxn>
                  <a:cxn ang="0">
                    <a:pos x="T8" y="T9"/>
                  </a:cxn>
                </a:cxnLst>
                <a:rect l="0" t="0" r="r" b="b"/>
                <a:pathLst>
                  <a:path w="7" h="7">
                    <a:moveTo>
                      <a:pt x="7" y="5"/>
                    </a:moveTo>
                    <a:cubicBezTo>
                      <a:pt x="7" y="4"/>
                      <a:pt x="5" y="3"/>
                      <a:pt x="5" y="1"/>
                    </a:cubicBezTo>
                    <a:cubicBezTo>
                      <a:pt x="4" y="1"/>
                      <a:pt x="2" y="0"/>
                      <a:pt x="1" y="0"/>
                    </a:cubicBezTo>
                    <a:cubicBezTo>
                      <a:pt x="0" y="1"/>
                      <a:pt x="1" y="3"/>
                      <a:pt x="2" y="4"/>
                    </a:cubicBezTo>
                    <a:cubicBezTo>
                      <a:pt x="3" y="5"/>
                      <a:pt x="6" y="7"/>
                      <a:pt x="7"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1" name="Freeform 202"/>
              <p:cNvSpPr>
                <a:spLocks/>
              </p:cNvSpPr>
              <p:nvPr/>
            </p:nvSpPr>
            <p:spPr bwMode="auto">
              <a:xfrm>
                <a:off x="2898776" y="4481513"/>
                <a:ext cx="7938" cy="7938"/>
              </a:xfrm>
              <a:custGeom>
                <a:avLst/>
                <a:gdLst>
                  <a:gd name="T0" fmla="*/ 4 w 10"/>
                  <a:gd name="T1" fmla="*/ 9 h 11"/>
                  <a:gd name="T2" fmla="*/ 9 w 10"/>
                  <a:gd name="T3" fmla="*/ 9 h 11"/>
                  <a:gd name="T4" fmla="*/ 7 w 10"/>
                  <a:gd name="T5" fmla="*/ 5 h 11"/>
                  <a:gd name="T6" fmla="*/ 4 w 10"/>
                  <a:gd name="T7" fmla="*/ 9 h 11"/>
                </a:gdLst>
                <a:ahLst/>
                <a:cxnLst>
                  <a:cxn ang="0">
                    <a:pos x="T0" y="T1"/>
                  </a:cxn>
                  <a:cxn ang="0">
                    <a:pos x="T2" y="T3"/>
                  </a:cxn>
                  <a:cxn ang="0">
                    <a:pos x="T4" y="T5"/>
                  </a:cxn>
                  <a:cxn ang="0">
                    <a:pos x="T6" y="T7"/>
                  </a:cxn>
                </a:cxnLst>
                <a:rect l="0" t="0" r="r" b="b"/>
                <a:pathLst>
                  <a:path w="10" h="11">
                    <a:moveTo>
                      <a:pt x="4" y="9"/>
                    </a:moveTo>
                    <a:cubicBezTo>
                      <a:pt x="6" y="10"/>
                      <a:pt x="9" y="11"/>
                      <a:pt x="9" y="9"/>
                    </a:cubicBezTo>
                    <a:cubicBezTo>
                      <a:pt x="10" y="7"/>
                      <a:pt x="7" y="7"/>
                      <a:pt x="7" y="5"/>
                    </a:cubicBezTo>
                    <a:cubicBezTo>
                      <a:pt x="1" y="0"/>
                      <a:pt x="0" y="5"/>
                      <a:pt x="4" y="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2" name="Freeform 203"/>
              <p:cNvSpPr>
                <a:spLocks/>
              </p:cNvSpPr>
              <p:nvPr/>
            </p:nvSpPr>
            <p:spPr bwMode="auto">
              <a:xfrm>
                <a:off x="2894013" y="4430713"/>
                <a:ext cx="7938" cy="4763"/>
              </a:xfrm>
              <a:custGeom>
                <a:avLst/>
                <a:gdLst>
                  <a:gd name="T0" fmla="*/ 2 w 11"/>
                  <a:gd name="T1" fmla="*/ 4 h 8"/>
                  <a:gd name="T2" fmla="*/ 7 w 11"/>
                  <a:gd name="T3" fmla="*/ 8 h 8"/>
                  <a:gd name="T4" fmla="*/ 9 w 11"/>
                  <a:gd name="T5" fmla="*/ 4 h 8"/>
                  <a:gd name="T6" fmla="*/ 2 w 11"/>
                  <a:gd name="T7" fmla="*/ 4 h 8"/>
                </a:gdLst>
                <a:ahLst/>
                <a:cxnLst>
                  <a:cxn ang="0">
                    <a:pos x="T0" y="T1"/>
                  </a:cxn>
                  <a:cxn ang="0">
                    <a:pos x="T2" y="T3"/>
                  </a:cxn>
                  <a:cxn ang="0">
                    <a:pos x="T4" y="T5"/>
                  </a:cxn>
                  <a:cxn ang="0">
                    <a:pos x="T6" y="T7"/>
                  </a:cxn>
                </a:cxnLst>
                <a:rect l="0" t="0" r="r" b="b"/>
                <a:pathLst>
                  <a:path w="11" h="8">
                    <a:moveTo>
                      <a:pt x="2" y="4"/>
                    </a:moveTo>
                    <a:cubicBezTo>
                      <a:pt x="3" y="6"/>
                      <a:pt x="5" y="7"/>
                      <a:pt x="7" y="8"/>
                    </a:cubicBezTo>
                    <a:cubicBezTo>
                      <a:pt x="9" y="8"/>
                      <a:pt x="11" y="6"/>
                      <a:pt x="9" y="4"/>
                    </a:cubicBezTo>
                    <a:cubicBezTo>
                      <a:pt x="7" y="3"/>
                      <a:pt x="0" y="0"/>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3" name="Freeform 204"/>
              <p:cNvSpPr>
                <a:spLocks/>
              </p:cNvSpPr>
              <p:nvPr/>
            </p:nvSpPr>
            <p:spPr bwMode="auto">
              <a:xfrm>
                <a:off x="2713038" y="4170363"/>
                <a:ext cx="9525" cy="17463"/>
              </a:xfrm>
              <a:custGeom>
                <a:avLst/>
                <a:gdLst>
                  <a:gd name="T0" fmla="*/ 10 w 12"/>
                  <a:gd name="T1" fmla="*/ 1 h 24"/>
                  <a:gd name="T2" fmla="*/ 7 w 12"/>
                  <a:gd name="T3" fmla="*/ 7 h 24"/>
                  <a:gd name="T4" fmla="*/ 2 w 12"/>
                  <a:gd name="T5" fmla="*/ 16 h 24"/>
                  <a:gd name="T6" fmla="*/ 0 w 12"/>
                  <a:gd name="T7" fmla="*/ 21 h 24"/>
                  <a:gd name="T8" fmla="*/ 2 w 12"/>
                  <a:gd name="T9" fmla="*/ 23 h 24"/>
                  <a:gd name="T10" fmla="*/ 5 w 12"/>
                  <a:gd name="T11" fmla="*/ 22 h 24"/>
                  <a:gd name="T12" fmla="*/ 10 w 12"/>
                  <a:gd name="T13" fmla="*/ 16 h 24"/>
                  <a:gd name="T14" fmla="*/ 10 w 12"/>
                  <a:gd name="T15" fmla="*/ 6 h 24"/>
                  <a:gd name="T16" fmla="*/ 10 w 12"/>
                  <a:gd name="T1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4">
                    <a:moveTo>
                      <a:pt x="10" y="1"/>
                    </a:moveTo>
                    <a:cubicBezTo>
                      <a:pt x="8" y="2"/>
                      <a:pt x="7" y="4"/>
                      <a:pt x="7" y="7"/>
                    </a:cubicBezTo>
                    <a:cubicBezTo>
                      <a:pt x="7" y="12"/>
                      <a:pt x="3" y="13"/>
                      <a:pt x="2" y="16"/>
                    </a:cubicBezTo>
                    <a:cubicBezTo>
                      <a:pt x="1" y="17"/>
                      <a:pt x="0" y="19"/>
                      <a:pt x="0" y="21"/>
                    </a:cubicBezTo>
                    <a:cubicBezTo>
                      <a:pt x="0" y="22"/>
                      <a:pt x="1" y="23"/>
                      <a:pt x="2" y="23"/>
                    </a:cubicBezTo>
                    <a:cubicBezTo>
                      <a:pt x="4" y="24"/>
                      <a:pt x="3" y="23"/>
                      <a:pt x="5" y="22"/>
                    </a:cubicBezTo>
                    <a:cubicBezTo>
                      <a:pt x="6" y="19"/>
                      <a:pt x="9" y="19"/>
                      <a:pt x="10" y="16"/>
                    </a:cubicBezTo>
                    <a:cubicBezTo>
                      <a:pt x="12" y="13"/>
                      <a:pt x="9" y="10"/>
                      <a:pt x="10" y="6"/>
                    </a:cubicBezTo>
                    <a:cubicBezTo>
                      <a:pt x="11" y="5"/>
                      <a:pt x="12" y="0"/>
                      <a:pt x="10"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4" name="Freeform 205"/>
              <p:cNvSpPr>
                <a:spLocks/>
              </p:cNvSpPr>
              <p:nvPr/>
            </p:nvSpPr>
            <p:spPr bwMode="auto">
              <a:xfrm>
                <a:off x="2695576" y="4208463"/>
                <a:ext cx="3175" cy="3175"/>
              </a:xfrm>
              <a:custGeom>
                <a:avLst/>
                <a:gdLst>
                  <a:gd name="T0" fmla="*/ 1 w 4"/>
                  <a:gd name="T1" fmla="*/ 0 h 5"/>
                  <a:gd name="T2" fmla="*/ 0 w 4"/>
                  <a:gd name="T3" fmla="*/ 3 h 5"/>
                  <a:gd name="T4" fmla="*/ 2 w 4"/>
                  <a:gd name="T5" fmla="*/ 5 h 5"/>
                  <a:gd name="T6" fmla="*/ 1 w 4"/>
                  <a:gd name="T7" fmla="*/ 0 h 5"/>
                </a:gdLst>
                <a:ahLst/>
                <a:cxnLst>
                  <a:cxn ang="0">
                    <a:pos x="T0" y="T1"/>
                  </a:cxn>
                  <a:cxn ang="0">
                    <a:pos x="T2" y="T3"/>
                  </a:cxn>
                  <a:cxn ang="0">
                    <a:pos x="T4" y="T5"/>
                  </a:cxn>
                  <a:cxn ang="0">
                    <a:pos x="T6" y="T7"/>
                  </a:cxn>
                </a:cxnLst>
                <a:rect l="0" t="0" r="r" b="b"/>
                <a:pathLst>
                  <a:path w="4" h="5">
                    <a:moveTo>
                      <a:pt x="1" y="0"/>
                    </a:moveTo>
                    <a:cubicBezTo>
                      <a:pt x="0" y="0"/>
                      <a:pt x="0" y="2"/>
                      <a:pt x="0" y="3"/>
                    </a:cubicBezTo>
                    <a:cubicBezTo>
                      <a:pt x="0" y="5"/>
                      <a:pt x="2" y="5"/>
                      <a:pt x="2" y="5"/>
                    </a:cubicBezTo>
                    <a:cubicBezTo>
                      <a:pt x="4" y="5"/>
                      <a:pt x="3"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5" name="Freeform 206"/>
              <p:cNvSpPr>
                <a:spLocks/>
              </p:cNvSpPr>
              <p:nvPr/>
            </p:nvSpPr>
            <p:spPr bwMode="auto">
              <a:xfrm>
                <a:off x="2795588" y="4221163"/>
                <a:ext cx="6350" cy="14288"/>
              </a:xfrm>
              <a:custGeom>
                <a:avLst/>
                <a:gdLst>
                  <a:gd name="T0" fmla="*/ 5 w 10"/>
                  <a:gd name="T1" fmla="*/ 3 h 18"/>
                  <a:gd name="T2" fmla="*/ 1 w 10"/>
                  <a:gd name="T3" fmla="*/ 1 h 18"/>
                  <a:gd name="T4" fmla="*/ 0 w 10"/>
                  <a:gd name="T5" fmla="*/ 5 h 18"/>
                  <a:gd name="T6" fmla="*/ 2 w 10"/>
                  <a:gd name="T7" fmla="*/ 9 h 18"/>
                  <a:gd name="T8" fmla="*/ 6 w 10"/>
                  <a:gd name="T9" fmla="*/ 17 h 18"/>
                  <a:gd name="T10" fmla="*/ 4 w 10"/>
                  <a:gd name="T11" fmla="*/ 8 h 18"/>
                  <a:gd name="T12" fmla="*/ 5 w 10"/>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0" h="18">
                    <a:moveTo>
                      <a:pt x="5" y="3"/>
                    </a:moveTo>
                    <a:cubicBezTo>
                      <a:pt x="5" y="3"/>
                      <a:pt x="1" y="0"/>
                      <a:pt x="1" y="1"/>
                    </a:cubicBezTo>
                    <a:cubicBezTo>
                      <a:pt x="1" y="3"/>
                      <a:pt x="0" y="3"/>
                      <a:pt x="0" y="5"/>
                    </a:cubicBezTo>
                    <a:cubicBezTo>
                      <a:pt x="1" y="7"/>
                      <a:pt x="2" y="8"/>
                      <a:pt x="2" y="9"/>
                    </a:cubicBezTo>
                    <a:cubicBezTo>
                      <a:pt x="3" y="12"/>
                      <a:pt x="4" y="16"/>
                      <a:pt x="6" y="17"/>
                    </a:cubicBezTo>
                    <a:cubicBezTo>
                      <a:pt x="10" y="18"/>
                      <a:pt x="5" y="9"/>
                      <a:pt x="4" y="8"/>
                    </a:cubicBezTo>
                    <a:cubicBezTo>
                      <a:pt x="3" y="6"/>
                      <a:pt x="6" y="6"/>
                      <a:pt x="5"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6" name="Freeform 207"/>
              <p:cNvSpPr>
                <a:spLocks/>
              </p:cNvSpPr>
              <p:nvPr/>
            </p:nvSpPr>
            <p:spPr bwMode="auto">
              <a:xfrm>
                <a:off x="2779713" y="4171950"/>
                <a:ext cx="7938" cy="12700"/>
              </a:xfrm>
              <a:custGeom>
                <a:avLst/>
                <a:gdLst>
                  <a:gd name="T0" fmla="*/ 12 w 12"/>
                  <a:gd name="T1" fmla="*/ 12 h 18"/>
                  <a:gd name="T2" fmla="*/ 9 w 12"/>
                  <a:gd name="T3" fmla="*/ 9 h 18"/>
                  <a:gd name="T4" fmla="*/ 6 w 12"/>
                  <a:gd name="T5" fmla="*/ 3 h 18"/>
                  <a:gd name="T6" fmla="*/ 1 w 12"/>
                  <a:gd name="T7" fmla="*/ 9 h 18"/>
                  <a:gd name="T8" fmla="*/ 4 w 12"/>
                  <a:gd name="T9" fmla="*/ 11 h 18"/>
                  <a:gd name="T10" fmla="*/ 6 w 12"/>
                  <a:gd name="T11" fmla="*/ 13 h 18"/>
                  <a:gd name="T12" fmla="*/ 12 w 12"/>
                  <a:gd name="T13" fmla="*/ 12 h 18"/>
                </a:gdLst>
                <a:ahLst/>
                <a:cxnLst>
                  <a:cxn ang="0">
                    <a:pos x="T0" y="T1"/>
                  </a:cxn>
                  <a:cxn ang="0">
                    <a:pos x="T2" y="T3"/>
                  </a:cxn>
                  <a:cxn ang="0">
                    <a:pos x="T4" y="T5"/>
                  </a:cxn>
                  <a:cxn ang="0">
                    <a:pos x="T6" y="T7"/>
                  </a:cxn>
                  <a:cxn ang="0">
                    <a:pos x="T8" y="T9"/>
                  </a:cxn>
                  <a:cxn ang="0">
                    <a:pos x="T10" y="T11"/>
                  </a:cxn>
                  <a:cxn ang="0">
                    <a:pos x="T12" y="T13"/>
                  </a:cxn>
                </a:cxnLst>
                <a:rect l="0" t="0" r="r" b="b"/>
                <a:pathLst>
                  <a:path w="12" h="18">
                    <a:moveTo>
                      <a:pt x="12" y="12"/>
                    </a:moveTo>
                    <a:cubicBezTo>
                      <a:pt x="12" y="10"/>
                      <a:pt x="10" y="10"/>
                      <a:pt x="9" y="9"/>
                    </a:cubicBezTo>
                    <a:cubicBezTo>
                      <a:pt x="8" y="7"/>
                      <a:pt x="7" y="5"/>
                      <a:pt x="6" y="3"/>
                    </a:cubicBezTo>
                    <a:cubicBezTo>
                      <a:pt x="3" y="0"/>
                      <a:pt x="0" y="3"/>
                      <a:pt x="1" y="9"/>
                    </a:cubicBezTo>
                    <a:cubicBezTo>
                      <a:pt x="1" y="11"/>
                      <a:pt x="2" y="11"/>
                      <a:pt x="4" y="11"/>
                    </a:cubicBezTo>
                    <a:cubicBezTo>
                      <a:pt x="5" y="11"/>
                      <a:pt x="5" y="12"/>
                      <a:pt x="6" y="13"/>
                    </a:cubicBezTo>
                    <a:cubicBezTo>
                      <a:pt x="8" y="15"/>
                      <a:pt x="12" y="18"/>
                      <a:pt x="12"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7" name="Freeform 208"/>
              <p:cNvSpPr>
                <a:spLocks/>
              </p:cNvSpPr>
              <p:nvPr/>
            </p:nvSpPr>
            <p:spPr bwMode="auto">
              <a:xfrm>
                <a:off x="2784476" y="4186238"/>
                <a:ext cx="3175" cy="4763"/>
              </a:xfrm>
              <a:custGeom>
                <a:avLst/>
                <a:gdLst>
                  <a:gd name="T0" fmla="*/ 2 w 5"/>
                  <a:gd name="T1" fmla="*/ 5 h 7"/>
                  <a:gd name="T2" fmla="*/ 4 w 5"/>
                  <a:gd name="T3" fmla="*/ 2 h 7"/>
                  <a:gd name="T4" fmla="*/ 2 w 5"/>
                  <a:gd name="T5" fmla="*/ 5 h 7"/>
                </a:gdLst>
                <a:ahLst/>
                <a:cxnLst>
                  <a:cxn ang="0">
                    <a:pos x="T0" y="T1"/>
                  </a:cxn>
                  <a:cxn ang="0">
                    <a:pos x="T2" y="T3"/>
                  </a:cxn>
                  <a:cxn ang="0">
                    <a:pos x="T4" y="T5"/>
                  </a:cxn>
                </a:cxnLst>
                <a:rect l="0" t="0" r="r" b="b"/>
                <a:pathLst>
                  <a:path w="5" h="7">
                    <a:moveTo>
                      <a:pt x="2" y="5"/>
                    </a:moveTo>
                    <a:cubicBezTo>
                      <a:pt x="5" y="7"/>
                      <a:pt x="5" y="1"/>
                      <a:pt x="4" y="2"/>
                    </a:cubicBezTo>
                    <a:cubicBezTo>
                      <a:pt x="2" y="0"/>
                      <a:pt x="0" y="4"/>
                      <a:pt x="2"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8" name="Freeform 209"/>
              <p:cNvSpPr>
                <a:spLocks/>
              </p:cNvSpPr>
              <p:nvPr/>
            </p:nvSpPr>
            <p:spPr bwMode="auto">
              <a:xfrm>
                <a:off x="3227388" y="4518025"/>
                <a:ext cx="3175" cy="3175"/>
              </a:xfrm>
              <a:custGeom>
                <a:avLst/>
                <a:gdLst>
                  <a:gd name="T0" fmla="*/ 2 w 3"/>
                  <a:gd name="T1" fmla="*/ 2 h 3"/>
                  <a:gd name="T2" fmla="*/ 1 w 3"/>
                  <a:gd name="T3" fmla="*/ 0 h 3"/>
                  <a:gd name="T4" fmla="*/ 0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3" y="1"/>
                      <a:pt x="2" y="1"/>
                      <a:pt x="1" y="0"/>
                    </a:cubicBezTo>
                    <a:cubicBezTo>
                      <a:pt x="1" y="1"/>
                      <a:pt x="0" y="2"/>
                      <a:pt x="0" y="2"/>
                    </a:cubicBezTo>
                    <a:cubicBezTo>
                      <a:pt x="0" y="3"/>
                      <a:pt x="1" y="3"/>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299" name="Freeform 210"/>
              <p:cNvSpPr>
                <a:spLocks/>
              </p:cNvSpPr>
              <p:nvPr/>
            </p:nvSpPr>
            <p:spPr bwMode="auto">
              <a:xfrm>
                <a:off x="3662363" y="4406900"/>
                <a:ext cx="4763" cy="12700"/>
              </a:xfrm>
              <a:custGeom>
                <a:avLst/>
                <a:gdLst>
                  <a:gd name="T0" fmla="*/ 3 w 6"/>
                  <a:gd name="T1" fmla="*/ 13 h 16"/>
                  <a:gd name="T2" fmla="*/ 6 w 6"/>
                  <a:gd name="T3" fmla="*/ 8 h 16"/>
                  <a:gd name="T4" fmla="*/ 5 w 6"/>
                  <a:gd name="T5" fmla="*/ 3 h 16"/>
                  <a:gd name="T6" fmla="*/ 3 w 6"/>
                  <a:gd name="T7" fmla="*/ 0 h 16"/>
                  <a:gd name="T8" fmla="*/ 1 w 6"/>
                  <a:gd name="T9" fmla="*/ 6 h 16"/>
                  <a:gd name="T10" fmla="*/ 0 w 6"/>
                  <a:gd name="T11" fmla="*/ 11 h 16"/>
                  <a:gd name="T12" fmla="*/ 0 w 6"/>
                  <a:gd name="T13" fmla="*/ 15 h 16"/>
                  <a:gd name="T14" fmla="*/ 3 w 6"/>
                  <a:gd name="T15" fmla="*/ 1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6">
                    <a:moveTo>
                      <a:pt x="3" y="13"/>
                    </a:moveTo>
                    <a:cubicBezTo>
                      <a:pt x="4" y="11"/>
                      <a:pt x="5" y="10"/>
                      <a:pt x="6" y="8"/>
                    </a:cubicBezTo>
                    <a:cubicBezTo>
                      <a:pt x="6" y="6"/>
                      <a:pt x="6" y="4"/>
                      <a:pt x="5" y="3"/>
                    </a:cubicBezTo>
                    <a:cubicBezTo>
                      <a:pt x="5" y="1"/>
                      <a:pt x="4" y="0"/>
                      <a:pt x="3" y="0"/>
                    </a:cubicBezTo>
                    <a:cubicBezTo>
                      <a:pt x="2" y="1"/>
                      <a:pt x="1" y="5"/>
                      <a:pt x="1" y="6"/>
                    </a:cubicBezTo>
                    <a:cubicBezTo>
                      <a:pt x="0" y="8"/>
                      <a:pt x="0" y="9"/>
                      <a:pt x="0" y="11"/>
                    </a:cubicBezTo>
                    <a:cubicBezTo>
                      <a:pt x="0" y="12"/>
                      <a:pt x="0" y="14"/>
                      <a:pt x="0" y="15"/>
                    </a:cubicBezTo>
                    <a:cubicBezTo>
                      <a:pt x="1" y="16"/>
                      <a:pt x="2" y="14"/>
                      <a:pt x="3" y="1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0" name="Freeform 211"/>
              <p:cNvSpPr>
                <a:spLocks/>
              </p:cNvSpPr>
              <p:nvPr/>
            </p:nvSpPr>
            <p:spPr bwMode="auto">
              <a:xfrm>
                <a:off x="3563938" y="4497388"/>
                <a:ext cx="25400" cy="50800"/>
              </a:xfrm>
              <a:custGeom>
                <a:avLst/>
                <a:gdLst>
                  <a:gd name="T0" fmla="*/ 3 w 34"/>
                  <a:gd name="T1" fmla="*/ 65 h 66"/>
                  <a:gd name="T2" fmla="*/ 9 w 34"/>
                  <a:gd name="T3" fmla="*/ 62 h 66"/>
                  <a:gd name="T4" fmla="*/ 11 w 34"/>
                  <a:gd name="T5" fmla="*/ 59 h 66"/>
                  <a:gd name="T6" fmla="*/ 14 w 34"/>
                  <a:gd name="T7" fmla="*/ 53 h 66"/>
                  <a:gd name="T8" fmla="*/ 19 w 34"/>
                  <a:gd name="T9" fmla="*/ 43 h 66"/>
                  <a:gd name="T10" fmla="*/ 25 w 34"/>
                  <a:gd name="T11" fmla="*/ 31 h 66"/>
                  <a:gd name="T12" fmla="*/ 27 w 34"/>
                  <a:gd name="T13" fmla="*/ 26 h 66"/>
                  <a:gd name="T14" fmla="*/ 29 w 34"/>
                  <a:gd name="T15" fmla="*/ 23 h 66"/>
                  <a:gd name="T16" fmla="*/ 31 w 34"/>
                  <a:gd name="T17" fmla="*/ 17 h 66"/>
                  <a:gd name="T18" fmla="*/ 33 w 34"/>
                  <a:gd name="T19" fmla="*/ 13 h 66"/>
                  <a:gd name="T20" fmla="*/ 33 w 34"/>
                  <a:gd name="T21" fmla="*/ 9 h 66"/>
                  <a:gd name="T22" fmla="*/ 32 w 34"/>
                  <a:gd name="T23" fmla="*/ 4 h 66"/>
                  <a:gd name="T24" fmla="*/ 30 w 34"/>
                  <a:gd name="T25" fmla="*/ 7 h 66"/>
                  <a:gd name="T26" fmla="*/ 27 w 34"/>
                  <a:gd name="T27" fmla="*/ 9 h 66"/>
                  <a:gd name="T28" fmla="*/ 26 w 34"/>
                  <a:gd name="T29" fmla="*/ 12 h 66"/>
                  <a:gd name="T30" fmla="*/ 27 w 34"/>
                  <a:gd name="T31" fmla="*/ 13 h 66"/>
                  <a:gd name="T32" fmla="*/ 23 w 34"/>
                  <a:gd name="T33" fmla="*/ 18 h 66"/>
                  <a:gd name="T34" fmla="*/ 20 w 34"/>
                  <a:gd name="T35" fmla="*/ 21 h 66"/>
                  <a:gd name="T36" fmla="*/ 17 w 34"/>
                  <a:gd name="T37" fmla="*/ 23 h 66"/>
                  <a:gd name="T38" fmla="*/ 13 w 34"/>
                  <a:gd name="T39" fmla="*/ 28 h 66"/>
                  <a:gd name="T40" fmla="*/ 12 w 34"/>
                  <a:gd name="T41" fmla="*/ 32 h 66"/>
                  <a:gd name="T42" fmla="*/ 10 w 34"/>
                  <a:gd name="T43" fmla="*/ 38 h 66"/>
                  <a:gd name="T44" fmla="*/ 6 w 34"/>
                  <a:gd name="T45" fmla="*/ 47 h 66"/>
                  <a:gd name="T46" fmla="*/ 4 w 34"/>
                  <a:gd name="T47" fmla="*/ 51 h 66"/>
                  <a:gd name="T48" fmla="*/ 2 w 34"/>
                  <a:gd name="T49" fmla="*/ 55 h 66"/>
                  <a:gd name="T50" fmla="*/ 1 w 34"/>
                  <a:gd name="T51" fmla="*/ 60 h 66"/>
                  <a:gd name="T52" fmla="*/ 3 w 34"/>
                  <a:gd name="T53" fmla="*/ 6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66">
                    <a:moveTo>
                      <a:pt x="3" y="65"/>
                    </a:moveTo>
                    <a:cubicBezTo>
                      <a:pt x="4" y="66"/>
                      <a:pt x="7" y="64"/>
                      <a:pt x="9" y="62"/>
                    </a:cubicBezTo>
                    <a:cubicBezTo>
                      <a:pt x="9" y="61"/>
                      <a:pt x="11" y="60"/>
                      <a:pt x="11" y="59"/>
                    </a:cubicBezTo>
                    <a:cubicBezTo>
                      <a:pt x="12" y="57"/>
                      <a:pt x="13" y="55"/>
                      <a:pt x="14" y="53"/>
                    </a:cubicBezTo>
                    <a:cubicBezTo>
                      <a:pt x="16" y="50"/>
                      <a:pt x="18" y="46"/>
                      <a:pt x="19" y="43"/>
                    </a:cubicBezTo>
                    <a:cubicBezTo>
                      <a:pt x="21" y="39"/>
                      <a:pt x="23" y="35"/>
                      <a:pt x="25" y="31"/>
                    </a:cubicBezTo>
                    <a:cubicBezTo>
                      <a:pt x="25" y="29"/>
                      <a:pt x="26" y="28"/>
                      <a:pt x="27" y="26"/>
                    </a:cubicBezTo>
                    <a:cubicBezTo>
                      <a:pt x="27" y="25"/>
                      <a:pt x="28" y="24"/>
                      <a:pt x="29" y="23"/>
                    </a:cubicBezTo>
                    <a:cubicBezTo>
                      <a:pt x="29" y="21"/>
                      <a:pt x="30" y="18"/>
                      <a:pt x="31" y="17"/>
                    </a:cubicBezTo>
                    <a:cubicBezTo>
                      <a:pt x="33" y="16"/>
                      <a:pt x="33" y="15"/>
                      <a:pt x="33" y="13"/>
                    </a:cubicBezTo>
                    <a:cubicBezTo>
                      <a:pt x="34" y="11"/>
                      <a:pt x="34" y="9"/>
                      <a:pt x="33" y="9"/>
                    </a:cubicBezTo>
                    <a:cubicBezTo>
                      <a:pt x="33" y="8"/>
                      <a:pt x="34" y="0"/>
                      <a:pt x="32" y="4"/>
                    </a:cubicBezTo>
                    <a:cubicBezTo>
                      <a:pt x="32" y="5"/>
                      <a:pt x="30" y="6"/>
                      <a:pt x="30" y="7"/>
                    </a:cubicBezTo>
                    <a:cubicBezTo>
                      <a:pt x="29" y="8"/>
                      <a:pt x="28" y="8"/>
                      <a:pt x="27" y="9"/>
                    </a:cubicBezTo>
                    <a:cubicBezTo>
                      <a:pt x="27" y="10"/>
                      <a:pt x="26" y="11"/>
                      <a:pt x="26" y="12"/>
                    </a:cubicBezTo>
                    <a:cubicBezTo>
                      <a:pt x="26" y="13"/>
                      <a:pt x="27" y="13"/>
                      <a:pt x="27" y="13"/>
                    </a:cubicBezTo>
                    <a:cubicBezTo>
                      <a:pt x="28" y="14"/>
                      <a:pt x="23" y="17"/>
                      <a:pt x="23" y="18"/>
                    </a:cubicBezTo>
                    <a:cubicBezTo>
                      <a:pt x="22" y="19"/>
                      <a:pt x="21" y="20"/>
                      <a:pt x="20" y="21"/>
                    </a:cubicBezTo>
                    <a:cubicBezTo>
                      <a:pt x="19" y="22"/>
                      <a:pt x="18" y="22"/>
                      <a:pt x="17" y="23"/>
                    </a:cubicBezTo>
                    <a:cubicBezTo>
                      <a:pt x="17" y="25"/>
                      <a:pt x="14" y="26"/>
                      <a:pt x="13" y="28"/>
                    </a:cubicBezTo>
                    <a:cubicBezTo>
                      <a:pt x="13" y="29"/>
                      <a:pt x="12" y="31"/>
                      <a:pt x="12" y="32"/>
                    </a:cubicBezTo>
                    <a:cubicBezTo>
                      <a:pt x="11" y="34"/>
                      <a:pt x="11" y="36"/>
                      <a:pt x="10" y="38"/>
                    </a:cubicBezTo>
                    <a:cubicBezTo>
                      <a:pt x="10" y="41"/>
                      <a:pt x="8" y="44"/>
                      <a:pt x="6" y="47"/>
                    </a:cubicBezTo>
                    <a:cubicBezTo>
                      <a:pt x="6" y="48"/>
                      <a:pt x="5" y="50"/>
                      <a:pt x="4" y="51"/>
                    </a:cubicBezTo>
                    <a:cubicBezTo>
                      <a:pt x="3" y="51"/>
                      <a:pt x="2" y="54"/>
                      <a:pt x="2" y="55"/>
                    </a:cubicBezTo>
                    <a:cubicBezTo>
                      <a:pt x="2" y="57"/>
                      <a:pt x="3" y="57"/>
                      <a:pt x="1" y="60"/>
                    </a:cubicBezTo>
                    <a:cubicBezTo>
                      <a:pt x="0" y="63"/>
                      <a:pt x="2" y="64"/>
                      <a:pt x="3" y="6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1" name="Freeform 212"/>
              <p:cNvSpPr>
                <a:spLocks/>
              </p:cNvSpPr>
              <p:nvPr/>
            </p:nvSpPr>
            <p:spPr bwMode="auto">
              <a:xfrm>
                <a:off x="3490913" y="4324350"/>
                <a:ext cx="28575" cy="25400"/>
              </a:xfrm>
              <a:custGeom>
                <a:avLst/>
                <a:gdLst>
                  <a:gd name="T0" fmla="*/ 5 w 39"/>
                  <a:gd name="T1" fmla="*/ 28 h 33"/>
                  <a:gd name="T2" fmla="*/ 11 w 39"/>
                  <a:gd name="T3" fmla="*/ 30 h 33"/>
                  <a:gd name="T4" fmla="*/ 13 w 39"/>
                  <a:gd name="T5" fmla="*/ 33 h 33"/>
                  <a:gd name="T6" fmla="*/ 17 w 39"/>
                  <a:gd name="T7" fmla="*/ 29 h 33"/>
                  <a:gd name="T8" fmla="*/ 24 w 39"/>
                  <a:gd name="T9" fmla="*/ 28 h 33"/>
                  <a:gd name="T10" fmla="*/ 31 w 39"/>
                  <a:gd name="T11" fmla="*/ 21 h 33"/>
                  <a:gd name="T12" fmla="*/ 37 w 39"/>
                  <a:gd name="T13" fmla="*/ 8 h 33"/>
                  <a:gd name="T14" fmla="*/ 39 w 39"/>
                  <a:gd name="T15" fmla="*/ 0 h 33"/>
                  <a:gd name="T16" fmla="*/ 1 w 39"/>
                  <a:gd name="T17" fmla="*/ 18 h 33"/>
                  <a:gd name="T18" fmla="*/ 2 w 39"/>
                  <a:gd name="T19" fmla="*/ 23 h 33"/>
                  <a:gd name="T20" fmla="*/ 0 w 39"/>
                  <a:gd name="T21" fmla="*/ 28 h 33"/>
                  <a:gd name="T22" fmla="*/ 5 w 39"/>
                  <a:gd name="T23"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3">
                    <a:moveTo>
                      <a:pt x="5" y="28"/>
                    </a:moveTo>
                    <a:cubicBezTo>
                      <a:pt x="9" y="25"/>
                      <a:pt x="10" y="27"/>
                      <a:pt x="11" y="30"/>
                    </a:cubicBezTo>
                    <a:cubicBezTo>
                      <a:pt x="12" y="31"/>
                      <a:pt x="12" y="32"/>
                      <a:pt x="13" y="33"/>
                    </a:cubicBezTo>
                    <a:cubicBezTo>
                      <a:pt x="14" y="33"/>
                      <a:pt x="16" y="30"/>
                      <a:pt x="17" y="29"/>
                    </a:cubicBezTo>
                    <a:cubicBezTo>
                      <a:pt x="20" y="25"/>
                      <a:pt x="21" y="30"/>
                      <a:pt x="24" y="28"/>
                    </a:cubicBezTo>
                    <a:cubicBezTo>
                      <a:pt x="26" y="27"/>
                      <a:pt x="29" y="23"/>
                      <a:pt x="31" y="21"/>
                    </a:cubicBezTo>
                    <a:cubicBezTo>
                      <a:pt x="34" y="17"/>
                      <a:pt x="36" y="13"/>
                      <a:pt x="37" y="8"/>
                    </a:cubicBezTo>
                    <a:cubicBezTo>
                      <a:pt x="38" y="6"/>
                      <a:pt x="38" y="3"/>
                      <a:pt x="39" y="0"/>
                    </a:cubicBezTo>
                    <a:cubicBezTo>
                      <a:pt x="26" y="6"/>
                      <a:pt x="14" y="12"/>
                      <a:pt x="1" y="18"/>
                    </a:cubicBezTo>
                    <a:cubicBezTo>
                      <a:pt x="1" y="19"/>
                      <a:pt x="2" y="20"/>
                      <a:pt x="2" y="23"/>
                    </a:cubicBezTo>
                    <a:cubicBezTo>
                      <a:pt x="1" y="24"/>
                      <a:pt x="0" y="27"/>
                      <a:pt x="0" y="28"/>
                    </a:cubicBezTo>
                    <a:cubicBezTo>
                      <a:pt x="1" y="30"/>
                      <a:pt x="4" y="28"/>
                      <a:pt x="5" y="28"/>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2" name="Freeform 213"/>
              <p:cNvSpPr>
                <a:spLocks/>
              </p:cNvSpPr>
              <p:nvPr/>
            </p:nvSpPr>
            <p:spPr bwMode="auto">
              <a:xfrm>
                <a:off x="3459163" y="4395788"/>
                <a:ext cx="7938" cy="7938"/>
              </a:xfrm>
              <a:custGeom>
                <a:avLst/>
                <a:gdLst>
                  <a:gd name="T0" fmla="*/ 4 w 11"/>
                  <a:gd name="T1" fmla="*/ 12 h 12"/>
                  <a:gd name="T2" fmla="*/ 11 w 11"/>
                  <a:gd name="T3" fmla="*/ 1 h 12"/>
                  <a:gd name="T4" fmla="*/ 8 w 11"/>
                  <a:gd name="T5" fmla="*/ 1 h 12"/>
                  <a:gd name="T6" fmla="*/ 4 w 11"/>
                  <a:gd name="T7" fmla="*/ 12 h 12"/>
                </a:gdLst>
                <a:ahLst/>
                <a:cxnLst>
                  <a:cxn ang="0">
                    <a:pos x="T0" y="T1"/>
                  </a:cxn>
                  <a:cxn ang="0">
                    <a:pos x="T2" y="T3"/>
                  </a:cxn>
                  <a:cxn ang="0">
                    <a:pos x="T4" y="T5"/>
                  </a:cxn>
                  <a:cxn ang="0">
                    <a:pos x="T6" y="T7"/>
                  </a:cxn>
                </a:cxnLst>
                <a:rect l="0" t="0" r="r" b="b"/>
                <a:pathLst>
                  <a:path w="11" h="12">
                    <a:moveTo>
                      <a:pt x="4" y="12"/>
                    </a:moveTo>
                    <a:cubicBezTo>
                      <a:pt x="7" y="11"/>
                      <a:pt x="10" y="4"/>
                      <a:pt x="11" y="1"/>
                    </a:cubicBezTo>
                    <a:cubicBezTo>
                      <a:pt x="10" y="0"/>
                      <a:pt x="9" y="0"/>
                      <a:pt x="8" y="1"/>
                    </a:cubicBezTo>
                    <a:cubicBezTo>
                      <a:pt x="7" y="3"/>
                      <a:pt x="0" y="12"/>
                      <a:pt x="4" y="1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3" name="Freeform 214"/>
              <p:cNvSpPr>
                <a:spLocks/>
              </p:cNvSpPr>
              <p:nvPr/>
            </p:nvSpPr>
            <p:spPr bwMode="auto">
              <a:xfrm>
                <a:off x="3459163" y="4371975"/>
                <a:ext cx="7938" cy="9525"/>
              </a:xfrm>
              <a:custGeom>
                <a:avLst/>
                <a:gdLst>
                  <a:gd name="T0" fmla="*/ 6 w 10"/>
                  <a:gd name="T1" fmla="*/ 2 h 13"/>
                  <a:gd name="T2" fmla="*/ 2 w 10"/>
                  <a:gd name="T3" fmla="*/ 5 h 13"/>
                  <a:gd name="T4" fmla="*/ 2 w 10"/>
                  <a:gd name="T5" fmla="*/ 11 h 13"/>
                  <a:gd name="T6" fmla="*/ 6 w 10"/>
                  <a:gd name="T7" fmla="*/ 8 h 13"/>
                  <a:gd name="T8" fmla="*/ 8 w 10"/>
                  <a:gd name="T9" fmla="*/ 0 h 13"/>
                  <a:gd name="T10" fmla="*/ 6 w 10"/>
                  <a:gd name="T11" fmla="*/ 2 h 13"/>
                </a:gdLst>
                <a:ahLst/>
                <a:cxnLst>
                  <a:cxn ang="0">
                    <a:pos x="T0" y="T1"/>
                  </a:cxn>
                  <a:cxn ang="0">
                    <a:pos x="T2" y="T3"/>
                  </a:cxn>
                  <a:cxn ang="0">
                    <a:pos x="T4" y="T5"/>
                  </a:cxn>
                  <a:cxn ang="0">
                    <a:pos x="T6" y="T7"/>
                  </a:cxn>
                  <a:cxn ang="0">
                    <a:pos x="T8" y="T9"/>
                  </a:cxn>
                  <a:cxn ang="0">
                    <a:pos x="T10" y="T11"/>
                  </a:cxn>
                </a:cxnLst>
                <a:rect l="0" t="0" r="r" b="b"/>
                <a:pathLst>
                  <a:path w="10" h="13">
                    <a:moveTo>
                      <a:pt x="6" y="2"/>
                    </a:moveTo>
                    <a:cubicBezTo>
                      <a:pt x="5" y="3"/>
                      <a:pt x="3" y="4"/>
                      <a:pt x="2" y="5"/>
                    </a:cubicBezTo>
                    <a:cubicBezTo>
                      <a:pt x="0" y="8"/>
                      <a:pt x="1" y="10"/>
                      <a:pt x="2" y="11"/>
                    </a:cubicBezTo>
                    <a:cubicBezTo>
                      <a:pt x="4" y="13"/>
                      <a:pt x="5" y="11"/>
                      <a:pt x="6" y="8"/>
                    </a:cubicBezTo>
                    <a:cubicBezTo>
                      <a:pt x="8" y="4"/>
                      <a:pt x="10" y="3"/>
                      <a:pt x="8" y="0"/>
                    </a:cubicBezTo>
                    <a:cubicBezTo>
                      <a:pt x="8" y="1"/>
                      <a:pt x="7" y="1"/>
                      <a:pt x="6"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5" name="Freeform 216"/>
              <p:cNvSpPr>
                <a:spLocks/>
              </p:cNvSpPr>
              <p:nvPr/>
            </p:nvSpPr>
            <p:spPr bwMode="auto">
              <a:xfrm>
                <a:off x="3405188" y="4465638"/>
                <a:ext cx="9525" cy="7938"/>
              </a:xfrm>
              <a:custGeom>
                <a:avLst/>
                <a:gdLst>
                  <a:gd name="T0" fmla="*/ 8 w 12"/>
                  <a:gd name="T1" fmla="*/ 0 h 11"/>
                  <a:gd name="T2" fmla="*/ 3 w 12"/>
                  <a:gd name="T3" fmla="*/ 8 h 11"/>
                  <a:gd name="T4" fmla="*/ 9 w 12"/>
                  <a:gd name="T5" fmla="*/ 9 h 11"/>
                  <a:gd name="T6" fmla="*/ 8 w 12"/>
                  <a:gd name="T7" fmla="*/ 0 h 11"/>
                </a:gdLst>
                <a:ahLst/>
                <a:cxnLst>
                  <a:cxn ang="0">
                    <a:pos x="T0" y="T1"/>
                  </a:cxn>
                  <a:cxn ang="0">
                    <a:pos x="T2" y="T3"/>
                  </a:cxn>
                  <a:cxn ang="0">
                    <a:pos x="T4" y="T5"/>
                  </a:cxn>
                  <a:cxn ang="0">
                    <a:pos x="T6" y="T7"/>
                  </a:cxn>
                </a:cxnLst>
                <a:rect l="0" t="0" r="r" b="b"/>
                <a:pathLst>
                  <a:path w="12" h="11">
                    <a:moveTo>
                      <a:pt x="8" y="0"/>
                    </a:moveTo>
                    <a:cubicBezTo>
                      <a:pt x="6" y="2"/>
                      <a:pt x="0" y="6"/>
                      <a:pt x="3" y="8"/>
                    </a:cubicBezTo>
                    <a:cubicBezTo>
                      <a:pt x="3" y="8"/>
                      <a:pt x="8" y="11"/>
                      <a:pt x="9" y="9"/>
                    </a:cubicBezTo>
                    <a:cubicBezTo>
                      <a:pt x="12" y="5"/>
                      <a:pt x="10" y="1"/>
                      <a:pt x="8"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6" name="Freeform 217"/>
              <p:cNvSpPr>
                <a:spLocks/>
              </p:cNvSpPr>
              <p:nvPr/>
            </p:nvSpPr>
            <p:spPr bwMode="auto">
              <a:xfrm>
                <a:off x="3408363" y="4473575"/>
                <a:ext cx="4763" cy="6350"/>
              </a:xfrm>
              <a:custGeom>
                <a:avLst/>
                <a:gdLst>
                  <a:gd name="T0" fmla="*/ 2 w 5"/>
                  <a:gd name="T1" fmla="*/ 7 h 8"/>
                  <a:gd name="T2" fmla="*/ 4 w 5"/>
                  <a:gd name="T3" fmla="*/ 2 h 8"/>
                  <a:gd name="T4" fmla="*/ 2 w 5"/>
                  <a:gd name="T5" fmla="*/ 7 h 8"/>
                </a:gdLst>
                <a:ahLst/>
                <a:cxnLst>
                  <a:cxn ang="0">
                    <a:pos x="T0" y="T1"/>
                  </a:cxn>
                  <a:cxn ang="0">
                    <a:pos x="T2" y="T3"/>
                  </a:cxn>
                  <a:cxn ang="0">
                    <a:pos x="T4" y="T5"/>
                  </a:cxn>
                </a:cxnLst>
                <a:rect l="0" t="0" r="r" b="b"/>
                <a:pathLst>
                  <a:path w="5" h="8">
                    <a:moveTo>
                      <a:pt x="2" y="7"/>
                    </a:moveTo>
                    <a:cubicBezTo>
                      <a:pt x="4" y="8"/>
                      <a:pt x="5" y="2"/>
                      <a:pt x="4" y="2"/>
                    </a:cubicBezTo>
                    <a:cubicBezTo>
                      <a:pt x="2" y="0"/>
                      <a:pt x="0" y="6"/>
                      <a:pt x="2"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7" name="Freeform 218"/>
              <p:cNvSpPr>
                <a:spLocks/>
              </p:cNvSpPr>
              <p:nvPr/>
            </p:nvSpPr>
            <p:spPr bwMode="auto">
              <a:xfrm>
                <a:off x="3370263" y="4540250"/>
                <a:ext cx="3175" cy="4763"/>
              </a:xfrm>
              <a:custGeom>
                <a:avLst/>
                <a:gdLst>
                  <a:gd name="T0" fmla="*/ 4 w 6"/>
                  <a:gd name="T1" fmla="*/ 1 h 6"/>
                  <a:gd name="T2" fmla="*/ 1 w 6"/>
                  <a:gd name="T3" fmla="*/ 5 h 6"/>
                  <a:gd name="T4" fmla="*/ 4 w 6"/>
                  <a:gd name="T5" fmla="*/ 1 h 6"/>
                </a:gdLst>
                <a:ahLst/>
                <a:cxnLst>
                  <a:cxn ang="0">
                    <a:pos x="T0" y="T1"/>
                  </a:cxn>
                  <a:cxn ang="0">
                    <a:pos x="T2" y="T3"/>
                  </a:cxn>
                  <a:cxn ang="0">
                    <a:pos x="T4" y="T5"/>
                  </a:cxn>
                </a:cxnLst>
                <a:rect l="0" t="0" r="r" b="b"/>
                <a:pathLst>
                  <a:path w="6" h="6">
                    <a:moveTo>
                      <a:pt x="4" y="1"/>
                    </a:moveTo>
                    <a:cubicBezTo>
                      <a:pt x="3" y="0"/>
                      <a:pt x="0" y="4"/>
                      <a:pt x="1" y="5"/>
                    </a:cubicBezTo>
                    <a:cubicBezTo>
                      <a:pt x="3" y="6"/>
                      <a:pt x="6" y="2"/>
                      <a:pt x="4"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8" name="Freeform 219"/>
              <p:cNvSpPr>
                <a:spLocks/>
              </p:cNvSpPr>
              <p:nvPr/>
            </p:nvSpPr>
            <p:spPr bwMode="auto">
              <a:xfrm>
                <a:off x="3414713" y="4465638"/>
                <a:ext cx="4763" cy="4763"/>
              </a:xfrm>
              <a:custGeom>
                <a:avLst/>
                <a:gdLst>
                  <a:gd name="T0" fmla="*/ 6 w 6"/>
                  <a:gd name="T1" fmla="*/ 0 h 6"/>
                  <a:gd name="T2" fmla="*/ 3 w 6"/>
                  <a:gd name="T3" fmla="*/ 0 h 6"/>
                  <a:gd name="T4" fmla="*/ 2 w 6"/>
                  <a:gd name="T5" fmla="*/ 5 h 6"/>
                  <a:gd name="T6" fmla="*/ 6 w 6"/>
                  <a:gd name="T7" fmla="*/ 0 h 6"/>
                </a:gdLst>
                <a:ahLst/>
                <a:cxnLst>
                  <a:cxn ang="0">
                    <a:pos x="T0" y="T1"/>
                  </a:cxn>
                  <a:cxn ang="0">
                    <a:pos x="T2" y="T3"/>
                  </a:cxn>
                  <a:cxn ang="0">
                    <a:pos x="T4" y="T5"/>
                  </a:cxn>
                  <a:cxn ang="0">
                    <a:pos x="T6" y="T7"/>
                  </a:cxn>
                </a:cxnLst>
                <a:rect l="0" t="0" r="r" b="b"/>
                <a:pathLst>
                  <a:path w="6" h="6">
                    <a:moveTo>
                      <a:pt x="6" y="0"/>
                    </a:moveTo>
                    <a:cubicBezTo>
                      <a:pt x="5" y="0"/>
                      <a:pt x="4" y="0"/>
                      <a:pt x="3" y="0"/>
                    </a:cubicBezTo>
                    <a:cubicBezTo>
                      <a:pt x="0" y="1"/>
                      <a:pt x="1" y="4"/>
                      <a:pt x="2" y="5"/>
                    </a:cubicBezTo>
                    <a:cubicBezTo>
                      <a:pt x="4" y="6"/>
                      <a:pt x="6" y="2"/>
                      <a:pt x="6"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09" name="Freeform 220"/>
              <p:cNvSpPr>
                <a:spLocks/>
              </p:cNvSpPr>
              <p:nvPr/>
            </p:nvSpPr>
            <p:spPr bwMode="auto">
              <a:xfrm>
                <a:off x="3405188" y="4478338"/>
                <a:ext cx="1588" cy="3175"/>
              </a:xfrm>
              <a:custGeom>
                <a:avLst/>
                <a:gdLst>
                  <a:gd name="T0" fmla="*/ 1 w 4"/>
                  <a:gd name="T1" fmla="*/ 5 h 5"/>
                  <a:gd name="T2" fmla="*/ 3 w 4"/>
                  <a:gd name="T3" fmla="*/ 3 h 5"/>
                  <a:gd name="T4" fmla="*/ 2 w 4"/>
                  <a:gd name="T5" fmla="*/ 0 h 5"/>
                  <a:gd name="T6" fmla="*/ 1 w 4"/>
                  <a:gd name="T7" fmla="*/ 5 h 5"/>
                </a:gdLst>
                <a:ahLst/>
                <a:cxnLst>
                  <a:cxn ang="0">
                    <a:pos x="T0" y="T1"/>
                  </a:cxn>
                  <a:cxn ang="0">
                    <a:pos x="T2" y="T3"/>
                  </a:cxn>
                  <a:cxn ang="0">
                    <a:pos x="T4" y="T5"/>
                  </a:cxn>
                  <a:cxn ang="0">
                    <a:pos x="T6" y="T7"/>
                  </a:cxn>
                </a:cxnLst>
                <a:rect l="0" t="0" r="r" b="b"/>
                <a:pathLst>
                  <a:path w="4" h="5">
                    <a:moveTo>
                      <a:pt x="1" y="5"/>
                    </a:moveTo>
                    <a:cubicBezTo>
                      <a:pt x="2" y="5"/>
                      <a:pt x="3" y="4"/>
                      <a:pt x="3" y="3"/>
                    </a:cubicBezTo>
                    <a:cubicBezTo>
                      <a:pt x="4" y="2"/>
                      <a:pt x="3" y="1"/>
                      <a:pt x="2" y="0"/>
                    </a:cubicBezTo>
                    <a:cubicBezTo>
                      <a:pt x="0" y="1"/>
                      <a:pt x="0" y="4"/>
                      <a:pt x="1"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0" name="Freeform 221"/>
              <p:cNvSpPr>
                <a:spLocks/>
              </p:cNvSpPr>
              <p:nvPr/>
            </p:nvSpPr>
            <p:spPr bwMode="auto">
              <a:xfrm>
                <a:off x="3575051" y="4332288"/>
                <a:ext cx="6350" cy="3175"/>
              </a:xfrm>
              <a:custGeom>
                <a:avLst/>
                <a:gdLst>
                  <a:gd name="T0" fmla="*/ 5 w 9"/>
                  <a:gd name="T1" fmla="*/ 2 h 5"/>
                  <a:gd name="T2" fmla="*/ 1 w 9"/>
                  <a:gd name="T3" fmla="*/ 2 h 5"/>
                  <a:gd name="T4" fmla="*/ 3 w 9"/>
                  <a:gd name="T5" fmla="*/ 4 h 5"/>
                  <a:gd name="T6" fmla="*/ 6 w 9"/>
                  <a:gd name="T7" fmla="*/ 5 h 5"/>
                  <a:gd name="T8" fmla="*/ 7 w 9"/>
                  <a:gd name="T9" fmla="*/ 4 h 5"/>
                  <a:gd name="T10" fmla="*/ 9 w 9"/>
                  <a:gd name="T11" fmla="*/ 3 h 5"/>
                  <a:gd name="T12" fmla="*/ 5 w 9"/>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9" h="5">
                    <a:moveTo>
                      <a:pt x="5" y="2"/>
                    </a:moveTo>
                    <a:cubicBezTo>
                      <a:pt x="4" y="2"/>
                      <a:pt x="2" y="0"/>
                      <a:pt x="1" y="2"/>
                    </a:cubicBezTo>
                    <a:cubicBezTo>
                      <a:pt x="0" y="4"/>
                      <a:pt x="3" y="4"/>
                      <a:pt x="3" y="4"/>
                    </a:cubicBezTo>
                    <a:cubicBezTo>
                      <a:pt x="4" y="4"/>
                      <a:pt x="5" y="5"/>
                      <a:pt x="6" y="5"/>
                    </a:cubicBezTo>
                    <a:cubicBezTo>
                      <a:pt x="6" y="5"/>
                      <a:pt x="7" y="5"/>
                      <a:pt x="7" y="4"/>
                    </a:cubicBezTo>
                    <a:cubicBezTo>
                      <a:pt x="8" y="4"/>
                      <a:pt x="8" y="3"/>
                      <a:pt x="9" y="3"/>
                    </a:cubicBezTo>
                    <a:cubicBezTo>
                      <a:pt x="9" y="0"/>
                      <a:pt x="5" y="2"/>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1" name="Freeform 222"/>
              <p:cNvSpPr>
                <a:spLocks/>
              </p:cNvSpPr>
              <p:nvPr/>
            </p:nvSpPr>
            <p:spPr bwMode="auto">
              <a:xfrm>
                <a:off x="3567113" y="4278313"/>
                <a:ext cx="25400" cy="50800"/>
              </a:xfrm>
              <a:custGeom>
                <a:avLst/>
                <a:gdLst>
                  <a:gd name="T0" fmla="*/ 33 w 34"/>
                  <a:gd name="T1" fmla="*/ 4 h 69"/>
                  <a:gd name="T2" fmla="*/ 34 w 34"/>
                  <a:gd name="T3" fmla="*/ 0 h 69"/>
                  <a:gd name="T4" fmla="*/ 1 w 34"/>
                  <a:gd name="T5" fmla="*/ 24 h 69"/>
                  <a:gd name="T6" fmla="*/ 1 w 34"/>
                  <a:gd name="T7" fmla="*/ 24 h 69"/>
                  <a:gd name="T8" fmla="*/ 4 w 34"/>
                  <a:gd name="T9" fmla="*/ 31 h 69"/>
                  <a:gd name="T10" fmla="*/ 4 w 34"/>
                  <a:gd name="T11" fmla="*/ 36 h 69"/>
                  <a:gd name="T12" fmla="*/ 3 w 34"/>
                  <a:gd name="T13" fmla="*/ 43 h 69"/>
                  <a:gd name="T14" fmla="*/ 2 w 34"/>
                  <a:gd name="T15" fmla="*/ 56 h 69"/>
                  <a:gd name="T16" fmla="*/ 5 w 34"/>
                  <a:gd name="T17" fmla="*/ 58 h 69"/>
                  <a:gd name="T18" fmla="*/ 6 w 34"/>
                  <a:gd name="T19" fmla="*/ 60 h 69"/>
                  <a:gd name="T20" fmla="*/ 6 w 34"/>
                  <a:gd name="T21" fmla="*/ 67 h 69"/>
                  <a:gd name="T22" fmla="*/ 11 w 34"/>
                  <a:gd name="T23" fmla="*/ 66 h 69"/>
                  <a:gd name="T24" fmla="*/ 13 w 34"/>
                  <a:gd name="T25" fmla="*/ 61 h 69"/>
                  <a:gd name="T26" fmla="*/ 16 w 34"/>
                  <a:gd name="T27" fmla="*/ 61 h 69"/>
                  <a:gd name="T28" fmla="*/ 16 w 34"/>
                  <a:gd name="T29" fmla="*/ 55 h 69"/>
                  <a:gd name="T30" fmla="*/ 15 w 34"/>
                  <a:gd name="T31" fmla="*/ 55 h 69"/>
                  <a:gd name="T32" fmla="*/ 14 w 34"/>
                  <a:gd name="T33" fmla="*/ 52 h 69"/>
                  <a:gd name="T34" fmla="*/ 14 w 34"/>
                  <a:gd name="T35" fmla="*/ 48 h 69"/>
                  <a:gd name="T36" fmla="*/ 13 w 34"/>
                  <a:gd name="T37" fmla="*/ 45 h 69"/>
                  <a:gd name="T38" fmla="*/ 15 w 34"/>
                  <a:gd name="T39" fmla="*/ 43 h 69"/>
                  <a:gd name="T40" fmla="*/ 17 w 34"/>
                  <a:gd name="T41" fmla="*/ 38 h 69"/>
                  <a:gd name="T42" fmla="*/ 21 w 34"/>
                  <a:gd name="T43" fmla="*/ 34 h 69"/>
                  <a:gd name="T44" fmla="*/ 24 w 34"/>
                  <a:gd name="T45" fmla="*/ 32 h 69"/>
                  <a:gd name="T46" fmla="*/ 27 w 34"/>
                  <a:gd name="T47" fmla="*/ 30 h 69"/>
                  <a:gd name="T48" fmla="*/ 30 w 34"/>
                  <a:gd name="T49" fmla="*/ 25 h 69"/>
                  <a:gd name="T50" fmla="*/ 29 w 34"/>
                  <a:gd name="T51" fmla="*/ 19 h 69"/>
                  <a:gd name="T52" fmla="*/ 30 w 34"/>
                  <a:gd name="T53" fmla="*/ 14 h 69"/>
                  <a:gd name="T54" fmla="*/ 33 w 34"/>
                  <a:gd name="T55" fmla="*/ 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69">
                    <a:moveTo>
                      <a:pt x="33" y="4"/>
                    </a:moveTo>
                    <a:cubicBezTo>
                      <a:pt x="33" y="3"/>
                      <a:pt x="34" y="1"/>
                      <a:pt x="34" y="0"/>
                    </a:cubicBezTo>
                    <a:cubicBezTo>
                      <a:pt x="23" y="8"/>
                      <a:pt x="12" y="16"/>
                      <a:pt x="1" y="24"/>
                    </a:cubicBezTo>
                    <a:cubicBezTo>
                      <a:pt x="1" y="24"/>
                      <a:pt x="1" y="24"/>
                      <a:pt x="1" y="24"/>
                    </a:cubicBezTo>
                    <a:cubicBezTo>
                      <a:pt x="2" y="26"/>
                      <a:pt x="4" y="27"/>
                      <a:pt x="4" y="31"/>
                    </a:cubicBezTo>
                    <a:cubicBezTo>
                      <a:pt x="5" y="33"/>
                      <a:pt x="4" y="34"/>
                      <a:pt x="4" y="36"/>
                    </a:cubicBezTo>
                    <a:cubicBezTo>
                      <a:pt x="3" y="38"/>
                      <a:pt x="4" y="40"/>
                      <a:pt x="3" y="43"/>
                    </a:cubicBezTo>
                    <a:cubicBezTo>
                      <a:pt x="3" y="47"/>
                      <a:pt x="0" y="53"/>
                      <a:pt x="2" y="56"/>
                    </a:cubicBezTo>
                    <a:cubicBezTo>
                      <a:pt x="2" y="58"/>
                      <a:pt x="4" y="58"/>
                      <a:pt x="5" y="58"/>
                    </a:cubicBezTo>
                    <a:cubicBezTo>
                      <a:pt x="6" y="58"/>
                      <a:pt x="6" y="59"/>
                      <a:pt x="6" y="60"/>
                    </a:cubicBezTo>
                    <a:cubicBezTo>
                      <a:pt x="6" y="62"/>
                      <a:pt x="6" y="66"/>
                      <a:pt x="6" y="67"/>
                    </a:cubicBezTo>
                    <a:cubicBezTo>
                      <a:pt x="7" y="68"/>
                      <a:pt x="10" y="69"/>
                      <a:pt x="11" y="66"/>
                    </a:cubicBezTo>
                    <a:cubicBezTo>
                      <a:pt x="12" y="64"/>
                      <a:pt x="12" y="62"/>
                      <a:pt x="13" y="61"/>
                    </a:cubicBezTo>
                    <a:cubicBezTo>
                      <a:pt x="14" y="60"/>
                      <a:pt x="15" y="61"/>
                      <a:pt x="16" y="61"/>
                    </a:cubicBezTo>
                    <a:cubicBezTo>
                      <a:pt x="17" y="60"/>
                      <a:pt x="17" y="56"/>
                      <a:pt x="16" y="55"/>
                    </a:cubicBezTo>
                    <a:cubicBezTo>
                      <a:pt x="16" y="55"/>
                      <a:pt x="15" y="55"/>
                      <a:pt x="15" y="55"/>
                    </a:cubicBezTo>
                    <a:cubicBezTo>
                      <a:pt x="14" y="54"/>
                      <a:pt x="14" y="53"/>
                      <a:pt x="14" y="52"/>
                    </a:cubicBezTo>
                    <a:cubicBezTo>
                      <a:pt x="14" y="51"/>
                      <a:pt x="14" y="49"/>
                      <a:pt x="14" y="48"/>
                    </a:cubicBezTo>
                    <a:cubicBezTo>
                      <a:pt x="14" y="47"/>
                      <a:pt x="13" y="47"/>
                      <a:pt x="13" y="45"/>
                    </a:cubicBezTo>
                    <a:cubicBezTo>
                      <a:pt x="13" y="44"/>
                      <a:pt x="14" y="43"/>
                      <a:pt x="15" y="43"/>
                    </a:cubicBezTo>
                    <a:cubicBezTo>
                      <a:pt x="16" y="42"/>
                      <a:pt x="16" y="40"/>
                      <a:pt x="17" y="38"/>
                    </a:cubicBezTo>
                    <a:cubicBezTo>
                      <a:pt x="18" y="35"/>
                      <a:pt x="19" y="33"/>
                      <a:pt x="21" y="34"/>
                    </a:cubicBezTo>
                    <a:cubicBezTo>
                      <a:pt x="22" y="34"/>
                      <a:pt x="23" y="34"/>
                      <a:pt x="24" y="32"/>
                    </a:cubicBezTo>
                    <a:cubicBezTo>
                      <a:pt x="25" y="31"/>
                      <a:pt x="26" y="31"/>
                      <a:pt x="27" y="30"/>
                    </a:cubicBezTo>
                    <a:cubicBezTo>
                      <a:pt x="29" y="30"/>
                      <a:pt x="29" y="28"/>
                      <a:pt x="30" y="25"/>
                    </a:cubicBezTo>
                    <a:cubicBezTo>
                      <a:pt x="30" y="22"/>
                      <a:pt x="29" y="21"/>
                      <a:pt x="29" y="19"/>
                    </a:cubicBezTo>
                    <a:cubicBezTo>
                      <a:pt x="29" y="17"/>
                      <a:pt x="30" y="16"/>
                      <a:pt x="30" y="14"/>
                    </a:cubicBezTo>
                    <a:cubicBezTo>
                      <a:pt x="32" y="11"/>
                      <a:pt x="32" y="7"/>
                      <a:pt x="3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2" name="Freeform 223"/>
              <p:cNvSpPr>
                <a:spLocks/>
              </p:cNvSpPr>
              <p:nvPr/>
            </p:nvSpPr>
            <p:spPr bwMode="auto">
              <a:xfrm>
                <a:off x="2660651" y="4232275"/>
                <a:ext cx="1588" cy="1588"/>
              </a:xfrm>
              <a:custGeom>
                <a:avLst/>
                <a:gdLst>
                  <a:gd name="T0" fmla="*/ 0 w 1"/>
                  <a:gd name="T1" fmla="*/ 0 h 2"/>
                  <a:gd name="T2" fmla="*/ 0 w 1"/>
                  <a:gd name="T3" fmla="*/ 0 h 2"/>
                  <a:gd name="T4" fmla="*/ 0 w 1"/>
                  <a:gd name="T5" fmla="*/ 2 h 2"/>
                  <a:gd name="T6" fmla="*/ 0 w 1"/>
                  <a:gd name="T7" fmla="*/ 0 h 2"/>
                </a:gdLst>
                <a:ahLst/>
                <a:cxnLst>
                  <a:cxn ang="0">
                    <a:pos x="T0" y="T1"/>
                  </a:cxn>
                  <a:cxn ang="0">
                    <a:pos x="T2" y="T3"/>
                  </a:cxn>
                  <a:cxn ang="0">
                    <a:pos x="T4" y="T5"/>
                  </a:cxn>
                  <a:cxn ang="0">
                    <a:pos x="T6" y="T7"/>
                  </a:cxn>
                </a:cxnLst>
                <a:rect l="0" t="0" r="r" b="b"/>
                <a:pathLst>
                  <a:path w="1" h="2">
                    <a:moveTo>
                      <a:pt x="0" y="0"/>
                    </a:moveTo>
                    <a:cubicBezTo>
                      <a:pt x="0" y="0"/>
                      <a:pt x="0" y="0"/>
                      <a:pt x="0" y="0"/>
                    </a:cubicBezTo>
                    <a:cubicBezTo>
                      <a:pt x="0" y="1"/>
                      <a:pt x="0" y="2"/>
                      <a:pt x="0" y="2"/>
                    </a:cubicBezTo>
                    <a:cubicBezTo>
                      <a:pt x="0" y="2"/>
                      <a:pt x="1" y="0"/>
                      <a:pt x="0"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3" name="Freeform 224"/>
              <p:cNvSpPr>
                <a:spLocks/>
              </p:cNvSpPr>
              <p:nvPr/>
            </p:nvSpPr>
            <p:spPr bwMode="auto">
              <a:xfrm>
                <a:off x="3598863" y="4268788"/>
                <a:ext cx="6350" cy="11113"/>
              </a:xfrm>
              <a:custGeom>
                <a:avLst/>
                <a:gdLst>
                  <a:gd name="T0" fmla="*/ 8 w 9"/>
                  <a:gd name="T1" fmla="*/ 0 h 14"/>
                  <a:gd name="T2" fmla="*/ 1 w 9"/>
                  <a:gd name="T3" fmla="*/ 5 h 14"/>
                  <a:gd name="T4" fmla="*/ 1 w 9"/>
                  <a:gd name="T5" fmla="*/ 7 h 14"/>
                  <a:gd name="T6" fmla="*/ 3 w 9"/>
                  <a:gd name="T7" fmla="*/ 8 h 14"/>
                  <a:gd name="T8" fmla="*/ 4 w 9"/>
                  <a:gd name="T9" fmla="*/ 13 h 14"/>
                  <a:gd name="T10" fmla="*/ 5 w 9"/>
                  <a:gd name="T11" fmla="*/ 12 h 14"/>
                  <a:gd name="T12" fmla="*/ 7 w 9"/>
                  <a:gd name="T13" fmla="*/ 9 h 14"/>
                  <a:gd name="T14" fmla="*/ 7 w 9"/>
                  <a:gd name="T15" fmla="*/ 1 h 14"/>
                  <a:gd name="T16" fmla="*/ 8 w 9"/>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4">
                    <a:moveTo>
                      <a:pt x="8" y="0"/>
                    </a:moveTo>
                    <a:cubicBezTo>
                      <a:pt x="6" y="1"/>
                      <a:pt x="3" y="3"/>
                      <a:pt x="1" y="5"/>
                    </a:cubicBezTo>
                    <a:cubicBezTo>
                      <a:pt x="1" y="6"/>
                      <a:pt x="0" y="6"/>
                      <a:pt x="1" y="7"/>
                    </a:cubicBezTo>
                    <a:cubicBezTo>
                      <a:pt x="1" y="7"/>
                      <a:pt x="2" y="7"/>
                      <a:pt x="3" y="8"/>
                    </a:cubicBezTo>
                    <a:cubicBezTo>
                      <a:pt x="3" y="9"/>
                      <a:pt x="3" y="12"/>
                      <a:pt x="4" y="13"/>
                    </a:cubicBezTo>
                    <a:cubicBezTo>
                      <a:pt x="4" y="14"/>
                      <a:pt x="5" y="14"/>
                      <a:pt x="5" y="12"/>
                    </a:cubicBezTo>
                    <a:cubicBezTo>
                      <a:pt x="5" y="11"/>
                      <a:pt x="6" y="10"/>
                      <a:pt x="7" y="9"/>
                    </a:cubicBezTo>
                    <a:cubicBezTo>
                      <a:pt x="9" y="6"/>
                      <a:pt x="7" y="4"/>
                      <a:pt x="7" y="1"/>
                    </a:cubicBezTo>
                    <a:cubicBezTo>
                      <a:pt x="7" y="2"/>
                      <a:pt x="8" y="1"/>
                      <a:pt x="8"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4" name="Freeform 225"/>
              <p:cNvSpPr>
                <a:spLocks/>
              </p:cNvSpPr>
              <p:nvPr/>
            </p:nvSpPr>
            <p:spPr bwMode="auto">
              <a:xfrm>
                <a:off x="3551238" y="4324350"/>
                <a:ext cx="6350" cy="7938"/>
              </a:xfrm>
              <a:custGeom>
                <a:avLst/>
                <a:gdLst>
                  <a:gd name="T0" fmla="*/ 0 w 9"/>
                  <a:gd name="T1" fmla="*/ 2 h 10"/>
                  <a:gd name="T2" fmla="*/ 2 w 9"/>
                  <a:gd name="T3" fmla="*/ 6 h 10"/>
                  <a:gd name="T4" fmla="*/ 4 w 9"/>
                  <a:gd name="T5" fmla="*/ 9 h 10"/>
                  <a:gd name="T6" fmla="*/ 7 w 9"/>
                  <a:gd name="T7" fmla="*/ 10 h 10"/>
                  <a:gd name="T8" fmla="*/ 9 w 9"/>
                  <a:gd name="T9" fmla="*/ 7 h 10"/>
                  <a:gd name="T10" fmla="*/ 7 w 9"/>
                  <a:gd name="T11" fmla="*/ 3 h 10"/>
                  <a:gd name="T12" fmla="*/ 6 w 9"/>
                  <a:gd name="T13" fmla="*/ 2 h 10"/>
                  <a:gd name="T14" fmla="*/ 3 w 9"/>
                  <a:gd name="T15" fmla="*/ 0 h 10"/>
                  <a:gd name="T16" fmla="*/ 0 w 9"/>
                  <a:gd name="T1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0" y="2"/>
                    </a:moveTo>
                    <a:cubicBezTo>
                      <a:pt x="0" y="4"/>
                      <a:pt x="1" y="5"/>
                      <a:pt x="2" y="6"/>
                    </a:cubicBezTo>
                    <a:cubicBezTo>
                      <a:pt x="3" y="7"/>
                      <a:pt x="3" y="9"/>
                      <a:pt x="4" y="9"/>
                    </a:cubicBezTo>
                    <a:cubicBezTo>
                      <a:pt x="6" y="9"/>
                      <a:pt x="6" y="10"/>
                      <a:pt x="7" y="10"/>
                    </a:cubicBezTo>
                    <a:cubicBezTo>
                      <a:pt x="9" y="10"/>
                      <a:pt x="9" y="8"/>
                      <a:pt x="9" y="7"/>
                    </a:cubicBezTo>
                    <a:cubicBezTo>
                      <a:pt x="9" y="5"/>
                      <a:pt x="7" y="5"/>
                      <a:pt x="7" y="3"/>
                    </a:cubicBezTo>
                    <a:cubicBezTo>
                      <a:pt x="7" y="3"/>
                      <a:pt x="6" y="2"/>
                      <a:pt x="6" y="2"/>
                    </a:cubicBezTo>
                    <a:cubicBezTo>
                      <a:pt x="5" y="1"/>
                      <a:pt x="4" y="0"/>
                      <a:pt x="3" y="0"/>
                    </a:cubicBezTo>
                    <a:cubicBezTo>
                      <a:pt x="2" y="0"/>
                      <a:pt x="1" y="0"/>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5" name="Freeform 226"/>
              <p:cNvSpPr>
                <a:spLocks/>
              </p:cNvSpPr>
              <p:nvPr/>
            </p:nvSpPr>
            <p:spPr bwMode="auto">
              <a:xfrm>
                <a:off x="3554413" y="4300538"/>
                <a:ext cx="12700" cy="25400"/>
              </a:xfrm>
              <a:custGeom>
                <a:avLst/>
                <a:gdLst>
                  <a:gd name="T0" fmla="*/ 15 w 18"/>
                  <a:gd name="T1" fmla="*/ 11 h 33"/>
                  <a:gd name="T2" fmla="*/ 18 w 18"/>
                  <a:gd name="T3" fmla="*/ 16 h 33"/>
                  <a:gd name="T4" fmla="*/ 16 w 18"/>
                  <a:gd name="T5" fmla="*/ 7 h 33"/>
                  <a:gd name="T6" fmla="*/ 13 w 18"/>
                  <a:gd name="T7" fmla="*/ 3 h 33"/>
                  <a:gd name="T8" fmla="*/ 10 w 18"/>
                  <a:gd name="T9" fmla="*/ 1 h 33"/>
                  <a:gd name="T10" fmla="*/ 9 w 18"/>
                  <a:gd name="T11" fmla="*/ 0 h 33"/>
                  <a:gd name="T12" fmla="*/ 0 w 18"/>
                  <a:gd name="T13" fmla="*/ 5 h 33"/>
                  <a:gd name="T14" fmla="*/ 0 w 18"/>
                  <a:gd name="T15" fmla="*/ 6 h 33"/>
                  <a:gd name="T16" fmla="*/ 4 w 18"/>
                  <a:gd name="T17" fmla="*/ 7 h 33"/>
                  <a:gd name="T18" fmla="*/ 6 w 18"/>
                  <a:gd name="T19" fmla="*/ 11 h 33"/>
                  <a:gd name="T20" fmla="*/ 9 w 18"/>
                  <a:gd name="T21" fmla="*/ 19 h 33"/>
                  <a:gd name="T22" fmla="*/ 9 w 18"/>
                  <a:gd name="T23" fmla="*/ 24 h 33"/>
                  <a:gd name="T24" fmla="*/ 7 w 18"/>
                  <a:gd name="T25" fmla="*/ 29 h 33"/>
                  <a:gd name="T26" fmla="*/ 11 w 18"/>
                  <a:gd name="T27" fmla="*/ 29 h 33"/>
                  <a:gd name="T28" fmla="*/ 13 w 18"/>
                  <a:gd name="T29" fmla="*/ 20 h 33"/>
                  <a:gd name="T30" fmla="*/ 13 w 18"/>
                  <a:gd name="T31" fmla="*/ 14 h 33"/>
                  <a:gd name="T32" fmla="*/ 15 w 18"/>
                  <a:gd name="T33"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33">
                    <a:moveTo>
                      <a:pt x="15" y="11"/>
                    </a:moveTo>
                    <a:cubicBezTo>
                      <a:pt x="16" y="12"/>
                      <a:pt x="17" y="17"/>
                      <a:pt x="18" y="16"/>
                    </a:cubicBezTo>
                    <a:cubicBezTo>
                      <a:pt x="18" y="12"/>
                      <a:pt x="18" y="7"/>
                      <a:pt x="16" y="7"/>
                    </a:cubicBezTo>
                    <a:cubicBezTo>
                      <a:pt x="15" y="6"/>
                      <a:pt x="14" y="5"/>
                      <a:pt x="13" y="3"/>
                    </a:cubicBezTo>
                    <a:cubicBezTo>
                      <a:pt x="13" y="2"/>
                      <a:pt x="11" y="1"/>
                      <a:pt x="10" y="1"/>
                    </a:cubicBezTo>
                    <a:cubicBezTo>
                      <a:pt x="10" y="0"/>
                      <a:pt x="9" y="0"/>
                      <a:pt x="9" y="0"/>
                    </a:cubicBezTo>
                    <a:cubicBezTo>
                      <a:pt x="6" y="1"/>
                      <a:pt x="3" y="3"/>
                      <a:pt x="0" y="5"/>
                    </a:cubicBezTo>
                    <a:cubicBezTo>
                      <a:pt x="0" y="5"/>
                      <a:pt x="0" y="6"/>
                      <a:pt x="0" y="6"/>
                    </a:cubicBezTo>
                    <a:cubicBezTo>
                      <a:pt x="1" y="6"/>
                      <a:pt x="3" y="6"/>
                      <a:pt x="4" y="7"/>
                    </a:cubicBezTo>
                    <a:cubicBezTo>
                      <a:pt x="5" y="8"/>
                      <a:pt x="5" y="10"/>
                      <a:pt x="6" y="11"/>
                    </a:cubicBezTo>
                    <a:cubicBezTo>
                      <a:pt x="7" y="13"/>
                      <a:pt x="9" y="15"/>
                      <a:pt x="9" y="19"/>
                    </a:cubicBezTo>
                    <a:cubicBezTo>
                      <a:pt x="9" y="20"/>
                      <a:pt x="9" y="23"/>
                      <a:pt x="9" y="24"/>
                    </a:cubicBezTo>
                    <a:cubicBezTo>
                      <a:pt x="9" y="26"/>
                      <a:pt x="8" y="28"/>
                      <a:pt x="7" y="29"/>
                    </a:cubicBezTo>
                    <a:cubicBezTo>
                      <a:pt x="7" y="33"/>
                      <a:pt x="10" y="30"/>
                      <a:pt x="11" y="29"/>
                    </a:cubicBezTo>
                    <a:cubicBezTo>
                      <a:pt x="12" y="26"/>
                      <a:pt x="14" y="22"/>
                      <a:pt x="13" y="20"/>
                    </a:cubicBezTo>
                    <a:cubicBezTo>
                      <a:pt x="12" y="18"/>
                      <a:pt x="12" y="17"/>
                      <a:pt x="13" y="14"/>
                    </a:cubicBezTo>
                    <a:cubicBezTo>
                      <a:pt x="13" y="13"/>
                      <a:pt x="14" y="10"/>
                      <a:pt x="15" y="1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6" name="Freeform 227"/>
              <p:cNvSpPr>
                <a:spLocks/>
              </p:cNvSpPr>
              <p:nvPr/>
            </p:nvSpPr>
            <p:spPr bwMode="auto">
              <a:xfrm>
                <a:off x="3525838" y="4319588"/>
                <a:ext cx="3175" cy="4763"/>
              </a:xfrm>
              <a:custGeom>
                <a:avLst/>
                <a:gdLst>
                  <a:gd name="T0" fmla="*/ 3 w 5"/>
                  <a:gd name="T1" fmla="*/ 5 h 6"/>
                  <a:gd name="T2" fmla="*/ 3 w 5"/>
                  <a:gd name="T3" fmla="*/ 0 h 6"/>
                  <a:gd name="T4" fmla="*/ 1 w 5"/>
                  <a:gd name="T5" fmla="*/ 1 h 6"/>
                  <a:gd name="T6" fmla="*/ 1 w 5"/>
                  <a:gd name="T7" fmla="*/ 4 h 6"/>
                  <a:gd name="T8" fmla="*/ 3 w 5"/>
                  <a:gd name="T9" fmla="*/ 5 h 6"/>
                </a:gdLst>
                <a:ahLst/>
                <a:cxnLst>
                  <a:cxn ang="0">
                    <a:pos x="T0" y="T1"/>
                  </a:cxn>
                  <a:cxn ang="0">
                    <a:pos x="T2" y="T3"/>
                  </a:cxn>
                  <a:cxn ang="0">
                    <a:pos x="T4" y="T5"/>
                  </a:cxn>
                  <a:cxn ang="0">
                    <a:pos x="T6" y="T7"/>
                  </a:cxn>
                  <a:cxn ang="0">
                    <a:pos x="T8" y="T9"/>
                  </a:cxn>
                </a:cxnLst>
                <a:rect l="0" t="0" r="r" b="b"/>
                <a:pathLst>
                  <a:path w="5" h="6">
                    <a:moveTo>
                      <a:pt x="3" y="5"/>
                    </a:moveTo>
                    <a:cubicBezTo>
                      <a:pt x="5" y="4"/>
                      <a:pt x="4" y="1"/>
                      <a:pt x="3" y="0"/>
                    </a:cubicBezTo>
                    <a:cubicBezTo>
                      <a:pt x="3" y="1"/>
                      <a:pt x="2" y="1"/>
                      <a:pt x="1" y="1"/>
                    </a:cubicBezTo>
                    <a:cubicBezTo>
                      <a:pt x="1" y="2"/>
                      <a:pt x="0" y="3"/>
                      <a:pt x="1" y="4"/>
                    </a:cubicBezTo>
                    <a:cubicBezTo>
                      <a:pt x="1" y="5"/>
                      <a:pt x="2" y="6"/>
                      <a:pt x="3" y="5"/>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7" name="Freeform 228"/>
              <p:cNvSpPr>
                <a:spLocks/>
              </p:cNvSpPr>
              <p:nvPr/>
            </p:nvSpPr>
            <p:spPr bwMode="auto">
              <a:xfrm>
                <a:off x="3522663" y="4325938"/>
                <a:ext cx="1588" cy="1588"/>
              </a:xfrm>
              <a:custGeom>
                <a:avLst/>
                <a:gdLst>
                  <a:gd name="T0" fmla="*/ 1 w 2"/>
                  <a:gd name="T1" fmla="*/ 0 h 3"/>
                  <a:gd name="T2" fmla="*/ 1 w 2"/>
                  <a:gd name="T3" fmla="*/ 2 h 3"/>
                  <a:gd name="T4" fmla="*/ 1 w 2"/>
                  <a:gd name="T5" fmla="*/ 0 h 3"/>
                </a:gdLst>
                <a:ahLst/>
                <a:cxnLst>
                  <a:cxn ang="0">
                    <a:pos x="T0" y="T1"/>
                  </a:cxn>
                  <a:cxn ang="0">
                    <a:pos x="T2" y="T3"/>
                  </a:cxn>
                  <a:cxn ang="0">
                    <a:pos x="T4" y="T5"/>
                  </a:cxn>
                </a:cxnLst>
                <a:rect l="0" t="0" r="r" b="b"/>
                <a:pathLst>
                  <a:path w="2" h="3">
                    <a:moveTo>
                      <a:pt x="1" y="0"/>
                    </a:moveTo>
                    <a:cubicBezTo>
                      <a:pt x="0" y="0"/>
                      <a:pt x="0" y="3"/>
                      <a:pt x="1" y="2"/>
                    </a:cubicBezTo>
                    <a:cubicBezTo>
                      <a:pt x="1" y="2"/>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8" name="Freeform 229"/>
              <p:cNvSpPr>
                <a:spLocks/>
              </p:cNvSpPr>
              <p:nvPr/>
            </p:nvSpPr>
            <p:spPr bwMode="auto">
              <a:xfrm>
                <a:off x="3529013" y="4318000"/>
                <a:ext cx="3175" cy="4763"/>
              </a:xfrm>
              <a:custGeom>
                <a:avLst/>
                <a:gdLst>
                  <a:gd name="T0" fmla="*/ 3 w 3"/>
                  <a:gd name="T1" fmla="*/ 0 h 5"/>
                  <a:gd name="T2" fmla="*/ 3 w 3"/>
                  <a:gd name="T3" fmla="*/ 0 h 5"/>
                  <a:gd name="T4" fmla="*/ 1 w 3"/>
                  <a:gd name="T5" fmla="*/ 1 h 5"/>
                  <a:gd name="T6" fmla="*/ 1 w 3"/>
                  <a:gd name="T7" fmla="*/ 3 h 5"/>
                  <a:gd name="T8" fmla="*/ 3 w 3"/>
                  <a:gd name="T9" fmla="*/ 0 h 5"/>
                </a:gdLst>
                <a:ahLst/>
                <a:cxnLst>
                  <a:cxn ang="0">
                    <a:pos x="T0" y="T1"/>
                  </a:cxn>
                  <a:cxn ang="0">
                    <a:pos x="T2" y="T3"/>
                  </a:cxn>
                  <a:cxn ang="0">
                    <a:pos x="T4" y="T5"/>
                  </a:cxn>
                  <a:cxn ang="0">
                    <a:pos x="T6" y="T7"/>
                  </a:cxn>
                  <a:cxn ang="0">
                    <a:pos x="T8" y="T9"/>
                  </a:cxn>
                </a:cxnLst>
                <a:rect l="0" t="0" r="r" b="b"/>
                <a:pathLst>
                  <a:path w="3" h="5">
                    <a:moveTo>
                      <a:pt x="3" y="0"/>
                    </a:moveTo>
                    <a:cubicBezTo>
                      <a:pt x="3" y="0"/>
                      <a:pt x="3" y="0"/>
                      <a:pt x="3" y="0"/>
                    </a:cubicBezTo>
                    <a:cubicBezTo>
                      <a:pt x="2" y="0"/>
                      <a:pt x="1" y="0"/>
                      <a:pt x="1" y="1"/>
                    </a:cubicBezTo>
                    <a:cubicBezTo>
                      <a:pt x="0" y="1"/>
                      <a:pt x="1" y="2"/>
                      <a:pt x="1" y="3"/>
                    </a:cubicBezTo>
                    <a:cubicBezTo>
                      <a:pt x="1" y="5"/>
                      <a:pt x="3" y="2"/>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19" name="Freeform 230"/>
              <p:cNvSpPr>
                <a:spLocks/>
              </p:cNvSpPr>
              <p:nvPr/>
            </p:nvSpPr>
            <p:spPr bwMode="auto">
              <a:xfrm>
                <a:off x="3541713" y="4310063"/>
                <a:ext cx="4763" cy="15875"/>
              </a:xfrm>
              <a:custGeom>
                <a:avLst/>
                <a:gdLst>
                  <a:gd name="T0" fmla="*/ 0 w 7"/>
                  <a:gd name="T1" fmla="*/ 19 h 21"/>
                  <a:gd name="T2" fmla="*/ 3 w 7"/>
                  <a:gd name="T3" fmla="*/ 17 h 21"/>
                  <a:gd name="T4" fmla="*/ 6 w 7"/>
                  <a:gd name="T5" fmla="*/ 11 h 21"/>
                  <a:gd name="T6" fmla="*/ 6 w 7"/>
                  <a:gd name="T7" fmla="*/ 7 h 21"/>
                  <a:gd name="T8" fmla="*/ 6 w 7"/>
                  <a:gd name="T9" fmla="*/ 3 h 21"/>
                  <a:gd name="T10" fmla="*/ 5 w 7"/>
                  <a:gd name="T11" fmla="*/ 0 h 21"/>
                  <a:gd name="T12" fmla="*/ 1 w 7"/>
                  <a:gd name="T13" fmla="*/ 3 h 21"/>
                  <a:gd name="T14" fmla="*/ 1 w 7"/>
                  <a:gd name="T15" fmla="*/ 6 h 21"/>
                  <a:gd name="T16" fmla="*/ 1 w 7"/>
                  <a:gd name="T17" fmla="*/ 12 h 21"/>
                  <a:gd name="T18" fmla="*/ 0 w 7"/>
                  <a:gd name="T19"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1">
                    <a:moveTo>
                      <a:pt x="0" y="19"/>
                    </a:moveTo>
                    <a:cubicBezTo>
                      <a:pt x="1" y="21"/>
                      <a:pt x="2" y="19"/>
                      <a:pt x="3" y="17"/>
                    </a:cubicBezTo>
                    <a:cubicBezTo>
                      <a:pt x="4" y="15"/>
                      <a:pt x="5" y="13"/>
                      <a:pt x="6" y="11"/>
                    </a:cubicBezTo>
                    <a:cubicBezTo>
                      <a:pt x="6" y="10"/>
                      <a:pt x="6" y="8"/>
                      <a:pt x="6" y="7"/>
                    </a:cubicBezTo>
                    <a:cubicBezTo>
                      <a:pt x="6" y="5"/>
                      <a:pt x="7" y="4"/>
                      <a:pt x="6" y="3"/>
                    </a:cubicBezTo>
                    <a:cubicBezTo>
                      <a:pt x="6" y="2"/>
                      <a:pt x="6" y="1"/>
                      <a:pt x="5" y="0"/>
                    </a:cubicBezTo>
                    <a:cubicBezTo>
                      <a:pt x="4" y="1"/>
                      <a:pt x="2" y="2"/>
                      <a:pt x="1" y="3"/>
                    </a:cubicBezTo>
                    <a:cubicBezTo>
                      <a:pt x="1" y="4"/>
                      <a:pt x="1" y="6"/>
                      <a:pt x="1" y="6"/>
                    </a:cubicBezTo>
                    <a:cubicBezTo>
                      <a:pt x="2" y="8"/>
                      <a:pt x="2" y="9"/>
                      <a:pt x="1" y="12"/>
                    </a:cubicBezTo>
                    <a:cubicBezTo>
                      <a:pt x="1" y="14"/>
                      <a:pt x="0" y="17"/>
                      <a:pt x="0" y="19"/>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0" name="Freeform 231"/>
              <p:cNvSpPr>
                <a:spLocks/>
              </p:cNvSpPr>
              <p:nvPr/>
            </p:nvSpPr>
            <p:spPr bwMode="auto">
              <a:xfrm>
                <a:off x="3128963" y="4452938"/>
                <a:ext cx="6350" cy="4763"/>
              </a:xfrm>
              <a:custGeom>
                <a:avLst/>
                <a:gdLst>
                  <a:gd name="T0" fmla="*/ 1 w 8"/>
                  <a:gd name="T1" fmla="*/ 0 h 6"/>
                  <a:gd name="T2" fmla="*/ 6 w 8"/>
                  <a:gd name="T3" fmla="*/ 4 h 6"/>
                  <a:gd name="T4" fmla="*/ 1 w 8"/>
                  <a:gd name="T5" fmla="*/ 0 h 6"/>
                </a:gdLst>
                <a:ahLst/>
                <a:cxnLst>
                  <a:cxn ang="0">
                    <a:pos x="T0" y="T1"/>
                  </a:cxn>
                  <a:cxn ang="0">
                    <a:pos x="T2" y="T3"/>
                  </a:cxn>
                  <a:cxn ang="0">
                    <a:pos x="T4" y="T5"/>
                  </a:cxn>
                </a:cxnLst>
                <a:rect l="0" t="0" r="r" b="b"/>
                <a:pathLst>
                  <a:path w="8" h="6">
                    <a:moveTo>
                      <a:pt x="1" y="0"/>
                    </a:moveTo>
                    <a:cubicBezTo>
                      <a:pt x="0" y="2"/>
                      <a:pt x="3" y="6"/>
                      <a:pt x="6" y="4"/>
                    </a:cubicBezTo>
                    <a:cubicBezTo>
                      <a:pt x="8" y="2"/>
                      <a:pt x="2" y="0"/>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1" name="Freeform 232"/>
              <p:cNvSpPr>
                <a:spLocks/>
              </p:cNvSpPr>
              <p:nvPr/>
            </p:nvSpPr>
            <p:spPr bwMode="auto">
              <a:xfrm>
                <a:off x="3225801" y="4483100"/>
                <a:ext cx="1588" cy="1588"/>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3"/>
                      <a:pt x="2" y="0"/>
                      <a:pt x="1" y="1"/>
                    </a:cubicBezTo>
                    <a:cubicBezTo>
                      <a:pt x="0" y="2"/>
                      <a:pt x="1" y="3"/>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2" name="Freeform 233"/>
              <p:cNvSpPr>
                <a:spLocks/>
              </p:cNvSpPr>
              <p:nvPr/>
            </p:nvSpPr>
            <p:spPr bwMode="auto">
              <a:xfrm>
                <a:off x="3203576" y="4473575"/>
                <a:ext cx="7938" cy="6350"/>
              </a:xfrm>
              <a:custGeom>
                <a:avLst/>
                <a:gdLst>
                  <a:gd name="T0" fmla="*/ 11 w 11"/>
                  <a:gd name="T1" fmla="*/ 3 h 8"/>
                  <a:gd name="T2" fmla="*/ 5 w 11"/>
                  <a:gd name="T3" fmla="*/ 1 h 8"/>
                  <a:gd name="T4" fmla="*/ 2 w 11"/>
                  <a:gd name="T5" fmla="*/ 3 h 8"/>
                  <a:gd name="T6" fmla="*/ 0 w 11"/>
                  <a:gd name="T7" fmla="*/ 3 h 8"/>
                  <a:gd name="T8" fmla="*/ 11 w 11"/>
                  <a:gd name="T9" fmla="*/ 3 h 8"/>
                </a:gdLst>
                <a:ahLst/>
                <a:cxnLst>
                  <a:cxn ang="0">
                    <a:pos x="T0" y="T1"/>
                  </a:cxn>
                  <a:cxn ang="0">
                    <a:pos x="T2" y="T3"/>
                  </a:cxn>
                  <a:cxn ang="0">
                    <a:pos x="T4" y="T5"/>
                  </a:cxn>
                  <a:cxn ang="0">
                    <a:pos x="T6" y="T7"/>
                  </a:cxn>
                  <a:cxn ang="0">
                    <a:pos x="T8" y="T9"/>
                  </a:cxn>
                </a:cxnLst>
                <a:rect l="0" t="0" r="r" b="b"/>
                <a:pathLst>
                  <a:path w="11" h="8">
                    <a:moveTo>
                      <a:pt x="11" y="3"/>
                    </a:moveTo>
                    <a:cubicBezTo>
                      <a:pt x="11" y="0"/>
                      <a:pt x="7" y="0"/>
                      <a:pt x="5" y="1"/>
                    </a:cubicBezTo>
                    <a:cubicBezTo>
                      <a:pt x="4" y="2"/>
                      <a:pt x="3" y="3"/>
                      <a:pt x="2" y="3"/>
                    </a:cubicBezTo>
                    <a:cubicBezTo>
                      <a:pt x="1" y="2"/>
                      <a:pt x="0" y="1"/>
                      <a:pt x="0" y="3"/>
                    </a:cubicBezTo>
                    <a:cubicBezTo>
                      <a:pt x="0" y="8"/>
                      <a:pt x="11" y="5"/>
                      <a:pt x="11"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3" name="Freeform 234"/>
              <p:cNvSpPr>
                <a:spLocks/>
              </p:cNvSpPr>
              <p:nvPr/>
            </p:nvSpPr>
            <p:spPr bwMode="auto">
              <a:xfrm>
                <a:off x="3225801" y="4481513"/>
                <a:ext cx="3175" cy="1588"/>
              </a:xfrm>
              <a:custGeom>
                <a:avLst/>
                <a:gdLst>
                  <a:gd name="T0" fmla="*/ 3 w 4"/>
                  <a:gd name="T1" fmla="*/ 0 h 3"/>
                  <a:gd name="T2" fmla="*/ 1 w 4"/>
                  <a:gd name="T3" fmla="*/ 2 h 3"/>
                  <a:gd name="T4" fmla="*/ 3 w 4"/>
                  <a:gd name="T5" fmla="*/ 0 h 3"/>
                </a:gdLst>
                <a:ahLst/>
                <a:cxnLst>
                  <a:cxn ang="0">
                    <a:pos x="T0" y="T1"/>
                  </a:cxn>
                  <a:cxn ang="0">
                    <a:pos x="T2" y="T3"/>
                  </a:cxn>
                  <a:cxn ang="0">
                    <a:pos x="T4" y="T5"/>
                  </a:cxn>
                </a:cxnLst>
                <a:rect l="0" t="0" r="r" b="b"/>
                <a:pathLst>
                  <a:path w="4" h="3">
                    <a:moveTo>
                      <a:pt x="3" y="0"/>
                    </a:moveTo>
                    <a:cubicBezTo>
                      <a:pt x="2" y="0"/>
                      <a:pt x="0" y="1"/>
                      <a:pt x="1" y="2"/>
                    </a:cubicBezTo>
                    <a:cubicBezTo>
                      <a:pt x="2" y="3"/>
                      <a:pt x="4" y="0"/>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4" name="Freeform 235"/>
              <p:cNvSpPr>
                <a:spLocks/>
              </p:cNvSpPr>
              <p:nvPr/>
            </p:nvSpPr>
            <p:spPr bwMode="auto">
              <a:xfrm>
                <a:off x="3224213" y="4478338"/>
                <a:ext cx="1588" cy="1588"/>
              </a:xfrm>
              <a:custGeom>
                <a:avLst/>
                <a:gdLst>
                  <a:gd name="T0" fmla="*/ 1 w 2"/>
                  <a:gd name="T1" fmla="*/ 0 h 2"/>
                  <a:gd name="T2" fmla="*/ 1 w 2"/>
                  <a:gd name="T3" fmla="*/ 2 h 2"/>
                  <a:gd name="T4" fmla="*/ 1 w 2"/>
                  <a:gd name="T5" fmla="*/ 0 h 2"/>
                </a:gdLst>
                <a:ahLst/>
                <a:cxnLst>
                  <a:cxn ang="0">
                    <a:pos x="T0" y="T1"/>
                  </a:cxn>
                  <a:cxn ang="0">
                    <a:pos x="T2" y="T3"/>
                  </a:cxn>
                  <a:cxn ang="0">
                    <a:pos x="T4" y="T5"/>
                  </a:cxn>
                </a:cxnLst>
                <a:rect l="0" t="0" r="r" b="b"/>
                <a:pathLst>
                  <a:path w="2" h="2">
                    <a:moveTo>
                      <a:pt x="1" y="0"/>
                    </a:moveTo>
                    <a:cubicBezTo>
                      <a:pt x="0" y="0"/>
                      <a:pt x="0" y="2"/>
                      <a:pt x="1" y="2"/>
                    </a:cubicBezTo>
                    <a:cubicBezTo>
                      <a:pt x="2" y="2"/>
                      <a:pt x="2" y="1"/>
                      <a:pt x="1"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5" name="Freeform 236"/>
              <p:cNvSpPr>
                <a:spLocks/>
              </p:cNvSpPr>
              <p:nvPr/>
            </p:nvSpPr>
            <p:spPr bwMode="auto">
              <a:xfrm>
                <a:off x="3200401" y="4530725"/>
                <a:ext cx="6350" cy="4763"/>
              </a:xfrm>
              <a:custGeom>
                <a:avLst/>
                <a:gdLst>
                  <a:gd name="T0" fmla="*/ 0 w 8"/>
                  <a:gd name="T1" fmla="*/ 2 h 6"/>
                  <a:gd name="T2" fmla="*/ 5 w 8"/>
                  <a:gd name="T3" fmla="*/ 1 h 6"/>
                  <a:gd name="T4" fmla="*/ 0 w 8"/>
                  <a:gd name="T5" fmla="*/ 2 h 6"/>
                </a:gdLst>
                <a:ahLst/>
                <a:cxnLst>
                  <a:cxn ang="0">
                    <a:pos x="T0" y="T1"/>
                  </a:cxn>
                  <a:cxn ang="0">
                    <a:pos x="T2" y="T3"/>
                  </a:cxn>
                  <a:cxn ang="0">
                    <a:pos x="T4" y="T5"/>
                  </a:cxn>
                </a:cxnLst>
                <a:rect l="0" t="0" r="r" b="b"/>
                <a:pathLst>
                  <a:path w="8" h="6">
                    <a:moveTo>
                      <a:pt x="0" y="2"/>
                    </a:moveTo>
                    <a:cubicBezTo>
                      <a:pt x="0" y="6"/>
                      <a:pt x="8" y="2"/>
                      <a:pt x="5" y="1"/>
                    </a:cubicBezTo>
                    <a:cubicBezTo>
                      <a:pt x="3" y="0"/>
                      <a:pt x="0" y="1"/>
                      <a:pt x="0"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6" name="Freeform 237"/>
              <p:cNvSpPr>
                <a:spLocks/>
              </p:cNvSpPr>
              <p:nvPr/>
            </p:nvSpPr>
            <p:spPr bwMode="auto">
              <a:xfrm>
                <a:off x="3155951" y="4465638"/>
                <a:ext cx="4763" cy="6350"/>
              </a:xfrm>
              <a:custGeom>
                <a:avLst/>
                <a:gdLst>
                  <a:gd name="T0" fmla="*/ 4 w 6"/>
                  <a:gd name="T1" fmla="*/ 7 h 9"/>
                  <a:gd name="T2" fmla="*/ 5 w 6"/>
                  <a:gd name="T3" fmla="*/ 5 h 9"/>
                  <a:gd name="T4" fmla="*/ 4 w 6"/>
                  <a:gd name="T5" fmla="*/ 7 h 9"/>
                </a:gdLst>
                <a:ahLst/>
                <a:cxnLst>
                  <a:cxn ang="0">
                    <a:pos x="T0" y="T1"/>
                  </a:cxn>
                  <a:cxn ang="0">
                    <a:pos x="T2" y="T3"/>
                  </a:cxn>
                  <a:cxn ang="0">
                    <a:pos x="T4" y="T5"/>
                  </a:cxn>
                </a:cxnLst>
                <a:rect l="0" t="0" r="r" b="b"/>
                <a:pathLst>
                  <a:path w="6" h="9">
                    <a:moveTo>
                      <a:pt x="4" y="7"/>
                    </a:moveTo>
                    <a:cubicBezTo>
                      <a:pt x="6" y="6"/>
                      <a:pt x="5" y="6"/>
                      <a:pt x="5" y="5"/>
                    </a:cubicBezTo>
                    <a:cubicBezTo>
                      <a:pt x="3" y="0"/>
                      <a:pt x="0" y="9"/>
                      <a:pt x="4"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7" name="Freeform 238"/>
              <p:cNvSpPr>
                <a:spLocks/>
              </p:cNvSpPr>
              <p:nvPr/>
            </p:nvSpPr>
            <p:spPr bwMode="auto">
              <a:xfrm>
                <a:off x="3141663" y="4464050"/>
                <a:ext cx="4763" cy="9525"/>
              </a:xfrm>
              <a:custGeom>
                <a:avLst/>
                <a:gdLst>
                  <a:gd name="T0" fmla="*/ 2 w 8"/>
                  <a:gd name="T1" fmla="*/ 2 h 14"/>
                  <a:gd name="T2" fmla="*/ 8 w 8"/>
                  <a:gd name="T3" fmla="*/ 7 h 14"/>
                  <a:gd name="T4" fmla="*/ 5 w 8"/>
                  <a:gd name="T5" fmla="*/ 1 h 14"/>
                  <a:gd name="T6" fmla="*/ 2 w 8"/>
                  <a:gd name="T7" fmla="*/ 2 h 14"/>
                </a:gdLst>
                <a:ahLst/>
                <a:cxnLst>
                  <a:cxn ang="0">
                    <a:pos x="T0" y="T1"/>
                  </a:cxn>
                  <a:cxn ang="0">
                    <a:pos x="T2" y="T3"/>
                  </a:cxn>
                  <a:cxn ang="0">
                    <a:pos x="T4" y="T5"/>
                  </a:cxn>
                  <a:cxn ang="0">
                    <a:pos x="T6" y="T7"/>
                  </a:cxn>
                </a:cxnLst>
                <a:rect l="0" t="0" r="r" b="b"/>
                <a:pathLst>
                  <a:path w="8" h="14">
                    <a:moveTo>
                      <a:pt x="2" y="2"/>
                    </a:moveTo>
                    <a:cubicBezTo>
                      <a:pt x="3" y="3"/>
                      <a:pt x="8" y="14"/>
                      <a:pt x="8" y="7"/>
                    </a:cubicBezTo>
                    <a:cubicBezTo>
                      <a:pt x="8" y="5"/>
                      <a:pt x="7" y="1"/>
                      <a:pt x="5" y="1"/>
                    </a:cubicBezTo>
                    <a:cubicBezTo>
                      <a:pt x="4" y="0"/>
                      <a:pt x="0" y="1"/>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8" name="Freeform 239"/>
              <p:cNvSpPr>
                <a:spLocks/>
              </p:cNvSpPr>
              <p:nvPr/>
            </p:nvSpPr>
            <p:spPr bwMode="auto">
              <a:xfrm>
                <a:off x="3152776" y="4473575"/>
                <a:ext cx="4763" cy="3175"/>
              </a:xfrm>
              <a:custGeom>
                <a:avLst/>
                <a:gdLst>
                  <a:gd name="T0" fmla="*/ 5 w 6"/>
                  <a:gd name="T1" fmla="*/ 2 h 4"/>
                  <a:gd name="T2" fmla="*/ 2 w 6"/>
                  <a:gd name="T3" fmla="*/ 3 h 4"/>
                  <a:gd name="T4" fmla="*/ 5 w 6"/>
                  <a:gd name="T5" fmla="*/ 2 h 4"/>
                </a:gdLst>
                <a:ahLst/>
                <a:cxnLst>
                  <a:cxn ang="0">
                    <a:pos x="T0" y="T1"/>
                  </a:cxn>
                  <a:cxn ang="0">
                    <a:pos x="T2" y="T3"/>
                  </a:cxn>
                  <a:cxn ang="0">
                    <a:pos x="T4" y="T5"/>
                  </a:cxn>
                </a:cxnLst>
                <a:rect l="0" t="0" r="r" b="b"/>
                <a:pathLst>
                  <a:path w="6" h="4">
                    <a:moveTo>
                      <a:pt x="5" y="2"/>
                    </a:moveTo>
                    <a:cubicBezTo>
                      <a:pt x="6" y="1"/>
                      <a:pt x="0" y="0"/>
                      <a:pt x="2" y="3"/>
                    </a:cubicBezTo>
                    <a:cubicBezTo>
                      <a:pt x="3" y="4"/>
                      <a:pt x="5" y="4"/>
                      <a:pt x="5"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29" name="Freeform 240"/>
              <p:cNvSpPr>
                <a:spLocks/>
              </p:cNvSpPr>
              <p:nvPr/>
            </p:nvSpPr>
            <p:spPr bwMode="auto">
              <a:xfrm>
                <a:off x="3167063" y="4467225"/>
                <a:ext cx="4763" cy="3175"/>
              </a:xfrm>
              <a:custGeom>
                <a:avLst/>
                <a:gdLst>
                  <a:gd name="T0" fmla="*/ 6 w 8"/>
                  <a:gd name="T1" fmla="*/ 3 h 4"/>
                  <a:gd name="T2" fmla="*/ 2 w 8"/>
                  <a:gd name="T3" fmla="*/ 2 h 4"/>
                  <a:gd name="T4" fmla="*/ 6 w 8"/>
                  <a:gd name="T5" fmla="*/ 3 h 4"/>
                </a:gdLst>
                <a:ahLst/>
                <a:cxnLst>
                  <a:cxn ang="0">
                    <a:pos x="T0" y="T1"/>
                  </a:cxn>
                  <a:cxn ang="0">
                    <a:pos x="T2" y="T3"/>
                  </a:cxn>
                  <a:cxn ang="0">
                    <a:pos x="T4" y="T5"/>
                  </a:cxn>
                </a:cxnLst>
                <a:rect l="0" t="0" r="r" b="b"/>
                <a:pathLst>
                  <a:path w="8" h="4">
                    <a:moveTo>
                      <a:pt x="6" y="3"/>
                    </a:moveTo>
                    <a:cubicBezTo>
                      <a:pt x="8" y="1"/>
                      <a:pt x="3" y="0"/>
                      <a:pt x="2" y="2"/>
                    </a:cubicBezTo>
                    <a:cubicBezTo>
                      <a:pt x="0" y="4"/>
                      <a:pt x="6" y="4"/>
                      <a:pt x="6"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0" name="Freeform 241"/>
              <p:cNvSpPr>
                <a:spLocks/>
              </p:cNvSpPr>
              <p:nvPr/>
            </p:nvSpPr>
            <p:spPr bwMode="auto">
              <a:xfrm>
                <a:off x="3219451" y="4503738"/>
                <a:ext cx="11113" cy="7938"/>
              </a:xfrm>
              <a:custGeom>
                <a:avLst/>
                <a:gdLst>
                  <a:gd name="T0" fmla="*/ 3 w 14"/>
                  <a:gd name="T1" fmla="*/ 4 h 11"/>
                  <a:gd name="T2" fmla="*/ 6 w 14"/>
                  <a:gd name="T3" fmla="*/ 6 h 11"/>
                  <a:gd name="T4" fmla="*/ 8 w 14"/>
                  <a:gd name="T5" fmla="*/ 7 h 11"/>
                  <a:gd name="T6" fmla="*/ 8 w 14"/>
                  <a:gd name="T7" fmla="*/ 9 h 11"/>
                  <a:gd name="T8" fmla="*/ 12 w 14"/>
                  <a:gd name="T9" fmla="*/ 7 h 11"/>
                  <a:gd name="T10" fmla="*/ 10 w 14"/>
                  <a:gd name="T11" fmla="*/ 5 h 11"/>
                  <a:gd name="T12" fmla="*/ 7 w 14"/>
                  <a:gd name="T13" fmla="*/ 1 h 11"/>
                  <a:gd name="T14" fmla="*/ 3 w 14"/>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1">
                    <a:moveTo>
                      <a:pt x="3" y="4"/>
                    </a:moveTo>
                    <a:cubicBezTo>
                      <a:pt x="5" y="5"/>
                      <a:pt x="7" y="4"/>
                      <a:pt x="6" y="6"/>
                    </a:cubicBezTo>
                    <a:cubicBezTo>
                      <a:pt x="6" y="7"/>
                      <a:pt x="7" y="6"/>
                      <a:pt x="8" y="7"/>
                    </a:cubicBezTo>
                    <a:cubicBezTo>
                      <a:pt x="8" y="7"/>
                      <a:pt x="8" y="8"/>
                      <a:pt x="8" y="9"/>
                    </a:cubicBezTo>
                    <a:cubicBezTo>
                      <a:pt x="10" y="11"/>
                      <a:pt x="14" y="8"/>
                      <a:pt x="12" y="7"/>
                    </a:cubicBezTo>
                    <a:cubicBezTo>
                      <a:pt x="11" y="6"/>
                      <a:pt x="9" y="7"/>
                      <a:pt x="10" y="5"/>
                    </a:cubicBezTo>
                    <a:cubicBezTo>
                      <a:pt x="10" y="4"/>
                      <a:pt x="9" y="2"/>
                      <a:pt x="7" y="1"/>
                    </a:cubicBezTo>
                    <a:cubicBezTo>
                      <a:pt x="3" y="0"/>
                      <a:pt x="0" y="4"/>
                      <a:pt x="3"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1" name="Freeform 242"/>
              <p:cNvSpPr>
                <a:spLocks/>
              </p:cNvSpPr>
              <p:nvPr/>
            </p:nvSpPr>
            <p:spPr bwMode="auto">
              <a:xfrm>
                <a:off x="3219451" y="4500563"/>
                <a:ext cx="4763" cy="3175"/>
              </a:xfrm>
              <a:custGeom>
                <a:avLst/>
                <a:gdLst>
                  <a:gd name="T0" fmla="*/ 3 w 6"/>
                  <a:gd name="T1" fmla="*/ 3 h 3"/>
                  <a:gd name="T2" fmla="*/ 2 w 6"/>
                  <a:gd name="T3" fmla="*/ 0 h 3"/>
                  <a:gd name="T4" fmla="*/ 3 w 6"/>
                  <a:gd name="T5" fmla="*/ 3 h 3"/>
                </a:gdLst>
                <a:ahLst/>
                <a:cxnLst>
                  <a:cxn ang="0">
                    <a:pos x="T0" y="T1"/>
                  </a:cxn>
                  <a:cxn ang="0">
                    <a:pos x="T2" y="T3"/>
                  </a:cxn>
                  <a:cxn ang="0">
                    <a:pos x="T4" y="T5"/>
                  </a:cxn>
                </a:cxnLst>
                <a:rect l="0" t="0" r="r" b="b"/>
                <a:pathLst>
                  <a:path w="6" h="3">
                    <a:moveTo>
                      <a:pt x="3" y="3"/>
                    </a:moveTo>
                    <a:cubicBezTo>
                      <a:pt x="6" y="3"/>
                      <a:pt x="5" y="0"/>
                      <a:pt x="2" y="0"/>
                    </a:cubicBezTo>
                    <a:cubicBezTo>
                      <a:pt x="0" y="1"/>
                      <a:pt x="1" y="3"/>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2" name="Freeform 243"/>
              <p:cNvSpPr>
                <a:spLocks/>
              </p:cNvSpPr>
              <p:nvPr/>
            </p:nvSpPr>
            <p:spPr bwMode="auto">
              <a:xfrm>
                <a:off x="3211513" y="4411663"/>
                <a:ext cx="7938" cy="7938"/>
              </a:xfrm>
              <a:custGeom>
                <a:avLst/>
                <a:gdLst>
                  <a:gd name="T0" fmla="*/ 3 w 12"/>
                  <a:gd name="T1" fmla="*/ 3 h 12"/>
                  <a:gd name="T2" fmla="*/ 9 w 12"/>
                  <a:gd name="T3" fmla="*/ 7 h 12"/>
                  <a:gd name="T4" fmla="*/ 3 w 12"/>
                  <a:gd name="T5" fmla="*/ 3 h 12"/>
                </a:gdLst>
                <a:ahLst/>
                <a:cxnLst>
                  <a:cxn ang="0">
                    <a:pos x="T0" y="T1"/>
                  </a:cxn>
                  <a:cxn ang="0">
                    <a:pos x="T2" y="T3"/>
                  </a:cxn>
                  <a:cxn ang="0">
                    <a:pos x="T4" y="T5"/>
                  </a:cxn>
                </a:cxnLst>
                <a:rect l="0" t="0" r="r" b="b"/>
                <a:pathLst>
                  <a:path w="12" h="12">
                    <a:moveTo>
                      <a:pt x="3" y="3"/>
                    </a:moveTo>
                    <a:cubicBezTo>
                      <a:pt x="0" y="7"/>
                      <a:pt x="5" y="12"/>
                      <a:pt x="9" y="7"/>
                    </a:cubicBezTo>
                    <a:cubicBezTo>
                      <a:pt x="12" y="4"/>
                      <a:pt x="6" y="0"/>
                      <a:pt x="3"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3" name="Freeform 244"/>
              <p:cNvSpPr>
                <a:spLocks/>
              </p:cNvSpPr>
              <p:nvPr/>
            </p:nvSpPr>
            <p:spPr bwMode="auto">
              <a:xfrm>
                <a:off x="3232151" y="4487863"/>
                <a:ext cx="1588" cy="3175"/>
              </a:xfrm>
              <a:custGeom>
                <a:avLst/>
                <a:gdLst>
                  <a:gd name="T0" fmla="*/ 2 w 2"/>
                  <a:gd name="T1" fmla="*/ 3 h 4"/>
                  <a:gd name="T2" fmla="*/ 0 w 2"/>
                  <a:gd name="T3" fmla="*/ 2 h 4"/>
                  <a:gd name="T4" fmla="*/ 2 w 2"/>
                  <a:gd name="T5" fmla="*/ 3 h 4"/>
                </a:gdLst>
                <a:ahLst/>
                <a:cxnLst>
                  <a:cxn ang="0">
                    <a:pos x="T0" y="T1"/>
                  </a:cxn>
                  <a:cxn ang="0">
                    <a:pos x="T2" y="T3"/>
                  </a:cxn>
                  <a:cxn ang="0">
                    <a:pos x="T4" y="T5"/>
                  </a:cxn>
                </a:cxnLst>
                <a:rect l="0" t="0" r="r" b="b"/>
                <a:pathLst>
                  <a:path w="2" h="4">
                    <a:moveTo>
                      <a:pt x="2" y="3"/>
                    </a:moveTo>
                    <a:cubicBezTo>
                      <a:pt x="2" y="2"/>
                      <a:pt x="1" y="0"/>
                      <a:pt x="0" y="2"/>
                    </a:cubicBezTo>
                    <a:cubicBezTo>
                      <a:pt x="0" y="3"/>
                      <a:pt x="2" y="4"/>
                      <a:pt x="2" y="3"/>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4" name="Freeform 245"/>
              <p:cNvSpPr>
                <a:spLocks/>
              </p:cNvSpPr>
              <p:nvPr/>
            </p:nvSpPr>
            <p:spPr bwMode="auto">
              <a:xfrm>
                <a:off x="3233738" y="4413250"/>
                <a:ext cx="9525" cy="7938"/>
              </a:xfrm>
              <a:custGeom>
                <a:avLst/>
                <a:gdLst>
                  <a:gd name="T0" fmla="*/ 7 w 11"/>
                  <a:gd name="T1" fmla="*/ 2 h 11"/>
                  <a:gd name="T2" fmla="*/ 1 w 11"/>
                  <a:gd name="T3" fmla="*/ 5 h 11"/>
                  <a:gd name="T4" fmla="*/ 7 w 11"/>
                  <a:gd name="T5" fmla="*/ 2 h 11"/>
                </a:gdLst>
                <a:ahLst/>
                <a:cxnLst>
                  <a:cxn ang="0">
                    <a:pos x="T0" y="T1"/>
                  </a:cxn>
                  <a:cxn ang="0">
                    <a:pos x="T2" y="T3"/>
                  </a:cxn>
                  <a:cxn ang="0">
                    <a:pos x="T4" y="T5"/>
                  </a:cxn>
                </a:cxnLst>
                <a:rect l="0" t="0" r="r" b="b"/>
                <a:pathLst>
                  <a:path w="11" h="11">
                    <a:moveTo>
                      <a:pt x="7" y="2"/>
                    </a:moveTo>
                    <a:cubicBezTo>
                      <a:pt x="5" y="0"/>
                      <a:pt x="0" y="1"/>
                      <a:pt x="1" y="5"/>
                    </a:cubicBezTo>
                    <a:cubicBezTo>
                      <a:pt x="3" y="11"/>
                      <a:pt x="11" y="4"/>
                      <a:pt x="7"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5" name="Freeform 246"/>
              <p:cNvSpPr>
                <a:spLocks/>
              </p:cNvSpPr>
              <p:nvPr/>
            </p:nvSpPr>
            <p:spPr bwMode="auto">
              <a:xfrm>
                <a:off x="3224213" y="4721225"/>
                <a:ext cx="9525" cy="4763"/>
              </a:xfrm>
              <a:custGeom>
                <a:avLst/>
                <a:gdLst>
                  <a:gd name="T0" fmla="*/ 2 w 14"/>
                  <a:gd name="T1" fmla="*/ 4 h 5"/>
                  <a:gd name="T2" fmla="*/ 2 w 14"/>
                  <a:gd name="T3" fmla="*/ 5 h 5"/>
                  <a:gd name="T4" fmla="*/ 7 w 14"/>
                  <a:gd name="T5" fmla="*/ 3 h 5"/>
                  <a:gd name="T6" fmla="*/ 8 w 14"/>
                  <a:gd name="T7" fmla="*/ 4 h 5"/>
                  <a:gd name="T8" fmla="*/ 11 w 14"/>
                  <a:gd name="T9" fmla="*/ 3 h 5"/>
                  <a:gd name="T10" fmla="*/ 13 w 14"/>
                  <a:gd name="T11" fmla="*/ 2 h 5"/>
                  <a:gd name="T12" fmla="*/ 13 w 14"/>
                  <a:gd name="T13" fmla="*/ 2 h 5"/>
                  <a:gd name="T14" fmla="*/ 6 w 14"/>
                  <a:gd name="T15" fmla="*/ 2 h 5"/>
                  <a:gd name="T16" fmla="*/ 2 w 14"/>
                  <a:gd name="T17" fmla="*/ 2 h 5"/>
                  <a:gd name="T18" fmla="*/ 2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2" y="4"/>
                    </a:moveTo>
                    <a:cubicBezTo>
                      <a:pt x="0" y="4"/>
                      <a:pt x="0" y="5"/>
                      <a:pt x="2" y="5"/>
                    </a:cubicBezTo>
                    <a:cubicBezTo>
                      <a:pt x="4" y="5"/>
                      <a:pt x="5" y="3"/>
                      <a:pt x="7" y="3"/>
                    </a:cubicBezTo>
                    <a:cubicBezTo>
                      <a:pt x="8" y="4"/>
                      <a:pt x="8" y="4"/>
                      <a:pt x="8" y="4"/>
                    </a:cubicBezTo>
                    <a:cubicBezTo>
                      <a:pt x="9" y="4"/>
                      <a:pt x="10" y="4"/>
                      <a:pt x="11" y="3"/>
                    </a:cubicBezTo>
                    <a:cubicBezTo>
                      <a:pt x="11" y="3"/>
                      <a:pt x="13" y="3"/>
                      <a:pt x="13" y="2"/>
                    </a:cubicBezTo>
                    <a:cubicBezTo>
                      <a:pt x="14" y="2"/>
                      <a:pt x="13" y="2"/>
                      <a:pt x="13" y="2"/>
                    </a:cubicBezTo>
                    <a:cubicBezTo>
                      <a:pt x="12" y="0"/>
                      <a:pt x="7" y="3"/>
                      <a:pt x="6" y="2"/>
                    </a:cubicBezTo>
                    <a:cubicBezTo>
                      <a:pt x="6" y="1"/>
                      <a:pt x="3" y="2"/>
                      <a:pt x="2" y="2"/>
                    </a:cubicBezTo>
                    <a:cubicBezTo>
                      <a:pt x="1" y="3"/>
                      <a:pt x="4" y="3"/>
                      <a:pt x="2" y="4"/>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6" name="Freeform 247"/>
              <p:cNvSpPr>
                <a:spLocks/>
              </p:cNvSpPr>
              <p:nvPr/>
            </p:nvSpPr>
            <p:spPr bwMode="auto">
              <a:xfrm>
                <a:off x="3216276" y="4476750"/>
                <a:ext cx="1588" cy="1588"/>
              </a:xfrm>
              <a:custGeom>
                <a:avLst/>
                <a:gdLst>
                  <a:gd name="T0" fmla="*/ 2 w 3"/>
                  <a:gd name="T1" fmla="*/ 0 h 2"/>
                  <a:gd name="T2" fmla="*/ 2 w 3"/>
                  <a:gd name="T3" fmla="*/ 2 h 2"/>
                  <a:gd name="T4" fmla="*/ 2 w 3"/>
                  <a:gd name="T5" fmla="*/ 0 h 2"/>
                </a:gdLst>
                <a:ahLst/>
                <a:cxnLst>
                  <a:cxn ang="0">
                    <a:pos x="T0" y="T1"/>
                  </a:cxn>
                  <a:cxn ang="0">
                    <a:pos x="T2" y="T3"/>
                  </a:cxn>
                  <a:cxn ang="0">
                    <a:pos x="T4" y="T5"/>
                  </a:cxn>
                </a:cxnLst>
                <a:rect l="0" t="0" r="r" b="b"/>
                <a:pathLst>
                  <a:path w="3" h="2">
                    <a:moveTo>
                      <a:pt x="2" y="0"/>
                    </a:moveTo>
                    <a:cubicBezTo>
                      <a:pt x="0" y="0"/>
                      <a:pt x="1" y="2"/>
                      <a:pt x="2" y="2"/>
                    </a:cubicBezTo>
                    <a:cubicBezTo>
                      <a:pt x="3" y="2"/>
                      <a:pt x="2" y="0"/>
                      <a:pt x="2"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7" name="Freeform 248"/>
              <p:cNvSpPr>
                <a:spLocks/>
              </p:cNvSpPr>
              <p:nvPr/>
            </p:nvSpPr>
            <p:spPr bwMode="auto">
              <a:xfrm>
                <a:off x="3344863" y="4562475"/>
                <a:ext cx="4763" cy="3175"/>
              </a:xfrm>
              <a:custGeom>
                <a:avLst/>
                <a:gdLst>
                  <a:gd name="T0" fmla="*/ 6 w 7"/>
                  <a:gd name="T1" fmla="*/ 2 h 5"/>
                  <a:gd name="T2" fmla="*/ 4 w 7"/>
                  <a:gd name="T3" fmla="*/ 0 h 5"/>
                  <a:gd name="T4" fmla="*/ 6 w 7"/>
                  <a:gd name="T5" fmla="*/ 2 h 5"/>
                </a:gdLst>
                <a:ahLst/>
                <a:cxnLst>
                  <a:cxn ang="0">
                    <a:pos x="T0" y="T1"/>
                  </a:cxn>
                  <a:cxn ang="0">
                    <a:pos x="T2" y="T3"/>
                  </a:cxn>
                  <a:cxn ang="0">
                    <a:pos x="T4" y="T5"/>
                  </a:cxn>
                </a:cxnLst>
                <a:rect l="0" t="0" r="r" b="b"/>
                <a:pathLst>
                  <a:path w="7" h="5">
                    <a:moveTo>
                      <a:pt x="6" y="2"/>
                    </a:moveTo>
                    <a:cubicBezTo>
                      <a:pt x="7" y="1"/>
                      <a:pt x="5" y="1"/>
                      <a:pt x="4" y="0"/>
                    </a:cubicBezTo>
                    <a:cubicBezTo>
                      <a:pt x="0" y="3"/>
                      <a:pt x="4" y="5"/>
                      <a:pt x="6"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8" name="Freeform 249"/>
              <p:cNvSpPr>
                <a:spLocks/>
              </p:cNvSpPr>
              <p:nvPr/>
            </p:nvSpPr>
            <p:spPr bwMode="auto">
              <a:xfrm>
                <a:off x="3227388" y="4511675"/>
                <a:ext cx="4763" cy="6350"/>
              </a:xfrm>
              <a:custGeom>
                <a:avLst/>
                <a:gdLst>
                  <a:gd name="T0" fmla="*/ 3 w 6"/>
                  <a:gd name="T1" fmla="*/ 7 h 8"/>
                  <a:gd name="T2" fmla="*/ 5 w 6"/>
                  <a:gd name="T3" fmla="*/ 3 h 8"/>
                  <a:gd name="T4" fmla="*/ 2 w 6"/>
                  <a:gd name="T5" fmla="*/ 1 h 8"/>
                  <a:gd name="T6" fmla="*/ 1 w 6"/>
                  <a:gd name="T7" fmla="*/ 3 h 8"/>
                  <a:gd name="T8" fmla="*/ 1 w 6"/>
                  <a:gd name="T9" fmla="*/ 6 h 8"/>
                  <a:gd name="T10" fmla="*/ 3 w 6"/>
                  <a:gd name="T11" fmla="*/ 7 h 8"/>
                </a:gdLst>
                <a:ahLst/>
                <a:cxnLst>
                  <a:cxn ang="0">
                    <a:pos x="T0" y="T1"/>
                  </a:cxn>
                  <a:cxn ang="0">
                    <a:pos x="T2" y="T3"/>
                  </a:cxn>
                  <a:cxn ang="0">
                    <a:pos x="T4" y="T5"/>
                  </a:cxn>
                  <a:cxn ang="0">
                    <a:pos x="T6" y="T7"/>
                  </a:cxn>
                  <a:cxn ang="0">
                    <a:pos x="T8" y="T9"/>
                  </a:cxn>
                  <a:cxn ang="0">
                    <a:pos x="T10" y="T11"/>
                  </a:cxn>
                </a:cxnLst>
                <a:rect l="0" t="0" r="r" b="b"/>
                <a:pathLst>
                  <a:path w="6" h="8">
                    <a:moveTo>
                      <a:pt x="3" y="7"/>
                    </a:moveTo>
                    <a:cubicBezTo>
                      <a:pt x="5" y="6"/>
                      <a:pt x="6" y="4"/>
                      <a:pt x="5" y="3"/>
                    </a:cubicBezTo>
                    <a:cubicBezTo>
                      <a:pt x="4" y="2"/>
                      <a:pt x="2" y="2"/>
                      <a:pt x="2" y="1"/>
                    </a:cubicBezTo>
                    <a:cubicBezTo>
                      <a:pt x="0" y="0"/>
                      <a:pt x="0" y="2"/>
                      <a:pt x="1" y="3"/>
                    </a:cubicBezTo>
                    <a:cubicBezTo>
                      <a:pt x="2" y="4"/>
                      <a:pt x="3" y="4"/>
                      <a:pt x="1" y="6"/>
                    </a:cubicBezTo>
                    <a:cubicBezTo>
                      <a:pt x="0" y="8"/>
                      <a:pt x="2" y="8"/>
                      <a:pt x="3" y="7"/>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39" name="Freeform 250"/>
              <p:cNvSpPr>
                <a:spLocks/>
              </p:cNvSpPr>
              <p:nvPr/>
            </p:nvSpPr>
            <p:spPr bwMode="auto">
              <a:xfrm>
                <a:off x="3217863" y="4495800"/>
                <a:ext cx="4763" cy="4763"/>
              </a:xfrm>
              <a:custGeom>
                <a:avLst/>
                <a:gdLst>
                  <a:gd name="T0" fmla="*/ 3 w 8"/>
                  <a:gd name="T1" fmla="*/ 0 h 7"/>
                  <a:gd name="T2" fmla="*/ 1 w 8"/>
                  <a:gd name="T3" fmla="*/ 2 h 7"/>
                  <a:gd name="T4" fmla="*/ 4 w 8"/>
                  <a:gd name="T5" fmla="*/ 5 h 7"/>
                  <a:gd name="T6" fmla="*/ 3 w 8"/>
                  <a:gd name="T7" fmla="*/ 0 h 7"/>
                </a:gdLst>
                <a:ahLst/>
                <a:cxnLst>
                  <a:cxn ang="0">
                    <a:pos x="T0" y="T1"/>
                  </a:cxn>
                  <a:cxn ang="0">
                    <a:pos x="T2" y="T3"/>
                  </a:cxn>
                  <a:cxn ang="0">
                    <a:pos x="T4" y="T5"/>
                  </a:cxn>
                  <a:cxn ang="0">
                    <a:pos x="T6" y="T7"/>
                  </a:cxn>
                </a:cxnLst>
                <a:rect l="0" t="0" r="r" b="b"/>
                <a:pathLst>
                  <a:path w="8" h="7">
                    <a:moveTo>
                      <a:pt x="3" y="0"/>
                    </a:moveTo>
                    <a:cubicBezTo>
                      <a:pt x="3" y="0"/>
                      <a:pt x="1" y="1"/>
                      <a:pt x="1" y="2"/>
                    </a:cubicBezTo>
                    <a:cubicBezTo>
                      <a:pt x="0" y="3"/>
                      <a:pt x="1" y="7"/>
                      <a:pt x="4" y="5"/>
                    </a:cubicBezTo>
                    <a:cubicBezTo>
                      <a:pt x="8" y="2"/>
                      <a:pt x="3" y="2"/>
                      <a:pt x="3" y="0"/>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40" name="Freeform 251"/>
              <p:cNvSpPr>
                <a:spLocks/>
              </p:cNvSpPr>
              <p:nvPr/>
            </p:nvSpPr>
            <p:spPr bwMode="auto">
              <a:xfrm>
                <a:off x="3224213" y="4525963"/>
                <a:ext cx="6350" cy="3175"/>
              </a:xfrm>
              <a:custGeom>
                <a:avLst/>
                <a:gdLst>
                  <a:gd name="T0" fmla="*/ 2 w 7"/>
                  <a:gd name="T1" fmla="*/ 1 h 5"/>
                  <a:gd name="T2" fmla="*/ 6 w 7"/>
                  <a:gd name="T3" fmla="*/ 3 h 5"/>
                  <a:gd name="T4" fmla="*/ 2 w 7"/>
                  <a:gd name="T5" fmla="*/ 1 h 5"/>
                </a:gdLst>
                <a:ahLst/>
                <a:cxnLst>
                  <a:cxn ang="0">
                    <a:pos x="T0" y="T1"/>
                  </a:cxn>
                  <a:cxn ang="0">
                    <a:pos x="T2" y="T3"/>
                  </a:cxn>
                  <a:cxn ang="0">
                    <a:pos x="T4" y="T5"/>
                  </a:cxn>
                </a:cxnLst>
                <a:rect l="0" t="0" r="r" b="b"/>
                <a:pathLst>
                  <a:path w="7" h="5">
                    <a:moveTo>
                      <a:pt x="2" y="1"/>
                    </a:moveTo>
                    <a:cubicBezTo>
                      <a:pt x="0" y="3"/>
                      <a:pt x="4" y="5"/>
                      <a:pt x="6" y="3"/>
                    </a:cubicBezTo>
                    <a:cubicBezTo>
                      <a:pt x="7" y="1"/>
                      <a:pt x="4" y="0"/>
                      <a:pt x="2" y="1"/>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sp>
            <p:nvSpPr>
              <p:cNvPr id="341" name="Freeform 252"/>
              <p:cNvSpPr>
                <a:spLocks/>
              </p:cNvSpPr>
              <p:nvPr/>
            </p:nvSpPr>
            <p:spPr bwMode="auto">
              <a:xfrm>
                <a:off x="3221038" y="4476750"/>
                <a:ext cx="1588" cy="1588"/>
              </a:xfrm>
              <a:custGeom>
                <a:avLst/>
                <a:gdLst>
                  <a:gd name="T0" fmla="*/ 2 w 3"/>
                  <a:gd name="T1" fmla="*/ 2 h 2"/>
                  <a:gd name="T2" fmla="*/ 1 w 3"/>
                  <a:gd name="T3" fmla="*/ 0 h 2"/>
                  <a:gd name="T4" fmla="*/ 2 w 3"/>
                  <a:gd name="T5" fmla="*/ 2 h 2"/>
                </a:gdLst>
                <a:ahLst/>
                <a:cxnLst>
                  <a:cxn ang="0">
                    <a:pos x="T0" y="T1"/>
                  </a:cxn>
                  <a:cxn ang="0">
                    <a:pos x="T2" y="T3"/>
                  </a:cxn>
                  <a:cxn ang="0">
                    <a:pos x="T4" y="T5"/>
                  </a:cxn>
                </a:cxnLst>
                <a:rect l="0" t="0" r="r" b="b"/>
                <a:pathLst>
                  <a:path w="3" h="2">
                    <a:moveTo>
                      <a:pt x="2" y="2"/>
                    </a:moveTo>
                    <a:cubicBezTo>
                      <a:pt x="3" y="1"/>
                      <a:pt x="2" y="0"/>
                      <a:pt x="1" y="0"/>
                    </a:cubicBezTo>
                    <a:cubicBezTo>
                      <a:pt x="0" y="1"/>
                      <a:pt x="1" y="2"/>
                      <a:pt x="2" y="2"/>
                    </a:cubicBezTo>
                    <a:close/>
                  </a:path>
                </a:pathLst>
              </a:custGeom>
              <a:grpFill/>
              <a:ln w="9525">
                <a:solidFill>
                  <a:srgbClr val="000000"/>
                </a:solidFill>
                <a:round/>
                <a:headEnd/>
                <a:tailEnd/>
              </a:ln>
              <a:extLst/>
            </p:spPr>
            <p:txBody>
              <a:bodyPr vert="horz" wrap="square" lIns="89629" tIns="44815" rIns="89629" bIns="44815" numCol="1" anchor="t" anchorCtr="0" compatLnSpc="1">
                <a:prstTxWarp prst="textNoShape">
                  <a:avLst/>
                </a:prstTxWarp>
              </a:bodyPr>
              <a:lstStyle/>
              <a:p>
                <a:pPr defTabSz="914191"/>
                <a:endParaRPr lang="en-US" sz="1764">
                  <a:solidFill>
                    <a:srgbClr val="FFFFFF"/>
                  </a:solidFill>
                </a:endParaRPr>
              </a:p>
            </p:txBody>
          </p:sp>
        </p:grpSp>
        <p:pic>
          <p:nvPicPr>
            <p:cNvPr id="148" name="Picture 14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33072" y="1546209"/>
              <a:ext cx="1292864" cy="410696"/>
            </a:xfrm>
            <a:prstGeom prst="rect">
              <a:avLst/>
            </a:prstGeom>
            <a:grpFill/>
            <a:ln>
              <a:solidFill>
                <a:schemeClr val="bg2"/>
              </a:solidFill>
            </a:ln>
          </p:spPr>
        </p:pic>
        <p:pic>
          <p:nvPicPr>
            <p:cNvPr id="534" name="Picture 53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63280" y="1950187"/>
              <a:ext cx="1655700" cy="398793"/>
            </a:xfrm>
            <a:prstGeom prst="rect">
              <a:avLst/>
            </a:prstGeom>
            <a:grpFill/>
            <a:ln>
              <a:solidFill>
                <a:schemeClr val="bg2">
                  <a:lumMod val="90000"/>
                  <a:lumOff val="10000"/>
                </a:schemeClr>
              </a:solidFill>
            </a:ln>
          </p:spPr>
        </p:pic>
      </p:grpSp>
      <p:sp>
        <p:nvSpPr>
          <p:cNvPr id="535" name="Rectangle 534"/>
          <p:cNvSpPr/>
          <p:nvPr/>
        </p:nvSpPr>
        <p:spPr bwMode="auto">
          <a:xfrm>
            <a:off x="292109" y="6199430"/>
            <a:ext cx="4045153" cy="67764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register their devices </a:t>
            </a:r>
            <a:r>
              <a:rPr lang="en-US" sz="1599" spc="-30" dirty="0">
                <a:solidFill>
                  <a:srgbClr val="FFFFFF"/>
                </a:solidFill>
              </a:rPr>
              <a:t>to gain access to corporate data and apps and single sign-on through </a:t>
            </a:r>
            <a:r>
              <a:rPr lang="en-US" sz="1599" b="1" spc="-30" dirty="0">
                <a:solidFill>
                  <a:srgbClr val="FFFFFF"/>
                </a:solidFill>
              </a:rPr>
              <a:t>device authentication </a:t>
            </a:r>
          </a:p>
        </p:txBody>
      </p:sp>
      <p:sp>
        <p:nvSpPr>
          <p:cNvPr id="536" name="Rectangle 535"/>
          <p:cNvSpPr/>
          <p:nvPr/>
        </p:nvSpPr>
        <p:spPr bwMode="auto">
          <a:xfrm>
            <a:off x="5522904" y="4730066"/>
            <a:ext cx="3128659"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b="1" spc="-30" dirty="0">
                <a:solidFill>
                  <a:srgbClr val="FFFFFF"/>
                </a:solidFill>
              </a:rPr>
              <a:t>Conditional access </a:t>
            </a:r>
            <a:r>
              <a:rPr lang="en-US" sz="1599" spc="-30" dirty="0">
                <a:solidFill>
                  <a:srgbClr val="FFFFFF"/>
                </a:solidFill>
              </a:rPr>
              <a:t>with multi-factor authentication is provided on a </a:t>
            </a:r>
            <a:r>
              <a:rPr lang="en-US" sz="1599" b="1" spc="-30" dirty="0">
                <a:solidFill>
                  <a:srgbClr val="FFFFFF"/>
                </a:solidFill>
              </a:rPr>
              <a:t>per-application basis</a:t>
            </a:r>
            <a:r>
              <a:rPr lang="en-US" sz="1599" spc="-30" dirty="0">
                <a:solidFill>
                  <a:srgbClr val="FFFFFF"/>
                </a:solidFill>
              </a:rPr>
              <a:t>, leveraging user identity, device registration &amp; network location</a:t>
            </a:r>
          </a:p>
        </p:txBody>
      </p:sp>
      <p:sp>
        <p:nvSpPr>
          <p:cNvPr id="537" name="Rectangle 536"/>
          <p:cNvSpPr/>
          <p:nvPr/>
        </p:nvSpPr>
        <p:spPr bwMode="auto">
          <a:xfrm>
            <a:off x="147787" y="2655668"/>
            <a:ext cx="2099464"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Organizations can </a:t>
            </a:r>
            <a:r>
              <a:rPr lang="en-US" sz="1599" b="1" spc="-30" dirty="0">
                <a:solidFill>
                  <a:srgbClr val="FFFFFF"/>
                </a:solidFill>
              </a:rPr>
              <a:t>federate</a:t>
            </a:r>
            <a:r>
              <a:rPr lang="en-US" sz="1599" spc="-30" dirty="0">
                <a:solidFill>
                  <a:srgbClr val="FFFFFF"/>
                </a:solidFill>
              </a:rPr>
              <a:t> with partners and other organizations for </a:t>
            </a:r>
            <a:r>
              <a:rPr lang="en-US" sz="1599" b="1" spc="-30" dirty="0">
                <a:solidFill>
                  <a:srgbClr val="FFFFFF"/>
                </a:solidFill>
              </a:rPr>
              <a:t>seamless access to shared resources</a:t>
            </a:r>
          </a:p>
        </p:txBody>
      </p:sp>
      <p:sp>
        <p:nvSpPr>
          <p:cNvPr id="538" name="Rectangle 537"/>
          <p:cNvSpPr/>
          <p:nvPr/>
        </p:nvSpPr>
        <p:spPr bwMode="auto">
          <a:xfrm>
            <a:off x="4653631" y="1232848"/>
            <a:ext cx="3488327" cy="67764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Organizations can </a:t>
            </a:r>
            <a:r>
              <a:rPr lang="en-US" sz="1599" b="1" spc="-30" dirty="0">
                <a:solidFill>
                  <a:srgbClr val="FFFFFF"/>
                </a:solidFill>
              </a:rPr>
              <a:t>connect </a:t>
            </a:r>
            <a:r>
              <a:rPr lang="en-US" sz="1599" spc="-30" dirty="0">
                <a:solidFill>
                  <a:srgbClr val="FFFFFF"/>
                </a:solidFill>
              </a:rPr>
              <a:t>to SaaS applications running in Windows Azure, Office 365 and </a:t>
            </a:r>
            <a:r>
              <a:rPr lang="en-US" sz="1599" b="1" spc="-30" dirty="0">
                <a:solidFill>
                  <a:srgbClr val="FFFFFF"/>
                </a:solidFill>
              </a:rPr>
              <a:t>3</a:t>
            </a:r>
            <a:r>
              <a:rPr lang="en-US" sz="1599" b="1" spc="-30" baseline="30000" dirty="0">
                <a:solidFill>
                  <a:srgbClr val="FFFFFF"/>
                </a:solidFill>
              </a:rPr>
              <a:t>rd</a:t>
            </a:r>
            <a:r>
              <a:rPr lang="en-US" sz="1599" b="1" spc="-30" dirty="0">
                <a:solidFill>
                  <a:srgbClr val="FFFFFF"/>
                </a:solidFill>
              </a:rPr>
              <a:t> party providers</a:t>
            </a:r>
          </a:p>
        </p:txBody>
      </p:sp>
      <p:sp>
        <p:nvSpPr>
          <p:cNvPr id="539" name="Rectangle 538"/>
          <p:cNvSpPr/>
          <p:nvPr/>
        </p:nvSpPr>
        <p:spPr bwMode="auto">
          <a:xfrm>
            <a:off x="8569905" y="1295905"/>
            <a:ext cx="3763132" cy="45176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Enhancements to ADFS include </a:t>
            </a:r>
            <a:r>
              <a:rPr lang="en-US" sz="1599" b="1" spc="-30" dirty="0">
                <a:solidFill>
                  <a:srgbClr val="FFFFFF"/>
                </a:solidFill>
              </a:rPr>
              <a:t>simplified deployment and management</a:t>
            </a:r>
          </a:p>
        </p:txBody>
      </p:sp>
      <p:grpSp>
        <p:nvGrpSpPr>
          <p:cNvPr id="358" name="Group 357"/>
          <p:cNvGrpSpPr/>
          <p:nvPr/>
        </p:nvGrpSpPr>
        <p:grpSpPr>
          <a:xfrm>
            <a:off x="8983183" y="3630177"/>
            <a:ext cx="3187706" cy="2703829"/>
            <a:chOff x="8983574" y="1176515"/>
            <a:chExt cx="3188159" cy="2704212"/>
          </a:xfrm>
        </p:grpSpPr>
        <p:sp>
          <p:nvSpPr>
            <p:cNvPr id="359" name="Oval 358"/>
            <p:cNvSpPr/>
            <p:nvPr>
              <p:custDataLst>
                <p:tags r:id="rId1"/>
              </p:custDataLst>
            </p:nvPr>
          </p:nvSpPr>
          <p:spPr bwMode="auto">
            <a:xfrm>
              <a:off x="8983574" y="1176515"/>
              <a:ext cx="3188159" cy="2704212"/>
            </a:xfrm>
            <a:prstGeom prst="ellipse">
              <a:avLst/>
            </a:prstGeom>
            <a:noFill/>
            <a:ln w="19050">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9723" tIns="54861" rIns="109723" bIns="54861" numCol="1" rtlCol="0" anchor="ctr" anchorCtr="0" compatLnSpc="1">
              <a:prstTxWarp prst="textNoShape">
                <a:avLst/>
              </a:prstTxWarp>
            </a:bodyPr>
            <a:lstStyle/>
            <a:p>
              <a:pPr algn="ctr" defTabSz="1096856" fontAlgn="base">
                <a:spcBef>
                  <a:spcPct val="0"/>
                </a:spcBef>
                <a:spcAft>
                  <a:spcPct val="0"/>
                </a:spcAft>
              </a:pPr>
              <a:endParaRPr lang="en-US" sz="2700" dirty="0">
                <a:solidFill>
                  <a:srgbClr val="FFFFFF"/>
                </a:solidFill>
              </a:endParaRPr>
            </a:p>
          </p:txBody>
        </p:sp>
        <p:sp>
          <p:nvSpPr>
            <p:cNvPr id="360" name="Rectangle 359"/>
            <p:cNvSpPr/>
            <p:nvPr/>
          </p:nvSpPr>
          <p:spPr>
            <a:xfrm>
              <a:off x="9862194" y="1364180"/>
              <a:ext cx="1375754" cy="376476"/>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9" b="1" spc="-30" dirty="0">
                  <a:solidFill>
                    <a:srgbClr val="FFFFFF"/>
                  </a:solidFill>
                </a:rPr>
                <a:t>Published applications</a:t>
              </a:r>
            </a:p>
          </p:txBody>
        </p:sp>
        <p:grpSp>
          <p:nvGrpSpPr>
            <p:cNvPr id="361" name="Group 360"/>
            <p:cNvGrpSpPr/>
            <p:nvPr/>
          </p:nvGrpSpPr>
          <p:grpSpPr>
            <a:xfrm>
              <a:off x="10086753" y="2491902"/>
              <a:ext cx="1085295" cy="1234614"/>
              <a:chOff x="10086753" y="2491902"/>
              <a:chExt cx="1085295" cy="1234614"/>
            </a:xfrm>
          </p:grpSpPr>
          <p:sp>
            <p:nvSpPr>
              <p:cNvPr id="368" name="Rectangle 367"/>
              <p:cNvSpPr/>
              <p:nvPr/>
            </p:nvSpPr>
            <p:spPr>
              <a:xfrm>
                <a:off x="10086753" y="3350432"/>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Restful </a:t>
                </a:r>
                <a:r>
                  <a:rPr lang="en-US" sz="1198" dirty="0" err="1">
                    <a:ln>
                      <a:solidFill>
                        <a:srgbClr val="FFFFFF">
                          <a:alpha val="0"/>
                        </a:srgbClr>
                      </a:solidFill>
                    </a:ln>
                    <a:solidFill>
                      <a:srgbClr val="FFFFFF"/>
                    </a:solidFill>
                  </a:rPr>
                  <a:t>OAuth</a:t>
                </a:r>
                <a:r>
                  <a:rPr lang="en-US" sz="1198" dirty="0">
                    <a:ln>
                      <a:solidFill>
                        <a:srgbClr val="FFFFFF">
                          <a:alpha val="0"/>
                        </a:srgbClr>
                      </a:solidFill>
                    </a:ln>
                    <a:solidFill>
                      <a:srgbClr val="FFFFFF"/>
                    </a:solidFill>
                  </a:rPr>
                  <a:t> apps</a:t>
                </a:r>
              </a:p>
            </p:txBody>
          </p:sp>
          <p:sp>
            <p:nvSpPr>
              <p:cNvPr id="369" name="Freeform 59"/>
              <p:cNvSpPr>
                <a:spLocks noEditPoints="1"/>
              </p:cNvSpPr>
              <p:nvPr/>
            </p:nvSpPr>
            <p:spPr bwMode="auto">
              <a:xfrm>
                <a:off x="10333038" y="2491902"/>
                <a:ext cx="438493" cy="840142"/>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cmpd="sng">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62" name="Group 361"/>
            <p:cNvGrpSpPr/>
            <p:nvPr/>
          </p:nvGrpSpPr>
          <p:grpSpPr>
            <a:xfrm>
              <a:off x="10869084" y="1625264"/>
              <a:ext cx="1085295" cy="1124807"/>
              <a:chOff x="10869084" y="1625264"/>
              <a:chExt cx="1085295" cy="1124807"/>
            </a:xfrm>
          </p:grpSpPr>
          <p:sp>
            <p:nvSpPr>
              <p:cNvPr id="366" name="Rectangle 365"/>
              <p:cNvSpPr/>
              <p:nvPr/>
            </p:nvSpPr>
            <p:spPr>
              <a:xfrm>
                <a:off x="10869084" y="2373987"/>
                <a:ext cx="1085295" cy="376084"/>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Office Forms Based Access</a:t>
                </a:r>
              </a:p>
            </p:txBody>
          </p:sp>
          <p:sp>
            <p:nvSpPr>
              <p:cNvPr id="367" name="Freeform 59"/>
              <p:cNvSpPr>
                <a:spLocks noEditPoints="1"/>
              </p:cNvSpPr>
              <p:nvPr/>
            </p:nvSpPr>
            <p:spPr bwMode="auto">
              <a:xfrm>
                <a:off x="11179590" y="1625264"/>
                <a:ext cx="396360" cy="759416"/>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63" name="Group 362"/>
            <p:cNvGrpSpPr/>
            <p:nvPr/>
          </p:nvGrpSpPr>
          <p:grpSpPr>
            <a:xfrm>
              <a:off x="9335241" y="1625264"/>
              <a:ext cx="890300" cy="1323133"/>
              <a:chOff x="9335241" y="1625264"/>
              <a:chExt cx="890300" cy="1323133"/>
            </a:xfrm>
          </p:grpSpPr>
          <p:sp>
            <p:nvSpPr>
              <p:cNvPr id="364" name="Rectangle 363"/>
              <p:cNvSpPr/>
              <p:nvPr/>
            </p:nvSpPr>
            <p:spPr>
              <a:xfrm>
                <a:off x="9335241" y="2384270"/>
                <a:ext cx="890300" cy="564127"/>
              </a:xfrm>
              <a:prstGeom prst="rect">
                <a:avLst/>
              </a:prstGeom>
              <a:ln>
                <a:noFill/>
              </a:ln>
            </p:spPr>
            <p:txBody>
              <a:bodyPr wrap="square" lIns="0" tIns="0" rIns="0" bIns="0" anchor="ctr">
                <a:spAutoFit/>
              </a:bodyPr>
              <a:lstStyle/>
              <a:p>
                <a:pPr algn="ctr" defTabSz="1096269" fontAlgn="base">
                  <a:spcBef>
                    <a:spcPts val="1440"/>
                  </a:spcBef>
                  <a:spcAft>
                    <a:spcPct val="0"/>
                  </a:spcAft>
                </a:pPr>
                <a:r>
                  <a:rPr lang="en-US" sz="1198" dirty="0">
                    <a:ln>
                      <a:solidFill>
                        <a:srgbClr val="FFFFFF">
                          <a:alpha val="0"/>
                        </a:srgbClr>
                      </a:solidFill>
                    </a:ln>
                    <a:solidFill>
                      <a:srgbClr val="FFFFFF"/>
                    </a:solidFill>
                  </a:rPr>
                  <a:t>Claims &amp; Kerberos web apps</a:t>
                </a:r>
              </a:p>
            </p:txBody>
          </p:sp>
          <p:sp>
            <p:nvSpPr>
              <p:cNvPr id="365" name="Freeform 59"/>
              <p:cNvSpPr>
                <a:spLocks noEditPoints="1"/>
              </p:cNvSpPr>
              <p:nvPr/>
            </p:nvSpPr>
            <p:spPr bwMode="auto">
              <a:xfrm>
                <a:off x="9572789" y="1625264"/>
                <a:ext cx="392608" cy="752227"/>
              </a:xfrm>
              <a:custGeom>
                <a:avLst/>
                <a:gdLst>
                  <a:gd name="T0" fmla="*/ 115 w 1025"/>
                  <a:gd name="T1" fmla="*/ 1698 h 1967"/>
                  <a:gd name="T2" fmla="*/ 115 w 1025"/>
                  <a:gd name="T3" fmla="*/ 1790 h 1967"/>
                  <a:gd name="T4" fmla="*/ 909 w 1025"/>
                  <a:gd name="T5" fmla="*/ 1790 h 1967"/>
                  <a:gd name="T6" fmla="*/ 909 w 1025"/>
                  <a:gd name="T7" fmla="*/ 1698 h 1967"/>
                  <a:gd name="T8" fmla="*/ 115 w 1025"/>
                  <a:gd name="T9" fmla="*/ 1698 h 1967"/>
                  <a:gd name="T10" fmla="*/ 115 w 1025"/>
                  <a:gd name="T11" fmla="*/ 1548 h 1967"/>
                  <a:gd name="T12" fmla="*/ 115 w 1025"/>
                  <a:gd name="T13" fmla="*/ 1615 h 1967"/>
                  <a:gd name="T14" fmla="*/ 274 w 1025"/>
                  <a:gd name="T15" fmla="*/ 1615 h 1967"/>
                  <a:gd name="T16" fmla="*/ 274 w 1025"/>
                  <a:gd name="T17" fmla="*/ 1548 h 1967"/>
                  <a:gd name="T18" fmla="*/ 115 w 1025"/>
                  <a:gd name="T19" fmla="*/ 1548 h 1967"/>
                  <a:gd name="T20" fmla="*/ 115 w 1025"/>
                  <a:gd name="T21" fmla="*/ 1394 h 1967"/>
                  <a:gd name="T22" fmla="*/ 115 w 1025"/>
                  <a:gd name="T23" fmla="*/ 1465 h 1967"/>
                  <a:gd name="T24" fmla="*/ 274 w 1025"/>
                  <a:gd name="T25" fmla="*/ 1465 h 1967"/>
                  <a:gd name="T26" fmla="*/ 274 w 1025"/>
                  <a:gd name="T27" fmla="*/ 1394 h 1967"/>
                  <a:gd name="T28" fmla="*/ 115 w 1025"/>
                  <a:gd name="T29" fmla="*/ 1394 h 1967"/>
                  <a:gd name="T30" fmla="*/ 115 w 1025"/>
                  <a:gd name="T31" fmla="*/ 366 h 1967"/>
                  <a:gd name="T32" fmla="*/ 115 w 1025"/>
                  <a:gd name="T33" fmla="*/ 466 h 1967"/>
                  <a:gd name="T34" fmla="*/ 909 w 1025"/>
                  <a:gd name="T35" fmla="*/ 466 h 1967"/>
                  <a:gd name="T36" fmla="*/ 909 w 1025"/>
                  <a:gd name="T37" fmla="*/ 366 h 1967"/>
                  <a:gd name="T38" fmla="*/ 115 w 1025"/>
                  <a:gd name="T39" fmla="*/ 366 h 1967"/>
                  <a:gd name="T40" fmla="*/ 115 w 1025"/>
                  <a:gd name="T41" fmla="*/ 201 h 1967"/>
                  <a:gd name="T42" fmla="*/ 115 w 1025"/>
                  <a:gd name="T43" fmla="*/ 304 h 1967"/>
                  <a:gd name="T44" fmla="*/ 909 w 1025"/>
                  <a:gd name="T45" fmla="*/ 304 h 1967"/>
                  <a:gd name="T46" fmla="*/ 909 w 1025"/>
                  <a:gd name="T47" fmla="*/ 201 h 1967"/>
                  <a:gd name="T48" fmla="*/ 115 w 1025"/>
                  <a:gd name="T49" fmla="*/ 201 h 1967"/>
                  <a:gd name="T50" fmla="*/ 135 w 1025"/>
                  <a:gd name="T51" fmla="*/ 0 h 1967"/>
                  <a:gd name="T52" fmla="*/ 889 w 1025"/>
                  <a:gd name="T53" fmla="*/ 0 h 1967"/>
                  <a:gd name="T54" fmla="*/ 1025 w 1025"/>
                  <a:gd name="T55" fmla="*/ 118 h 1967"/>
                  <a:gd name="T56" fmla="*/ 1025 w 1025"/>
                  <a:gd name="T57" fmla="*/ 1849 h 1967"/>
                  <a:gd name="T58" fmla="*/ 889 w 1025"/>
                  <a:gd name="T59" fmla="*/ 1967 h 1967"/>
                  <a:gd name="T60" fmla="*/ 135 w 1025"/>
                  <a:gd name="T61" fmla="*/ 1967 h 1967"/>
                  <a:gd name="T62" fmla="*/ 0 w 1025"/>
                  <a:gd name="T63" fmla="*/ 1849 h 1967"/>
                  <a:gd name="T64" fmla="*/ 0 w 1025"/>
                  <a:gd name="T65" fmla="*/ 118 h 1967"/>
                  <a:gd name="T66" fmla="*/ 135 w 1025"/>
                  <a:gd name="T67" fmla="*/ 0 h 1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5" h="1967">
                    <a:moveTo>
                      <a:pt x="115" y="1698"/>
                    </a:moveTo>
                    <a:cubicBezTo>
                      <a:pt x="115" y="1766"/>
                      <a:pt x="115" y="1790"/>
                      <a:pt x="115" y="1790"/>
                    </a:cubicBezTo>
                    <a:cubicBezTo>
                      <a:pt x="909" y="1790"/>
                      <a:pt x="909" y="1790"/>
                      <a:pt x="909" y="1790"/>
                    </a:cubicBezTo>
                    <a:cubicBezTo>
                      <a:pt x="909" y="1722"/>
                      <a:pt x="909" y="1698"/>
                      <a:pt x="909" y="1698"/>
                    </a:cubicBezTo>
                    <a:cubicBezTo>
                      <a:pt x="115" y="1698"/>
                      <a:pt x="115" y="1698"/>
                      <a:pt x="115" y="1698"/>
                    </a:cubicBezTo>
                    <a:close/>
                    <a:moveTo>
                      <a:pt x="115" y="1548"/>
                    </a:moveTo>
                    <a:cubicBezTo>
                      <a:pt x="115" y="1615"/>
                      <a:pt x="115" y="1615"/>
                      <a:pt x="115" y="1615"/>
                    </a:cubicBezTo>
                    <a:cubicBezTo>
                      <a:pt x="274" y="1615"/>
                      <a:pt x="274" y="1615"/>
                      <a:pt x="274" y="1615"/>
                    </a:cubicBezTo>
                    <a:cubicBezTo>
                      <a:pt x="274" y="1548"/>
                      <a:pt x="274" y="1548"/>
                      <a:pt x="274" y="1548"/>
                    </a:cubicBezTo>
                    <a:cubicBezTo>
                      <a:pt x="115" y="1548"/>
                      <a:pt x="115" y="1548"/>
                      <a:pt x="115" y="1548"/>
                    </a:cubicBezTo>
                    <a:close/>
                    <a:moveTo>
                      <a:pt x="115" y="1394"/>
                    </a:moveTo>
                    <a:cubicBezTo>
                      <a:pt x="115" y="1465"/>
                      <a:pt x="115" y="1465"/>
                      <a:pt x="115" y="1465"/>
                    </a:cubicBezTo>
                    <a:cubicBezTo>
                      <a:pt x="274" y="1465"/>
                      <a:pt x="274" y="1465"/>
                      <a:pt x="274" y="1465"/>
                    </a:cubicBezTo>
                    <a:cubicBezTo>
                      <a:pt x="274" y="1394"/>
                      <a:pt x="274" y="1394"/>
                      <a:pt x="274" y="1394"/>
                    </a:cubicBezTo>
                    <a:cubicBezTo>
                      <a:pt x="115" y="1394"/>
                      <a:pt x="115" y="1394"/>
                      <a:pt x="115" y="1394"/>
                    </a:cubicBezTo>
                    <a:close/>
                    <a:moveTo>
                      <a:pt x="115" y="366"/>
                    </a:moveTo>
                    <a:cubicBezTo>
                      <a:pt x="115" y="466"/>
                      <a:pt x="115" y="466"/>
                      <a:pt x="115" y="466"/>
                    </a:cubicBezTo>
                    <a:cubicBezTo>
                      <a:pt x="909" y="466"/>
                      <a:pt x="909" y="466"/>
                      <a:pt x="909" y="466"/>
                    </a:cubicBezTo>
                    <a:cubicBezTo>
                      <a:pt x="909" y="366"/>
                      <a:pt x="909" y="366"/>
                      <a:pt x="909" y="366"/>
                    </a:cubicBezTo>
                    <a:cubicBezTo>
                      <a:pt x="115" y="366"/>
                      <a:pt x="115" y="366"/>
                      <a:pt x="115" y="366"/>
                    </a:cubicBezTo>
                    <a:close/>
                    <a:moveTo>
                      <a:pt x="115" y="201"/>
                    </a:moveTo>
                    <a:cubicBezTo>
                      <a:pt x="115" y="304"/>
                      <a:pt x="115" y="304"/>
                      <a:pt x="115" y="304"/>
                    </a:cubicBezTo>
                    <a:cubicBezTo>
                      <a:pt x="909" y="304"/>
                      <a:pt x="909" y="304"/>
                      <a:pt x="909" y="304"/>
                    </a:cubicBezTo>
                    <a:cubicBezTo>
                      <a:pt x="909" y="201"/>
                      <a:pt x="909" y="201"/>
                      <a:pt x="909" y="201"/>
                    </a:cubicBezTo>
                    <a:cubicBezTo>
                      <a:pt x="115" y="201"/>
                      <a:pt x="115" y="201"/>
                      <a:pt x="115" y="201"/>
                    </a:cubicBezTo>
                    <a:close/>
                    <a:moveTo>
                      <a:pt x="135" y="0"/>
                    </a:moveTo>
                    <a:cubicBezTo>
                      <a:pt x="889" y="0"/>
                      <a:pt x="889" y="0"/>
                      <a:pt x="889" y="0"/>
                    </a:cubicBezTo>
                    <a:cubicBezTo>
                      <a:pt x="963" y="0"/>
                      <a:pt x="1025" y="53"/>
                      <a:pt x="1025" y="118"/>
                    </a:cubicBezTo>
                    <a:cubicBezTo>
                      <a:pt x="1025" y="1849"/>
                      <a:pt x="1025" y="1849"/>
                      <a:pt x="1025" y="1849"/>
                    </a:cubicBezTo>
                    <a:cubicBezTo>
                      <a:pt x="1025" y="1914"/>
                      <a:pt x="963" y="1967"/>
                      <a:pt x="889" y="1967"/>
                    </a:cubicBezTo>
                    <a:cubicBezTo>
                      <a:pt x="135" y="1967"/>
                      <a:pt x="135" y="1967"/>
                      <a:pt x="135" y="1967"/>
                    </a:cubicBezTo>
                    <a:cubicBezTo>
                      <a:pt x="62" y="1967"/>
                      <a:pt x="0" y="1914"/>
                      <a:pt x="0" y="1849"/>
                    </a:cubicBezTo>
                    <a:cubicBezTo>
                      <a:pt x="0" y="118"/>
                      <a:pt x="0" y="118"/>
                      <a:pt x="0" y="118"/>
                    </a:cubicBezTo>
                    <a:cubicBezTo>
                      <a:pt x="0" y="53"/>
                      <a:pt x="62" y="0"/>
                      <a:pt x="135" y="0"/>
                    </a:cubicBez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370" name="Group 369"/>
          <p:cNvGrpSpPr/>
          <p:nvPr/>
        </p:nvGrpSpPr>
        <p:grpSpPr>
          <a:xfrm>
            <a:off x="5239047" y="3064557"/>
            <a:ext cx="1302996" cy="1261361"/>
            <a:chOff x="6254752" y="4056751"/>
            <a:chExt cx="1486866" cy="1439356"/>
          </a:xfrm>
        </p:grpSpPr>
        <p:sp>
          <p:nvSpPr>
            <p:cNvPr id="371" name="TextBox 370"/>
            <p:cNvSpPr txBox="1"/>
            <p:nvPr/>
          </p:nvSpPr>
          <p:spPr>
            <a:xfrm>
              <a:off x="6461198" y="4906161"/>
              <a:ext cx="1138923" cy="589946"/>
            </a:xfrm>
            <a:prstGeom prst="rect">
              <a:avLst/>
            </a:prstGeom>
            <a:noFill/>
          </p:spPr>
          <p:txBody>
            <a:bodyPr wrap="none" lIns="182854" tIns="146283" rIns="182854" bIns="146283" rtlCol="0">
              <a:spAutoFit/>
            </a:bodyPr>
            <a:lstStyle/>
            <a:p>
              <a:pPr defTabSz="932563">
                <a:lnSpc>
                  <a:spcPct val="90000"/>
                </a:lnSpc>
              </a:pPr>
              <a:r>
                <a:rPr lang="en-GB" sz="1599" spc="-50" dirty="0">
                  <a:solidFill>
                    <a:srgbClr val="FFFFFF"/>
                  </a:solidFill>
                </a:rPr>
                <a:t>Firewall</a:t>
              </a:r>
            </a:p>
          </p:txBody>
        </p:sp>
        <p:sp>
          <p:nvSpPr>
            <p:cNvPr id="372" name="Freeform 6"/>
            <p:cNvSpPr>
              <a:spLocks noEditPoints="1"/>
            </p:cNvSpPr>
            <p:nvPr/>
          </p:nvSpPr>
          <p:spPr bwMode="auto">
            <a:xfrm>
              <a:off x="6254752" y="4056751"/>
              <a:ext cx="1486866" cy="924684"/>
            </a:xfrm>
            <a:custGeom>
              <a:avLst/>
              <a:gdLst>
                <a:gd name="T0" fmla="*/ 2943 w 3874"/>
                <a:gd name="T1" fmla="*/ 1838 h 2407"/>
                <a:gd name="T2" fmla="*/ 3396 w 3874"/>
                <a:gd name="T3" fmla="*/ 2407 h 2407"/>
                <a:gd name="T4" fmla="*/ 2672 w 3874"/>
                <a:gd name="T5" fmla="*/ 2407 h 2407"/>
                <a:gd name="T6" fmla="*/ 2465 w 3874"/>
                <a:gd name="T7" fmla="*/ 2000 h 2407"/>
                <a:gd name="T8" fmla="*/ 1491 w 3874"/>
                <a:gd name="T9" fmla="*/ 1838 h 2407"/>
                <a:gd name="T10" fmla="*/ 2412 w 3874"/>
                <a:gd name="T11" fmla="*/ 2407 h 2407"/>
                <a:gd name="T12" fmla="*/ 1859 w 3874"/>
                <a:gd name="T13" fmla="*/ 2407 h 2407"/>
                <a:gd name="T14" fmla="*/ 1478 w 3874"/>
                <a:gd name="T15" fmla="*/ 2324 h 2407"/>
                <a:gd name="T16" fmla="*/ 495 w 3874"/>
                <a:gd name="T17" fmla="*/ 1838 h 2407"/>
                <a:gd name="T18" fmla="*/ 1425 w 3874"/>
                <a:gd name="T19" fmla="*/ 1838 h 2407"/>
                <a:gd name="T20" fmla="*/ 1015 w 3874"/>
                <a:gd name="T21" fmla="*/ 2407 h 2407"/>
                <a:gd name="T22" fmla="*/ 491 w 3874"/>
                <a:gd name="T23" fmla="*/ 2401 h 2407"/>
                <a:gd name="T24" fmla="*/ 3604 w 3874"/>
                <a:gd name="T25" fmla="*/ 1838 h 2407"/>
                <a:gd name="T26" fmla="*/ 3867 w 3874"/>
                <a:gd name="T27" fmla="*/ 2407 h 2407"/>
                <a:gd name="T28" fmla="*/ 3528 w 3874"/>
                <a:gd name="T29" fmla="*/ 2407 h 2407"/>
                <a:gd name="T30" fmla="*/ 3459 w 3874"/>
                <a:gd name="T31" fmla="*/ 2264 h 2407"/>
                <a:gd name="T32" fmla="*/ 3571 w 3874"/>
                <a:gd name="T33" fmla="*/ 1838 h 2407"/>
                <a:gd name="T34" fmla="*/ 448 w 3874"/>
                <a:gd name="T35" fmla="*/ 2407 h 2407"/>
                <a:gd name="T36" fmla="*/ 248 w 3874"/>
                <a:gd name="T37" fmla="*/ 2407 h 2407"/>
                <a:gd name="T38" fmla="*/ 0 w 3874"/>
                <a:gd name="T39" fmla="*/ 2397 h 2407"/>
                <a:gd name="T40" fmla="*/ 0 w 3874"/>
                <a:gd name="T41" fmla="*/ 1838 h 2407"/>
                <a:gd name="T42" fmla="*/ 3870 w 3874"/>
                <a:gd name="T43" fmla="*/ 1795 h 2407"/>
                <a:gd name="T44" fmla="*/ 3399 w 3874"/>
                <a:gd name="T45" fmla="*/ 1795 h 2407"/>
                <a:gd name="T46" fmla="*/ 2951 w 3874"/>
                <a:gd name="T47" fmla="*/ 1793 h 2407"/>
                <a:gd name="T48" fmla="*/ 2951 w 3874"/>
                <a:gd name="T49" fmla="*/ 1389 h 2407"/>
                <a:gd name="T50" fmla="*/ 2895 w 3874"/>
                <a:gd name="T51" fmla="*/ 1795 h 2407"/>
                <a:gd name="T52" fmla="*/ 2170 w 3874"/>
                <a:gd name="T53" fmla="*/ 1795 h 2407"/>
                <a:gd name="T54" fmla="*/ 1910 w 3874"/>
                <a:gd name="T55" fmla="*/ 1795 h 2407"/>
                <a:gd name="T56" fmla="*/ 1274 w 3874"/>
                <a:gd name="T57" fmla="*/ 1795 h 2407"/>
                <a:gd name="T58" fmla="*/ 977 w 3874"/>
                <a:gd name="T59" fmla="*/ 1785 h 2407"/>
                <a:gd name="T60" fmla="*/ 977 w 3874"/>
                <a:gd name="T61" fmla="*/ 1228 h 2407"/>
                <a:gd name="T62" fmla="*/ 477 w 3874"/>
                <a:gd name="T63" fmla="*/ 1795 h 2407"/>
                <a:gd name="T64" fmla="*/ 0 w 3874"/>
                <a:gd name="T65" fmla="*/ 1795 h 2407"/>
                <a:gd name="T66" fmla="*/ 0 w 3874"/>
                <a:gd name="T67" fmla="*/ 1238 h 2407"/>
                <a:gd name="T68" fmla="*/ 3601 w 3874"/>
                <a:gd name="T69" fmla="*/ 614 h 2407"/>
                <a:gd name="T70" fmla="*/ 3452 w 3874"/>
                <a:gd name="T71" fmla="*/ 1121 h 2407"/>
                <a:gd name="T72" fmla="*/ 0 w 3874"/>
                <a:gd name="T73" fmla="*/ 614 h 2407"/>
                <a:gd name="T74" fmla="*/ 0 w 3874"/>
                <a:gd name="T75" fmla="*/ 1180 h 2407"/>
                <a:gd name="T76" fmla="*/ 0 w 3874"/>
                <a:gd name="T77" fmla="*/ 999 h 2407"/>
                <a:gd name="T78" fmla="*/ 2459 w 3874"/>
                <a:gd name="T79" fmla="*/ 1181 h 2407"/>
                <a:gd name="T80" fmla="*/ 2459 w 3874"/>
                <a:gd name="T81" fmla="*/ 614 h 2407"/>
                <a:gd name="T82" fmla="*/ 1472 w 3874"/>
                <a:gd name="T83" fmla="*/ 1179 h 2407"/>
                <a:gd name="T84" fmla="*/ 1950 w 3874"/>
                <a:gd name="T85" fmla="*/ 614 h 2407"/>
                <a:gd name="T86" fmla="*/ 486 w 3874"/>
                <a:gd name="T87" fmla="*/ 1170 h 2407"/>
                <a:gd name="T88" fmla="*/ 963 w 3874"/>
                <a:gd name="T89" fmla="*/ 614 h 2407"/>
                <a:gd name="T90" fmla="*/ 3874 w 3874"/>
                <a:gd name="T91" fmla="*/ 567 h 2407"/>
                <a:gd name="T92" fmla="*/ 3161 w 3874"/>
                <a:gd name="T93" fmla="*/ 567 h 2407"/>
                <a:gd name="T94" fmla="*/ 2958 w 3874"/>
                <a:gd name="T95" fmla="*/ 507 h 2407"/>
                <a:gd name="T96" fmla="*/ 2958 w 3874"/>
                <a:gd name="T97" fmla="*/ 0 h 2407"/>
                <a:gd name="T98" fmla="*/ 2450 w 3874"/>
                <a:gd name="T99" fmla="*/ 0 h 2407"/>
                <a:gd name="T100" fmla="*/ 2905 w 3874"/>
                <a:gd name="T101" fmla="*/ 567 h 2407"/>
                <a:gd name="T102" fmla="*/ 2079 w 3874"/>
                <a:gd name="T103" fmla="*/ 567 h 2407"/>
                <a:gd name="T104" fmla="*/ 1984 w 3874"/>
                <a:gd name="T105" fmla="*/ 0 h 2407"/>
                <a:gd name="T106" fmla="*/ 1918 w 3874"/>
                <a:gd name="T107" fmla="*/ 0 h 2407"/>
                <a:gd name="T108" fmla="*/ 1440 w 3874"/>
                <a:gd name="T109" fmla="*/ 567 h 2407"/>
                <a:gd name="T110" fmla="*/ 984 w 3874"/>
                <a:gd name="T111" fmla="*/ 561 h 2407"/>
                <a:gd name="T112" fmla="*/ 984 w 3874"/>
                <a:gd name="T113" fmla="*/ 84 h 2407"/>
                <a:gd name="T114" fmla="*/ 1394 w 3874"/>
                <a:gd name="T115" fmla="*/ 0 h 2407"/>
                <a:gd name="T116" fmla="*/ 933 w 3874"/>
                <a:gd name="T117" fmla="*/ 567 h 2407"/>
                <a:gd name="T118" fmla="*/ 3 w 3874"/>
                <a:gd name="T119" fmla="*/ 567 h 2407"/>
                <a:gd name="T120" fmla="*/ 0 w 3874"/>
                <a:gd name="T121" fmla="*/ 226 h 2407"/>
                <a:gd name="T122" fmla="*/ 0 w 3874"/>
                <a:gd name="T123" fmla="*/ 0 h 2407"/>
                <a:gd name="T124" fmla="*/ 926 w 3874"/>
                <a:gd name="T125" fmla="*/ 0 h 2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74" h="2407">
                  <a:moveTo>
                    <a:pt x="2465" y="1838"/>
                  </a:moveTo>
                  <a:lnTo>
                    <a:pt x="2465" y="1838"/>
                  </a:lnTo>
                  <a:lnTo>
                    <a:pt x="2465" y="1838"/>
                  </a:lnTo>
                  <a:lnTo>
                    <a:pt x="2469" y="1838"/>
                  </a:lnTo>
                  <a:lnTo>
                    <a:pt x="2472" y="1838"/>
                  </a:lnTo>
                  <a:lnTo>
                    <a:pt x="2478" y="1838"/>
                  </a:lnTo>
                  <a:lnTo>
                    <a:pt x="2875" y="1838"/>
                  </a:lnTo>
                  <a:lnTo>
                    <a:pt x="2943" y="1838"/>
                  </a:lnTo>
                  <a:lnTo>
                    <a:pt x="3018" y="1838"/>
                  </a:lnTo>
                  <a:lnTo>
                    <a:pt x="3192" y="1838"/>
                  </a:lnTo>
                  <a:lnTo>
                    <a:pt x="3291" y="1838"/>
                  </a:lnTo>
                  <a:lnTo>
                    <a:pt x="3399" y="1838"/>
                  </a:lnTo>
                  <a:lnTo>
                    <a:pt x="3399" y="2407"/>
                  </a:lnTo>
                  <a:lnTo>
                    <a:pt x="3399" y="2407"/>
                  </a:lnTo>
                  <a:lnTo>
                    <a:pt x="3398" y="2407"/>
                  </a:lnTo>
                  <a:lnTo>
                    <a:pt x="3396" y="2407"/>
                  </a:lnTo>
                  <a:lnTo>
                    <a:pt x="3395" y="2407"/>
                  </a:lnTo>
                  <a:lnTo>
                    <a:pt x="3392" y="2407"/>
                  </a:lnTo>
                  <a:lnTo>
                    <a:pt x="3386" y="2407"/>
                  </a:lnTo>
                  <a:lnTo>
                    <a:pt x="2989" y="2407"/>
                  </a:lnTo>
                  <a:lnTo>
                    <a:pt x="2920" y="2407"/>
                  </a:lnTo>
                  <a:lnTo>
                    <a:pt x="2846" y="2407"/>
                  </a:lnTo>
                  <a:lnTo>
                    <a:pt x="2762" y="2407"/>
                  </a:lnTo>
                  <a:lnTo>
                    <a:pt x="2672" y="2407"/>
                  </a:lnTo>
                  <a:lnTo>
                    <a:pt x="2573" y="2407"/>
                  </a:lnTo>
                  <a:lnTo>
                    <a:pt x="2465" y="2407"/>
                  </a:lnTo>
                  <a:lnTo>
                    <a:pt x="2465" y="2407"/>
                  </a:lnTo>
                  <a:lnTo>
                    <a:pt x="2465" y="2406"/>
                  </a:lnTo>
                  <a:lnTo>
                    <a:pt x="2465" y="2347"/>
                  </a:lnTo>
                  <a:lnTo>
                    <a:pt x="2465" y="2324"/>
                  </a:lnTo>
                  <a:lnTo>
                    <a:pt x="2465" y="2297"/>
                  </a:lnTo>
                  <a:lnTo>
                    <a:pt x="2465" y="2000"/>
                  </a:lnTo>
                  <a:lnTo>
                    <a:pt x="2465" y="1923"/>
                  </a:lnTo>
                  <a:lnTo>
                    <a:pt x="2465" y="1838"/>
                  </a:lnTo>
                  <a:close/>
                  <a:moveTo>
                    <a:pt x="1478" y="1838"/>
                  </a:moveTo>
                  <a:lnTo>
                    <a:pt x="1478" y="1838"/>
                  </a:lnTo>
                  <a:lnTo>
                    <a:pt x="1478" y="1838"/>
                  </a:lnTo>
                  <a:lnTo>
                    <a:pt x="1482" y="1838"/>
                  </a:lnTo>
                  <a:lnTo>
                    <a:pt x="1485" y="1838"/>
                  </a:lnTo>
                  <a:lnTo>
                    <a:pt x="1491" y="1838"/>
                  </a:lnTo>
                  <a:lnTo>
                    <a:pt x="1888" y="1838"/>
                  </a:lnTo>
                  <a:lnTo>
                    <a:pt x="1956" y="1838"/>
                  </a:lnTo>
                  <a:lnTo>
                    <a:pt x="2031" y="1838"/>
                  </a:lnTo>
                  <a:lnTo>
                    <a:pt x="2205" y="1838"/>
                  </a:lnTo>
                  <a:lnTo>
                    <a:pt x="2304" y="1838"/>
                  </a:lnTo>
                  <a:lnTo>
                    <a:pt x="2412" y="1838"/>
                  </a:lnTo>
                  <a:lnTo>
                    <a:pt x="2412" y="2407"/>
                  </a:lnTo>
                  <a:lnTo>
                    <a:pt x="2412" y="2407"/>
                  </a:lnTo>
                  <a:lnTo>
                    <a:pt x="2411" y="2407"/>
                  </a:lnTo>
                  <a:lnTo>
                    <a:pt x="2410" y="2407"/>
                  </a:lnTo>
                  <a:lnTo>
                    <a:pt x="2408" y="2407"/>
                  </a:lnTo>
                  <a:lnTo>
                    <a:pt x="2405" y="2407"/>
                  </a:lnTo>
                  <a:lnTo>
                    <a:pt x="2399" y="2407"/>
                  </a:lnTo>
                  <a:lnTo>
                    <a:pt x="2002" y="2407"/>
                  </a:lnTo>
                  <a:lnTo>
                    <a:pt x="1933" y="2407"/>
                  </a:lnTo>
                  <a:lnTo>
                    <a:pt x="1859" y="2407"/>
                  </a:lnTo>
                  <a:lnTo>
                    <a:pt x="1775" y="2407"/>
                  </a:lnTo>
                  <a:lnTo>
                    <a:pt x="1685" y="2407"/>
                  </a:lnTo>
                  <a:lnTo>
                    <a:pt x="1586" y="2407"/>
                  </a:lnTo>
                  <a:lnTo>
                    <a:pt x="1478" y="2407"/>
                  </a:lnTo>
                  <a:lnTo>
                    <a:pt x="1478" y="2407"/>
                  </a:lnTo>
                  <a:lnTo>
                    <a:pt x="1478" y="2406"/>
                  </a:lnTo>
                  <a:lnTo>
                    <a:pt x="1478" y="2347"/>
                  </a:lnTo>
                  <a:lnTo>
                    <a:pt x="1478" y="2324"/>
                  </a:lnTo>
                  <a:lnTo>
                    <a:pt x="1478" y="2297"/>
                  </a:lnTo>
                  <a:lnTo>
                    <a:pt x="1478" y="2000"/>
                  </a:lnTo>
                  <a:lnTo>
                    <a:pt x="1478" y="1923"/>
                  </a:lnTo>
                  <a:lnTo>
                    <a:pt x="1478" y="1838"/>
                  </a:lnTo>
                  <a:close/>
                  <a:moveTo>
                    <a:pt x="491" y="1838"/>
                  </a:moveTo>
                  <a:lnTo>
                    <a:pt x="491" y="1838"/>
                  </a:lnTo>
                  <a:lnTo>
                    <a:pt x="491" y="1838"/>
                  </a:lnTo>
                  <a:lnTo>
                    <a:pt x="495" y="1838"/>
                  </a:lnTo>
                  <a:lnTo>
                    <a:pt x="499" y="1838"/>
                  </a:lnTo>
                  <a:lnTo>
                    <a:pt x="504" y="1838"/>
                  </a:lnTo>
                  <a:lnTo>
                    <a:pt x="902" y="1838"/>
                  </a:lnTo>
                  <a:lnTo>
                    <a:pt x="969" y="1838"/>
                  </a:lnTo>
                  <a:lnTo>
                    <a:pt x="1045" y="1838"/>
                  </a:lnTo>
                  <a:lnTo>
                    <a:pt x="1218" y="1838"/>
                  </a:lnTo>
                  <a:lnTo>
                    <a:pt x="1318" y="1838"/>
                  </a:lnTo>
                  <a:lnTo>
                    <a:pt x="1425" y="1838"/>
                  </a:lnTo>
                  <a:lnTo>
                    <a:pt x="1425" y="2407"/>
                  </a:lnTo>
                  <a:lnTo>
                    <a:pt x="1425" y="2407"/>
                  </a:lnTo>
                  <a:lnTo>
                    <a:pt x="1424" y="2407"/>
                  </a:lnTo>
                  <a:lnTo>
                    <a:pt x="1424" y="2407"/>
                  </a:lnTo>
                  <a:lnTo>
                    <a:pt x="1422" y="2407"/>
                  </a:lnTo>
                  <a:lnTo>
                    <a:pt x="1418" y="2407"/>
                  </a:lnTo>
                  <a:lnTo>
                    <a:pt x="1412" y="2407"/>
                  </a:lnTo>
                  <a:lnTo>
                    <a:pt x="1015" y="2407"/>
                  </a:lnTo>
                  <a:lnTo>
                    <a:pt x="946" y="2407"/>
                  </a:lnTo>
                  <a:lnTo>
                    <a:pt x="872" y="2407"/>
                  </a:lnTo>
                  <a:lnTo>
                    <a:pt x="788" y="2407"/>
                  </a:lnTo>
                  <a:lnTo>
                    <a:pt x="698" y="2407"/>
                  </a:lnTo>
                  <a:lnTo>
                    <a:pt x="599" y="2407"/>
                  </a:lnTo>
                  <a:lnTo>
                    <a:pt x="491" y="2407"/>
                  </a:lnTo>
                  <a:lnTo>
                    <a:pt x="491" y="2405"/>
                  </a:lnTo>
                  <a:lnTo>
                    <a:pt x="491" y="2401"/>
                  </a:lnTo>
                  <a:lnTo>
                    <a:pt x="491" y="2397"/>
                  </a:lnTo>
                  <a:lnTo>
                    <a:pt x="491" y="2347"/>
                  </a:lnTo>
                  <a:lnTo>
                    <a:pt x="491" y="2324"/>
                  </a:lnTo>
                  <a:lnTo>
                    <a:pt x="491" y="2297"/>
                  </a:lnTo>
                  <a:lnTo>
                    <a:pt x="491" y="2264"/>
                  </a:lnTo>
                  <a:lnTo>
                    <a:pt x="491" y="2225"/>
                  </a:lnTo>
                  <a:lnTo>
                    <a:pt x="491" y="1838"/>
                  </a:lnTo>
                  <a:close/>
                  <a:moveTo>
                    <a:pt x="3604" y="1838"/>
                  </a:moveTo>
                  <a:lnTo>
                    <a:pt x="3645" y="1838"/>
                  </a:lnTo>
                  <a:lnTo>
                    <a:pt x="3689" y="1838"/>
                  </a:lnTo>
                  <a:lnTo>
                    <a:pt x="3804" y="1838"/>
                  </a:lnTo>
                  <a:lnTo>
                    <a:pt x="3873" y="1838"/>
                  </a:lnTo>
                  <a:lnTo>
                    <a:pt x="3873" y="2407"/>
                  </a:lnTo>
                  <a:lnTo>
                    <a:pt x="3873" y="2407"/>
                  </a:lnTo>
                  <a:lnTo>
                    <a:pt x="3870" y="2407"/>
                  </a:lnTo>
                  <a:lnTo>
                    <a:pt x="3867" y="2407"/>
                  </a:lnTo>
                  <a:lnTo>
                    <a:pt x="3829" y="2407"/>
                  </a:lnTo>
                  <a:lnTo>
                    <a:pt x="3811" y="2407"/>
                  </a:lnTo>
                  <a:lnTo>
                    <a:pt x="3789" y="2407"/>
                  </a:lnTo>
                  <a:lnTo>
                    <a:pt x="3760" y="2407"/>
                  </a:lnTo>
                  <a:lnTo>
                    <a:pt x="3727" y="2407"/>
                  </a:lnTo>
                  <a:lnTo>
                    <a:pt x="3687" y="2407"/>
                  </a:lnTo>
                  <a:lnTo>
                    <a:pt x="3642" y="2407"/>
                  </a:lnTo>
                  <a:lnTo>
                    <a:pt x="3528" y="2407"/>
                  </a:lnTo>
                  <a:lnTo>
                    <a:pt x="3459" y="2407"/>
                  </a:lnTo>
                  <a:lnTo>
                    <a:pt x="3459" y="2405"/>
                  </a:lnTo>
                  <a:lnTo>
                    <a:pt x="3459" y="2401"/>
                  </a:lnTo>
                  <a:lnTo>
                    <a:pt x="3459" y="2397"/>
                  </a:lnTo>
                  <a:lnTo>
                    <a:pt x="3459" y="2347"/>
                  </a:lnTo>
                  <a:lnTo>
                    <a:pt x="3459" y="2324"/>
                  </a:lnTo>
                  <a:lnTo>
                    <a:pt x="3459" y="2297"/>
                  </a:lnTo>
                  <a:lnTo>
                    <a:pt x="3459" y="2264"/>
                  </a:lnTo>
                  <a:lnTo>
                    <a:pt x="3459" y="2225"/>
                  </a:lnTo>
                  <a:lnTo>
                    <a:pt x="3459" y="2000"/>
                  </a:lnTo>
                  <a:lnTo>
                    <a:pt x="3459" y="1923"/>
                  </a:lnTo>
                  <a:lnTo>
                    <a:pt x="3459" y="1838"/>
                  </a:lnTo>
                  <a:lnTo>
                    <a:pt x="3459" y="1838"/>
                  </a:lnTo>
                  <a:lnTo>
                    <a:pt x="3460" y="1838"/>
                  </a:lnTo>
                  <a:lnTo>
                    <a:pt x="3461" y="1838"/>
                  </a:lnTo>
                  <a:lnTo>
                    <a:pt x="3571" y="1838"/>
                  </a:lnTo>
                  <a:lnTo>
                    <a:pt x="3604" y="1838"/>
                  </a:lnTo>
                  <a:close/>
                  <a:moveTo>
                    <a:pt x="157" y="1838"/>
                  </a:moveTo>
                  <a:lnTo>
                    <a:pt x="201" y="1838"/>
                  </a:lnTo>
                  <a:lnTo>
                    <a:pt x="250" y="1838"/>
                  </a:lnTo>
                  <a:lnTo>
                    <a:pt x="373" y="1838"/>
                  </a:lnTo>
                  <a:lnTo>
                    <a:pt x="448" y="1838"/>
                  </a:lnTo>
                  <a:lnTo>
                    <a:pt x="448" y="2407"/>
                  </a:lnTo>
                  <a:lnTo>
                    <a:pt x="448" y="2407"/>
                  </a:lnTo>
                  <a:lnTo>
                    <a:pt x="445" y="2407"/>
                  </a:lnTo>
                  <a:lnTo>
                    <a:pt x="442" y="2407"/>
                  </a:lnTo>
                  <a:lnTo>
                    <a:pt x="402" y="2407"/>
                  </a:lnTo>
                  <a:lnTo>
                    <a:pt x="382" y="2407"/>
                  </a:lnTo>
                  <a:lnTo>
                    <a:pt x="357" y="2407"/>
                  </a:lnTo>
                  <a:lnTo>
                    <a:pt x="326" y="2407"/>
                  </a:lnTo>
                  <a:lnTo>
                    <a:pt x="291" y="2407"/>
                  </a:lnTo>
                  <a:lnTo>
                    <a:pt x="248" y="2407"/>
                  </a:lnTo>
                  <a:lnTo>
                    <a:pt x="197" y="2407"/>
                  </a:lnTo>
                  <a:lnTo>
                    <a:pt x="74" y="2407"/>
                  </a:lnTo>
                  <a:lnTo>
                    <a:pt x="0" y="2407"/>
                  </a:lnTo>
                  <a:lnTo>
                    <a:pt x="0" y="2407"/>
                  </a:lnTo>
                  <a:lnTo>
                    <a:pt x="0" y="2406"/>
                  </a:lnTo>
                  <a:lnTo>
                    <a:pt x="0" y="2405"/>
                  </a:lnTo>
                  <a:lnTo>
                    <a:pt x="0" y="2401"/>
                  </a:lnTo>
                  <a:lnTo>
                    <a:pt x="0" y="2397"/>
                  </a:lnTo>
                  <a:lnTo>
                    <a:pt x="0" y="2347"/>
                  </a:lnTo>
                  <a:lnTo>
                    <a:pt x="0" y="2324"/>
                  </a:lnTo>
                  <a:lnTo>
                    <a:pt x="0" y="2297"/>
                  </a:lnTo>
                  <a:lnTo>
                    <a:pt x="0" y="2264"/>
                  </a:lnTo>
                  <a:lnTo>
                    <a:pt x="0" y="2225"/>
                  </a:lnTo>
                  <a:lnTo>
                    <a:pt x="0" y="2000"/>
                  </a:lnTo>
                  <a:lnTo>
                    <a:pt x="0" y="1923"/>
                  </a:lnTo>
                  <a:lnTo>
                    <a:pt x="0" y="1838"/>
                  </a:lnTo>
                  <a:lnTo>
                    <a:pt x="0" y="1838"/>
                  </a:lnTo>
                  <a:lnTo>
                    <a:pt x="1" y="1838"/>
                  </a:lnTo>
                  <a:lnTo>
                    <a:pt x="2" y="1838"/>
                  </a:lnTo>
                  <a:lnTo>
                    <a:pt x="122" y="1838"/>
                  </a:lnTo>
                  <a:lnTo>
                    <a:pt x="157" y="1838"/>
                  </a:lnTo>
                  <a:close/>
                  <a:moveTo>
                    <a:pt x="2951" y="1228"/>
                  </a:moveTo>
                  <a:lnTo>
                    <a:pt x="3870" y="1228"/>
                  </a:lnTo>
                  <a:lnTo>
                    <a:pt x="3870" y="1795"/>
                  </a:lnTo>
                  <a:lnTo>
                    <a:pt x="3870" y="1795"/>
                  </a:lnTo>
                  <a:lnTo>
                    <a:pt x="3869" y="1795"/>
                  </a:lnTo>
                  <a:lnTo>
                    <a:pt x="3868" y="1795"/>
                  </a:lnTo>
                  <a:lnTo>
                    <a:pt x="3867" y="1795"/>
                  </a:lnTo>
                  <a:lnTo>
                    <a:pt x="3862" y="1795"/>
                  </a:lnTo>
                  <a:lnTo>
                    <a:pt x="3857" y="1795"/>
                  </a:lnTo>
                  <a:lnTo>
                    <a:pt x="3466" y="1795"/>
                  </a:lnTo>
                  <a:lnTo>
                    <a:pt x="3399" y="1795"/>
                  </a:lnTo>
                  <a:lnTo>
                    <a:pt x="3325" y="1795"/>
                  </a:lnTo>
                  <a:lnTo>
                    <a:pt x="3243" y="1795"/>
                  </a:lnTo>
                  <a:lnTo>
                    <a:pt x="3154" y="1795"/>
                  </a:lnTo>
                  <a:lnTo>
                    <a:pt x="3056" y="1795"/>
                  </a:lnTo>
                  <a:lnTo>
                    <a:pt x="2951" y="1795"/>
                  </a:lnTo>
                  <a:lnTo>
                    <a:pt x="2951" y="1795"/>
                  </a:lnTo>
                  <a:lnTo>
                    <a:pt x="2951" y="1794"/>
                  </a:lnTo>
                  <a:lnTo>
                    <a:pt x="2951" y="1793"/>
                  </a:lnTo>
                  <a:lnTo>
                    <a:pt x="2951" y="1789"/>
                  </a:lnTo>
                  <a:lnTo>
                    <a:pt x="2951" y="1785"/>
                  </a:lnTo>
                  <a:lnTo>
                    <a:pt x="2951" y="1735"/>
                  </a:lnTo>
                  <a:lnTo>
                    <a:pt x="2951" y="1712"/>
                  </a:lnTo>
                  <a:lnTo>
                    <a:pt x="2951" y="1685"/>
                  </a:lnTo>
                  <a:lnTo>
                    <a:pt x="2951" y="1652"/>
                  </a:lnTo>
                  <a:lnTo>
                    <a:pt x="2951" y="1613"/>
                  </a:lnTo>
                  <a:lnTo>
                    <a:pt x="2951" y="1389"/>
                  </a:lnTo>
                  <a:lnTo>
                    <a:pt x="2951" y="1312"/>
                  </a:lnTo>
                  <a:lnTo>
                    <a:pt x="2951" y="1228"/>
                  </a:lnTo>
                  <a:close/>
                  <a:moveTo>
                    <a:pt x="1964" y="1228"/>
                  </a:moveTo>
                  <a:lnTo>
                    <a:pt x="2898" y="1228"/>
                  </a:lnTo>
                  <a:lnTo>
                    <a:pt x="2898" y="1795"/>
                  </a:lnTo>
                  <a:lnTo>
                    <a:pt x="2898" y="1795"/>
                  </a:lnTo>
                  <a:lnTo>
                    <a:pt x="2896" y="1795"/>
                  </a:lnTo>
                  <a:lnTo>
                    <a:pt x="2895" y="1795"/>
                  </a:lnTo>
                  <a:lnTo>
                    <a:pt x="2893" y="1795"/>
                  </a:lnTo>
                  <a:lnTo>
                    <a:pt x="2889" y="1795"/>
                  </a:lnTo>
                  <a:lnTo>
                    <a:pt x="2885" y="1795"/>
                  </a:lnTo>
                  <a:lnTo>
                    <a:pt x="2488" y="1795"/>
                  </a:lnTo>
                  <a:lnTo>
                    <a:pt x="2419" y="1795"/>
                  </a:lnTo>
                  <a:lnTo>
                    <a:pt x="2343" y="1795"/>
                  </a:lnTo>
                  <a:lnTo>
                    <a:pt x="2261" y="1795"/>
                  </a:lnTo>
                  <a:lnTo>
                    <a:pt x="2170" y="1795"/>
                  </a:lnTo>
                  <a:lnTo>
                    <a:pt x="2072" y="1795"/>
                  </a:lnTo>
                  <a:lnTo>
                    <a:pt x="1964" y="1795"/>
                  </a:lnTo>
                  <a:lnTo>
                    <a:pt x="1964" y="1228"/>
                  </a:lnTo>
                  <a:close/>
                  <a:moveTo>
                    <a:pt x="977" y="1228"/>
                  </a:moveTo>
                  <a:lnTo>
                    <a:pt x="1911" y="1228"/>
                  </a:lnTo>
                  <a:lnTo>
                    <a:pt x="1911" y="1795"/>
                  </a:lnTo>
                  <a:lnTo>
                    <a:pt x="1911" y="1795"/>
                  </a:lnTo>
                  <a:lnTo>
                    <a:pt x="1910" y="1795"/>
                  </a:lnTo>
                  <a:lnTo>
                    <a:pt x="1908" y="1795"/>
                  </a:lnTo>
                  <a:lnTo>
                    <a:pt x="1906" y="1795"/>
                  </a:lnTo>
                  <a:lnTo>
                    <a:pt x="1903" y="1795"/>
                  </a:lnTo>
                  <a:lnTo>
                    <a:pt x="1898" y="1795"/>
                  </a:lnTo>
                  <a:lnTo>
                    <a:pt x="1501" y="1795"/>
                  </a:lnTo>
                  <a:lnTo>
                    <a:pt x="1432" y="1795"/>
                  </a:lnTo>
                  <a:lnTo>
                    <a:pt x="1357" y="1795"/>
                  </a:lnTo>
                  <a:lnTo>
                    <a:pt x="1274" y="1795"/>
                  </a:lnTo>
                  <a:lnTo>
                    <a:pt x="1183" y="1795"/>
                  </a:lnTo>
                  <a:lnTo>
                    <a:pt x="1085" y="1795"/>
                  </a:lnTo>
                  <a:lnTo>
                    <a:pt x="977" y="1795"/>
                  </a:lnTo>
                  <a:lnTo>
                    <a:pt x="977" y="1795"/>
                  </a:lnTo>
                  <a:lnTo>
                    <a:pt x="977" y="1794"/>
                  </a:lnTo>
                  <a:lnTo>
                    <a:pt x="977" y="1793"/>
                  </a:lnTo>
                  <a:lnTo>
                    <a:pt x="977" y="1789"/>
                  </a:lnTo>
                  <a:lnTo>
                    <a:pt x="977" y="1785"/>
                  </a:lnTo>
                  <a:lnTo>
                    <a:pt x="977" y="1735"/>
                  </a:lnTo>
                  <a:lnTo>
                    <a:pt x="977" y="1712"/>
                  </a:lnTo>
                  <a:lnTo>
                    <a:pt x="977" y="1685"/>
                  </a:lnTo>
                  <a:lnTo>
                    <a:pt x="977" y="1652"/>
                  </a:lnTo>
                  <a:lnTo>
                    <a:pt x="977" y="1613"/>
                  </a:lnTo>
                  <a:lnTo>
                    <a:pt x="977" y="1389"/>
                  </a:lnTo>
                  <a:lnTo>
                    <a:pt x="977" y="1312"/>
                  </a:lnTo>
                  <a:lnTo>
                    <a:pt x="977" y="1228"/>
                  </a:lnTo>
                  <a:close/>
                  <a:moveTo>
                    <a:pt x="0" y="1228"/>
                  </a:moveTo>
                  <a:lnTo>
                    <a:pt x="933" y="1228"/>
                  </a:lnTo>
                  <a:lnTo>
                    <a:pt x="933" y="1795"/>
                  </a:lnTo>
                  <a:lnTo>
                    <a:pt x="826" y="1795"/>
                  </a:lnTo>
                  <a:lnTo>
                    <a:pt x="727" y="1795"/>
                  </a:lnTo>
                  <a:lnTo>
                    <a:pt x="636" y="1795"/>
                  </a:lnTo>
                  <a:lnTo>
                    <a:pt x="553" y="1795"/>
                  </a:lnTo>
                  <a:lnTo>
                    <a:pt x="477" y="1795"/>
                  </a:lnTo>
                  <a:lnTo>
                    <a:pt x="410" y="1795"/>
                  </a:lnTo>
                  <a:lnTo>
                    <a:pt x="13" y="1795"/>
                  </a:lnTo>
                  <a:lnTo>
                    <a:pt x="7" y="1795"/>
                  </a:lnTo>
                  <a:lnTo>
                    <a:pt x="3" y="1795"/>
                  </a:lnTo>
                  <a:lnTo>
                    <a:pt x="1" y="1795"/>
                  </a:lnTo>
                  <a:lnTo>
                    <a:pt x="0" y="1795"/>
                  </a:lnTo>
                  <a:lnTo>
                    <a:pt x="0" y="1795"/>
                  </a:lnTo>
                  <a:lnTo>
                    <a:pt x="0" y="1795"/>
                  </a:lnTo>
                  <a:lnTo>
                    <a:pt x="0" y="1710"/>
                  </a:lnTo>
                  <a:lnTo>
                    <a:pt x="0" y="1634"/>
                  </a:lnTo>
                  <a:lnTo>
                    <a:pt x="0" y="1410"/>
                  </a:lnTo>
                  <a:lnTo>
                    <a:pt x="0" y="1370"/>
                  </a:lnTo>
                  <a:lnTo>
                    <a:pt x="0" y="1339"/>
                  </a:lnTo>
                  <a:lnTo>
                    <a:pt x="0" y="1310"/>
                  </a:lnTo>
                  <a:lnTo>
                    <a:pt x="0" y="1289"/>
                  </a:lnTo>
                  <a:lnTo>
                    <a:pt x="0" y="1238"/>
                  </a:lnTo>
                  <a:lnTo>
                    <a:pt x="0" y="1233"/>
                  </a:lnTo>
                  <a:lnTo>
                    <a:pt x="0" y="1231"/>
                  </a:lnTo>
                  <a:lnTo>
                    <a:pt x="0" y="1228"/>
                  </a:lnTo>
                  <a:lnTo>
                    <a:pt x="0" y="1228"/>
                  </a:lnTo>
                  <a:lnTo>
                    <a:pt x="0" y="1228"/>
                  </a:lnTo>
                  <a:close/>
                  <a:moveTo>
                    <a:pt x="3452" y="614"/>
                  </a:moveTo>
                  <a:lnTo>
                    <a:pt x="3567" y="614"/>
                  </a:lnTo>
                  <a:lnTo>
                    <a:pt x="3601" y="614"/>
                  </a:lnTo>
                  <a:lnTo>
                    <a:pt x="3641" y="614"/>
                  </a:lnTo>
                  <a:lnTo>
                    <a:pt x="3874" y="614"/>
                  </a:lnTo>
                  <a:lnTo>
                    <a:pt x="3874" y="1181"/>
                  </a:lnTo>
                  <a:lnTo>
                    <a:pt x="3452" y="1181"/>
                  </a:lnTo>
                  <a:lnTo>
                    <a:pt x="3452" y="1179"/>
                  </a:lnTo>
                  <a:lnTo>
                    <a:pt x="3452" y="1175"/>
                  </a:lnTo>
                  <a:lnTo>
                    <a:pt x="3452" y="1170"/>
                  </a:lnTo>
                  <a:lnTo>
                    <a:pt x="3452" y="1121"/>
                  </a:lnTo>
                  <a:lnTo>
                    <a:pt x="3452" y="1098"/>
                  </a:lnTo>
                  <a:lnTo>
                    <a:pt x="3452" y="1071"/>
                  </a:lnTo>
                  <a:lnTo>
                    <a:pt x="3452" y="1038"/>
                  </a:lnTo>
                  <a:lnTo>
                    <a:pt x="3452" y="999"/>
                  </a:lnTo>
                  <a:lnTo>
                    <a:pt x="3452" y="775"/>
                  </a:lnTo>
                  <a:lnTo>
                    <a:pt x="3452" y="698"/>
                  </a:lnTo>
                  <a:lnTo>
                    <a:pt x="3452" y="614"/>
                  </a:lnTo>
                  <a:close/>
                  <a:moveTo>
                    <a:pt x="0" y="614"/>
                  </a:moveTo>
                  <a:lnTo>
                    <a:pt x="119" y="614"/>
                  </a:lnTo>
                  <a:lnTo>
                    <a:pt x="156" y="614"/>
                  </a:lnTo>
                  <a:lnTo>
                    <a:pt x="197" y="614"/>
                  </a:lnTo>
                  <a:lnTo>
                    <a:pt x="442" y="614"/>
                  </a:lnTo>
                  <a:lnTo>
                    <a:pt x="442" y="1181"/>
                  </a:lnTo>
                  <a:lnTo>
                    <a:pt x="0" y="1181"/>
                  </a:lnTo>
                  <a:lnTo>
                    <a:pt x="0" y="1181"/>
                  </a:lnTo>
                  <a:lnTo>
                    <a:pt x="0" y="1180"/>
                  </a:lnTo>
                  <a:lnTo>
                    <a:pt x="0" y="1179"/>
                  </a:lnTo>
                  <a:lnTo>
                    <a:pt x="0" y="1175"/>
                  </a:lnTo>
                  <a:lnTo>
                    <a:pt x="0" y="1170"/>
                  </a:lnTo>
                  <a:lnTo>
                    <a:pt x="0" y="1121"/>
                  </a:lnTo>
                  <a:lnTo>
                    <a:pt x="0" y="1098"/>
                  </a:lnTo>
                  <a:lnTo>
                    <a:pt x="0" y="1071"/>
                  </a:lnTo>
                  <a:lnTo>
                    <a:pt x="0" y="1038"/>
                  </a:lnTo>
                  <a:lnTo>
                    <a:pt x="0" y="999"/>
                  </a:lnTo>
                  <a:lnTo>
                    <a:pt x="0" y="775"/>
                  </a:lnTo>
                  <a:lnTo>
                    <a:pt x="0" y="698"/>
                  </a:lnTo>
                  <a:lnTo>
                    <a:pt x="0" y="614"/>
                  </a:lnTo>
                  <a:close/>
                  <a:moveTo>
                    <a:pt x="2937" y="614"/>
                  </a:moveTo>
                  <a:lnTo>
                    <a:pt x="3012" y="614"/>
                  </a:lnTo>
                  <a:lnTo>
                    <a:pt x="3393" y="614"/>
                  </a:lnTo>
                  <a:lnTo>
                    <a:pt x="3393" y="1181"/>
                  </a:lnTo>
                  <a:lnTo>
                    <a:pt x="2459" y="1181"/>
                  </a:lnTo>
                  <a:lnTo>
                    <a:pt x="2459" y="1181"/>
                  </a:lnTo>
                  <a:lnTo>
                    <a:pt x="2459" y="1180"/>
                  </a:lnTo>
                  <a:lnTo>
                    <a:pt x="2459" y="1121"/>
                  </a:lnTo>
                  <a:lnTo>
                    <a:pt x="2459" y="1098"/>
                  </a:lnTo>
                  <a:lnTo>
                    <a:pt x="2459" y="1071"/>
                  </a:lnTo>
                  <a:lnTo>
                    <a:pt x="2459" y="775"/>
                  </a:lnTo>
                  <a:lnTo>
                    <a:pt x="2459" y="698"/>
                  </a:lnTo>
                  <a:lnTo>
                    <a:pt x="2459" y="614"/>
                  </a:lnTo>
                  <a:lnTo>
                    <a:pt x="2869" y="614"/>
                  </a:lnTo>
                  <a:lnTo>
                    <a:pt x="2937" y="614"/>
                  </a:lnTo>
                  <a:close/>
                  <a:moveTo>
                    <a:pt x="1950" y="614"/>
                  </a:moveTo>
                  <a:lnTo>
                    <a:pt x="2025" y="614"/>
                  </a:lnTo>
                  <a:lnTo>
                    <a:pt x="2406" y="614"/>
                  </a:lnTo>
                  <a:lnTo>
                    <a:pt x="2406" y="1181"/>
                  </a:lnTo>
                  <a:lnTo>
                    <a:pt x="1472" y="1181"/>
                  </a:lnTo>
                  <a:lnTo>
                    <a:pt x="1472" y="1179"/>
                  </a:lnTo>
                  <a:lnTo>
                    <a:pt x="1472" y="1175"/>
                  </a:lnTo>
                  <a:lnTo>
                    <a:pt x="1472" y="1170"/>
                  </a:lnTo>
                  <a:lnTo>
                    <a:pt x="1472" y="1071"/>
                  </a:lnTo>
                  <a:lnTo>
                    <a:pt x="1472" y="1038"/>
                  </a:lnTo>
                  <a:lnTo>
                    <a:pt x="1472" y="999"/>
                  </a:lnTo>
                  <a:lnTo>
                    <a:pt x="1472" y="614"/>
                  </a:lnTo>
                  <a:lnTo>
                    <a:pt x="1882" y="614"/>
                  </a:lnTo>
                  <a:lnTo>
                    <a:pt x="1950" y="614"/>
                  </a:lnTo>
                  <a:close/>
                  <a:moveTo>
                    <a:pt x="963" y="614"/>
                  </a:moveTo>
                  <a:lnTo>
                    <a:pt x="1039" y="614"/>
                  </a:lnTo>
                  <a:lnTo>
                    <a:pt x="1419" y="614"/>
                  </a:lnTo>
                  <a:lnTo>
                    <a:pt x="1419" y="1181"/>
                  </a:lnTo>
                  <a:lnTo>
                    <a:pt x="486" y="1181"/>
                  </a:lnTo>
                  <a:lnTo>
                    <a:pt x="486" y="1179"/>
                  </a:lnTo>
                  <a:lnTo>
                    <a:pt x="486" y="1175"/>
                  </a:lnTo>
                  <a:lnTo>
                    <a:pt x="486" y="1170"/>
                  </a:lnTo>
                  <a:lnTo>
                    <a:pt x="486" y="1121"/>
                  </a:lnTo>
                  <a:lnTo>
                    <a:pt x="486" y="1098"/>
                  </a:lnTo>
                  <a:lnTo>
                    <a:pt x="486" y="1071"/>
                  </a:lnTo>
                  <a:lnTo>
                    <a:pt x="486" y="1038"/>
                  </a:lnTo>
                  <a:lnTo>
                    <a:pt x="486" y="999"/>
                  </a:lnTo>
                  <a:lnTo>
                    <a:pt x="486" y="614"/>
                  </a:lnTo>
                  <a:lnTo>
                    <a:pt x="896" y="614"/>
                  </a:lnTo>
                  <a:lnTo>
                    <a:pt x="963" y="614"/>
                  </a:lnTo>
                  <a:close/>
                  <a:moveTo>
                    <a:pt x="3427" y="0"/>
                  </a:moveTo>
                  <a:lnTo>
                    <a:pt x="3502" y="0"/>
                  </a:lnTo>
                  <a:lnTo>
                    <a:pt x="3582" y="0"/>
                  </a:lnTo>
                  <a:lnTo>
                    <a:pt x="3672" y="0"/>
                  </a:lnTo>
                  <a:lnTo>
                    <a:pt x="3769" y="0"/>
                  </a:lnTo>
                  <a:lnTo>
                    <a:pt x="3874" y="0"/>
                  </a:lnTo>
                  <a:lnTo>
                    <a:pt x="3874" y="567"/>
                  </a:lnTo>
                  <a:lnTo>
                    <a:pt x="3874" y="567"/>
                  </a:lnTo>
                  <a:lnTo>
                    <a:pt x="3874" y="567"/>
                  </a:lnTo>
                  <a:lnTo>
                    <a:pt x="3870" y="567"/>
                  </a:lnTo>
                  <a:lnTo>
                    <a:pt x="3867" y="567"/>
                  </a:lnTo>
                  <a:lnTo>
                    <a:pt x="3862" y="567"/>
                  </a:lnTo>
                  <a:lnTo>
                    <a:pt x="3472" y="567"/>
                  </a:lnTo>
                  <a:lnTo>
                    <a:pt x="3406" y="567"/>
                  </a:lnTo>
                  <a:lnTo>
                    <a:pt x="3331" y="567"/>
                  </a:lnTo>
                  <a:lnTo>
                    <a:pt x="3161" y="567"/>
                  </a:lnTo>
                  <a:lnTo>
                    <a:pt x="3064" y="567"/>
                  </a:lnTo>
                  <a:lnTo>
                    <a:pt x="2958" y="567"/>
                  </a:lnTo>
                  <a:lnTo>
                    <a:pt x="2958" y="567"/>
                  </a:lnTo>
                  <a:lnTo>
                    <a:pt x="2958" y="566"/>
                  </a:lnTo>
                  <a:lnTo>
                    <a:pt x="2958" y="565"/>
                  </a:lnTo>
                  <a:lnTo>
                    <a:pt x="2958" y="561"/>
                  </a:lnTo>
                  <a:lnTo>
                    <a:pt x="2958" y="556"/>
                  </a:lnTo>
                  <a:lnTo>
                    <a:pt x="2958" y="507"/>
                  </a:lnTo>
                  <a:lnTo>
                    <a:pt x="2958" y="484"/>
                  </a:lnTo>
                  <a:lnTo>
                    <a:pt x="2958" y="457"/>
                  </a:lnTo>
                  <a:lnTo>
                    <a:pt x="2958" y="424"/>
                  </a:lnTo>
                  <a:lnTo>
                    <a:pt x="2958" y="385"/>
                  </a:lnTo>
                  <a:lnTo>
                    <a:pt x="2958" y="161"/>
                  </a:lnTo>
                  <a:lnTo>
                    <a:pt x="2958" y="84"/>
                  </a:lnTo>
                  <a:lnTo>
                    <a:pt x="2958" y="0"/>
                  </a:lnTo>
                  <a:lnTo>
                    <a:pt x="2958" y="0"/>
                  </a:lnTo>
                  <a:lnTo>
                    <a:pt x="2959" y="0"/>
                  </a:lnTo>
                  <a:lnTo>
                    <a:pt x="2960" y="0"/>
                  </a:lnTo>
                  <a:lnTo>
                    <a:pt x="2961" y="0"/>
                  </a:lnTo>
                  <a:lnTo>
                    <a:pt x="2965" y="0"/>
                  </a:lnTo>
                  <a:lnTo>
                    <a:pt x="2971" y="0"/>
                  </a:lnTo>
                  <a:lnTo>
                    <a:pt x="3361" y="0"/>
                  </a:lnTo>
                  <a:lnTo>
                    <a:pt x="3427" y="0"/>
                  </a:lnTo>
                  <a:close/>
                  <a:moveTo>
                    <a:pt x="2450" y="0"/>
                  </a:moveTo>
                  <a:lnTo>
                    <a:pt x="2525" y="0"/>
                  </a:lnTo>
                  <a:lnTo>
                    <a:pt x="2608" y="0"/>
                  </a:lnTo>
                  <a:lnTo>
                    <a:pt x="2698" y="0"/>
                  </a:lnTo>
                  <a:lnTo>
                    <a:pt x="2797" y="0"/>
                  </a:lnTo>
                  <a:lnTo>
                    <a:pt x="2905" y="0"/>
                  </a:lnTo>
                  <a:lnTo>
                    <a:pt x="2905" y="567"/>
                  </a:lnTo>
                  <a:lnTo>
                    <a:pt x="2905" y="567"/>
                  </a:lnTo>
                  <a:lnTo>
                    <a:pt x="2905" y="567"/>
                  </a:lnTo>
                  <a:lnTo>
                    <a:pt x="2901" y="567"/>
                  </a:lnTo>
                  <a:lnTo>
                    <a:pt x="2898" y="567"/>
                  </a:lnTo>
                  <a:lnTo>
                    <a:pt x="2892" y="567"/>
                  </a:lnTo>
                  <a:lnTo>
                    <a:pt x="2496" y="567"/>
                  </a:lnTo>
                  <a:lnTo>
                    <a:pt x="2427" y="567"/>
                  </a:lnTo>
                  <a:lnTo>
                    <a:pt x="2352" y="567"/>
                  </a:lnTo>
                  <a:lnTo>
                    <a:pt x="2178" y="567"/>
                  </a:lnTo>
                  <a:lnTo>
                    <a:pt x="2079" y="567"/>
                  </a:lnTo>
                  <a:lnTo>
                    <a:pt x="1971" y="567"/>
                  </a:lnTo>
                  <a:lnTo>
                    <a:pt x="1971" y="0"/>
                  </a:lnTo>
                  <a:lnTo>
                    <a:pt x="1971" y="0"/>
                  </a:lnTo>
                  <a:lnTo>
                    <a:pt x="1972" y="0"/>
                  </a:lnTo>
                  <a:lnTo>
                    <a:pt x="1973" y="0"/>
                  </a:lnTo>
                  <a:lnTo>
                    <a:pt x="1976" y="0"/>
                  </a:lnTo>
                  <a:lnTo>
                    <a:pt x="1979" y="0"/>
                  </a:lnTo>
                  <a:lnTo>
                    <a:pt x="1984" y="0"/>
                  </a:lnTo>
                  <a:lnTo>
                    <a:pt x="2381" y="0"/>
                  </a:lnTo>
                  <a:lnTo>
                    <a:pt x="2450" y="0"/>
                  </a:lnTo>
                  <a:close/>
                  <a:moveTo>
                    <a:pt x="1463" y="0"/>
                  </a:moveTo>
                  <a:lnTo>
                    <a:pt x="1539" y="0"/>
                  </a:lnTo>
                  <a:lnTo>
                    <a:pt x="1621" y="0"/>
                  </a:lnTo>
                  <a:lnTo>
                    <a:pt x="1712" y="0"/>
                  </a:lnTo>
                  <a:lnTo>
                    <a:pt x="1810" y="0"/>
                  </a:lnTo>
                  <a:lnTo>
                    <a:pt x="1918" y="0"/>
                  </a:lnTo>
                  <a:lnTo>
                    <a:pt x="1918" y="567"/>
                  </a:lnTo>
                  <a:lnTo>
                    <a:pt x="1918" y="567"/>
                  </a:lnTo>
                  <a:lnTo>
                    <a:pt x="1918" y="567"/>
                  </a:lnTo>
                  <a:lnTo>
                    <a:pt x="1914" y="567"/>
                  </a:lnTo>
                  <a:lnTo>
                    <a:pt x="1911" y="567"/>
                  </a:lnTo>
                  <a:lnTo>
                    <a:pt x="1905" y="567"/>
                  </a:lnTo>
                  <a:lnTo>
                    <a:pt x="1509" y="567"/>
                  </a:lnTo>
                  <a:lnTo>
                    <a:pt x="1440" y="567"/>
                  </a:lnTo>
                  <a:lnTo>
                    <a:pt x="1365" y="567"/>
                  </a:lnTo>
                  <a:lnTo>
                    <a:pt x="1191" y="567"/>
                  </a:lnTo>
                  <a:lnTo>
                    <a:pt x="1092" y="567"/>
                  </a:lnTo>
                  <a:lnTo>
                    <a:pt x="984" y="567"/>
                  </a:lnTo>
                  <a:lnTo>
                    <a:pt x="984" y="567"/>
                  </a:lnTo>
                  <a:lnTo>
                    <a:pt x="984" y="566"/>
                  </a:lnTo>
                  <a:lnTo>
                    <a:pt x="984" y="565"/>
                  </a:lnTo>
                  <a:lnTo>
                    <a:pt x="984" y="561"/>
                  </a:lnTo>
                  <a:lnTo>
                    <a:pt x="984" y="556"/>
                  </a:lnTo>
                  <a:lnTo>
                    <a:pt x="984" y="507"/>
                  </a:lnTo>
                  <a:lnTo>
                    <a:pt x="984" y="484"/>
                  </a:lnTo>
                  <a:lnTo>
                    <a:pt x="984" y="457"/>
                  </a:lnTo>
                  <a:lnTo>
                    <a:pt x="984" y="424"/>
                  </a:lnTo>
                  <a:lnTo>
                    <a:pt x="984" y="385"/>
                  </a:lnTo>
                  <a:lnTo>
                    <a:pt x="984" y="161"/>
                  </a:lnTo>
                  <a:lnTo>
                    <a:pt x="984" y="84"/>
                  </a:lnTo>
                  <a:lnTo>
                    <a:pt x="984" y="0"/>
                  </a:lnTo>
                  <a:lnTo>
                    <a:pt x="984" y="0"/>
                  </a:lnTo>
                  <a:lnTo>
                    <a:pt x="985" y="0"/>
                  </a:lnTo>
                  <a:lnTo>
                    <a:pt x="987" y="0"/>
                  </a:lnTo>
                  <a:lnTo>
                    <a:pt x="989" y="0"/>
                  </a:lnTo>
                  <a:lnTo>
                    <a:pt x="993" y="0"/>
                  </a:lnTo>
                  <a:lnTo>
                    <a:pt x="997" y="0"/>
                  </a:lnTo>
                  <a:lnTo>
                    <a:pt x="1394" y="0"/>
                  </a:lnTo>
                  <a:lnTo>
                    <a:pt x="1463" y="0"/>
                  </a:lnTo>
                  <a:close/>
                  <a:moveTo>
                    <a:pt x="926" y="0"/>
                  </a:moveTo>
                  <a:lnTo>
                    <a:pt x="930" y="0"/>
                  </a:lnTo>
                  <a:lnTo>
                    <a:pt x="932" y="0"/>
                  </a:lnTo>
                  <a:lnTo>
                    <a:pt x="933" y="0"/>
                  </a:lnTo>
                  <a:lnTo>
                    <a:pt x="933" y="0"/>
                  </a:lnTo>
                  <a:lnTo>
                    <a:pt x="933" y="0"/>
                  </a:lnTo>
                  <a:lnTo>
                    <a:pt x="933" y="567"/>
                  </a:lnTo>
                  <a:lnTo>
                    <a:pt x="826" y="567"/>
                  </a:lnTo>
                  <a:lnTo>
                    <a:pt x="727" y="567"/>
                  </a:lnTo>
                  <a:lnTo>
                    <a:pt x="553" y="567"/>
                  </a:lnTo>
                  <a:lnTo>
                    <a:pt x="477" y="567"/>
                  </a:lnTo>
                  <a:lnTo>
                    <a:pt x="410" y="567"/>
                  </a:lnTo>
                  <a:lnTo>
                    <a:pt x="13" y="567"/>
                  </a:lnTo>
                  <a:lnTo>
                    <a:pt x="7" y="567"/>
                  </a:lnTo>
                  <a:lnTo>
                    <a:pt x="3" y="567"/>
                  </a:lnTo>
                  <a:lnTo>
                    <a:pt x="0" y="567"/>
                  </a:lnTo>
                  <a:lnTo>
                    <a:pt x="0" y="567"/>
                  </a:lnTo>
                  <a:lnTo>
                    <a:pt x="0" y="567"/>
                  </a:lnTo>
                  <a:lnTo>
                    <a:pt x="0" y="482"/>
                  </a:lnTo>
                  <a:lnTo>
                    <a:pt x="0" y="406"/>
                  </a:lnTo>
                  <a:lnTo>
                    <a:pt x="0" y="338"/>
                  </a:lnTo>
                  <a:lnTo>
                    <a:pt x="0" y="278"/>
                  </a:lnTo>
                  <a:lnTo>
                    <a:pt x="0" y="226"/>
                  </a:lnTo>
                  <a:lnTo>
                    <a:pt x="0" y="83"/>
                  </a:lnTo>
                  <a:lnTo>
                    <a:pt x="0" y="60"/>
                  </a:lnTo>
                  <a:lnTo>
                    <a:pt x="0" y="41"/>
                  </a:lnTo>
                  <a:lnTo>
                    <a:pt x="0" y="28"/>
                  </a:lnTo>
                  <a:lnTo>
                    <a:pt x="0" y="18"/>
                  </a:lnTo>
                  <a:lnTo>
                    <a:pt x="0" y="0"/>
                  </a:lnTo>
                  <a:lnTo>
                    <a:pt x="0" y="0"/>
                  </a:lnTo>
                  <a:lnTo>
                    <a:pt x="0" y="0"/>
                  </a:lnTo>
                  <a:lnTo>
                    <a:pt x="107" y="0"/>
                  </a:lnTo>
                  <a:lnTo>
                    <a:pt x="207" y="0"/>
                  </a:lnTo>
                  <a:lnTo>
                    <a:pt x="298" y="0"/>
                  </a:lnTo>
                  <a:lnTo>
                    <a:pt x="380" y="0"/>
                  </a:lnTo>
                  <a:lnTo>
                    <a:pt x="456" y="0"/>
                  </a:lnTo>
                  <a:lnTo>
                    <a:pt x="523" y="0"/>
                  </a:lnTo>
                  <a:lnTo>
                    <a:pt x="920" y="0"/>
                  </a:lnTo>
                  <a:lnTo>
                    <a:pt x="926"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378" name="Group 377"/>
          <p:cNvGrpSpPr/>
          <p:nvPr/>
        </p:nvGrpSpPr>
        <p:grpSpPr>
          <a:xfrm>
            <a:off x="2620822" y="4634999"/>
            <a:ext cx="1545813" cy="1314078"/>
            <a:chOff x="4610988" y="1953435"/>
            <a:chExt cx="2029280" cy="1725066"/>
          </a:xfrm>
        </p:grpSpPr>
        <p:grpSp>
          <p:nvGrpSpPr>
            <p:cNvPr id="379" name="Group 378"/>
            <p:cNvGrpSpPr/>
            <p:nvPr/>
          </p:nvGrpSpPr>
          <p:grpSpPr>
            <a:xfrm>
              <a:off x="4610988" y="1953435"/>
              <a:ext cx="2029280" cy="1725066"/>
              <a:chOff x="3482578" y="3115373"/>
              <a:chExt cx="1660345" cy="1411439"/>
            </a:xfrm>
          </p:grpSpPr>
          <p:pic>
            <p:nvPicPr>
              <p:cNvPr id="381" name="Picture 38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82578" y="3879764"/>
                <a:ext cx="1061011" cy="641911"/>
              </a:xfrm>
              <a:prstGeom prst="rect">
                <a:avLst/>
              </a:prstGeom>
            </p:spPr>
          </p:pic>
          <p:pic>
            <p:nvPicPr>
              <p:cNvPr id="382" name="Picture 3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745389" y="3878001"/>
                <a:ext cx="351006" cy="648811"/>
              </a:xfrm>
              <a:prstGeom prst="rect">
                <a:avLst/>
              </a:prstGeom>
            </p:spPr>
          </p:pic>
          <p:pic>
            <p:nvPicPr>
              <p:cNvPr id="383" name="Picture 38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98507" y="3115373"/>
                <a:ext cx="444416" cy="664409"/>
              </a:xfrm>
              <a:prstGeom prst="rect">
                <a:avLst/>
              </a:prstGeom>
            </p:spPr>
          </p:pic>
        </p:grpSp>
        <p:pic>
          <p:nvPicPr>
            <p:cNvPr id="380" name="Picture 37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14946" y="1962709"/>
              <a:ext cx="937254" cy="802914"/>
            </a:xfrm>
            <a:prstGeom prst="rect">
              <a:avLst/>
            </a:prstGeom>
          </p:spPr>
        </p:pic>
      </p:grpSp>
      <p:grpSp>
        <p:nvGrpSpPr>
          <p:cNvPr id="392" name="Group 391"/>
          <p:cNvGrpSpPr/>
          <p:nvPr/>
        </p:nvGrpSpPr>
        <p:grpSpPr>
          <a:xfrm>
            <a:off x="3382328" y="2927634"/>
            <a:ext cx="860306" cy="1233482"/>
            <a:chOff x="8118535" y="4326133"/>
            <a:chExt cx="860428" cy="1233657"/>
          </a:xfrm>
        </p:grpSpPr>
        <p:sp>
          <p:nvSpPr>
            <p:cNvPr id="393" name="Rectangle 392"/>
            <p:cNvSpPr/>
            <p:nvPr/>
          </p:nvSpPr>
          <p:spPr>
            <a:xfrm>
              <a:off x="8279613" y="5371747"/>
              <a:ext cx="684233"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394" name="Group 32"/>
            <p:cNvGrpSpPr>
              <a:grpSpLocks noChangeAspect="1"/>
            </p:cNvGrpSpPr>
            <p:nvPr/>
          </p:nvGrpSpPr>
          <p:grpSpPr bwMode="auto">
            <a:xfrm>
              <a:off x="8118535" y="4326133"/>
              <a:ext cx="860428" cy="966788"/>
              <a:chOff x="4642" y="2034"/>
              <a:chExt cx="542" cy="609"/>
            </a:xfrm>
          </p:grpSpPr>
          <p:sp>
            <p:nvSpPr>
              <p:cNvPr id="395" name="Freeform 34"/>
              <p:cNvSpPr>
                <a:spLocks noEditPoints="1"/>
              </p:cNvSpPr>
              <p:nvPr/>
            </p:nvSpPr>
            <p:spPr bwMode="auto">
              <a:xfrm>
                <a:off x="4873" y="2034"/>
                <a:ext cx="311" cy="609"/>
              </a:xfrm>
              <a:custGeom>
                <a:avLst/>
                <a:gdLst>
                  <a:gd name="T0" fmla="*/ 1633 w 1864"/>
                  <a:gd name="T1" fmla="*/ 3401 h 3656"/>
                  <a:gd name="T2" fmla="*/ 207 w 1864"/>
                  <a:gd name="T3" fmla="*/ 3228 h 3656"/>
                  <a:gd name="T4" fmla="*/ 207 w 1864"/>
                  <a:gd name="T5" fmla="*/ 3425 h 3656"/>
                  <a:gd name="T6" fmla="*/ 230 w 1864"/>
                  <a:gd name="T7" fmla="*/ 3075 h 3656"/>
                  <a:gd name="T8" fmla="*/ 230 w 1864"/>
                  <a:gd name="T9" fmla="*/ 2880 h 3656"/>
                  <a:gd name="T10" fmla="*/ 516 w 1864"/>
                  <a:gd name="T11" fmla="*/ 3099 h 3656"/>
                  <a:gd name="T12" fmla="*/ 230 w 1864"/>
                  <a:gd name="T13" fmla="*/ 654 h 3656"/>
                  <a:gd name="T14" fmla="*/ 1633 w 1864"/>
                  <a:gd name="T15" fmla="*/ 654 h 3656"/>
                  <a:gd name="T16" fmla="*/ 1658 w 1864"/>
                  <a:gd name="T17" fmla="*/ 629 h 3656"/>
                  <a:gd name="T18" fmla="*/ 207 w 1864"/>
                  <a:gd name="T19" fmla="*/ 629 h 3656"/>
                  <a:gd name="T20" fmla="*/ 1633 w 1864"/>
                  <a:gd name="T21" fmla="*/ 453 h 3656"/>
                  <a:gd name="T22" fmla="*/ 207 w 1864"/>
                  <a:gd name="T23" fmla="*/ 281 h 3656"/>
                  <a:gd name="T24" fmla="*/ 207 w 1864"/>
                  <a:gd name="T25" fmla="*/ 477 h 3656"/>
                  <a:gd name="T26" fmla="*/ 1608 w 1864"/>
                  <a:gd name="T27" fmla="*/ 0 h 3656"/>
                  <a:gd name="T28" fmla="*/ 1725 w 1864"/>
                  <a:gd name="T29" fmla="*/ 27 h 3656"/>
                  <a:gd name="T30" fmla="*/ 1814 w 1864"/>
                  <a:gd name="T31" fmla="*/ 95 h 3656"/>
                  <a:gd name="T32" fmla="*/ 1861 w 1864"/>
                  <a:gd name="T33" fmla="*/ 193 h 3656"/>
                  <a:gd name="T34" fmla="*/ 1861 w 1864"/>
                  <a:gd name="T35" fmla="*/ 3464 h 3656"/>
                  <a:gd name="T36" fmla="*/ 1814 w 1864"/>
                  <a:gd name="T37" fmla="*/ 3562 h 3656"/>
                  <a:gd name="T38" fmla="*/ 1725 w 1864"/>
                  <a:gd name="T39" fmla="*/ 3630 h 3656"/>
                  <a:gd name="T40" fmla="*/ 1608 w 1864"/>
                  <a:gd name="T41" fmla="*/ 3656 h 3656"/>
                  <a:gd name="T42" fmla="*/ 176 w 1864"/>
                  <a:gd name="T43" fmla="*/ 3644 h 3656"/>
                  <a:gd name="T44" fmla="*/ 75 w 1864"/>
                  <a:gd name="T45" fmla="*/ 3588 h 3656"/>
                  <a:gd name="T46" fmla="*/ 13 w 1864"/>
                  <a:gd name="T47" fmla="*/ 3500 h 3656"/>
                  <a:gd name="T48" fmla="*/ 0 w 1864"/>
                  <a:gd name="T49" fmla="*/ 2875 h 3656"/>
                  <a:gd name="T50" fmla="*/ 27 w 1864"/>
                  <a:gd name="T51" fmla="*/ 3460 h 3656"/>
                  <a:gd name="T52" fmla="*/ 69 w 1864"/>
                  <a:gd name="T53" fmla="*/ 3547 h 3656"/>
                  <a:gd name="T54" fmla="*/ 150 w 1864"/>
                  <a:gd name="T55" fmla="*/ 3609 h 3656"/>
                  <a:gd name="T56" fmla="*/ 257 w 1864"/>
                  <a:gd name="T57" fmla="*/ 3632 h 3656"/>
                  <a:gd name="T58" fmla="*/ 1681 w 1864"/>
                  <a:gd name="T59" fmla="*/ 3622 h 3656"/>
                  <a:gd name="T60" fmla="*/ 1772 w 1864"/>
                  <a:gd name="T61" fmla="*/ 3572 h 3656"/>
                  <a:gd name="T62" fmla="*/ 1829 w 1864"/>
                  <a:gd name="T63" fmla="*/ 3492 h 3656"/>
                  <a:gd name="T64" fmla="*/ 1840 w 1864"/>
                  <a:gd name="T65" fmla="*/ 230 h 3656"/>
                  <a:gd name="T66" fmla="*/ 1814 w 1864"/>
                  <a:gd name="T67" fmla="*/ 136 h 3656"/>
                  <a:gd name="T68" fmla="*/ 1744 w 1864"/>
                  <a:gd name="T69" fmla="*/ 65 h 3656"/>
                  <a:gd name="T70" fmla="*/ 1645 w 1864"/>
                  <a:gd name="T71" fmla="*/ 28 h 3656"/>
                  <a:gd name="T72" fmla="*/ 219 w 1864"/>
                  <a:gd name="T73" fmla="*/ 28 h 3656"/>
                  <a:gd name="T74" fmla="*/ 119 w 1864"/>
                  <a:gd name="T75" fmla="*/ 65 h 3656"/>
                  <a:gd name="T76" fmla="*/ 49 w 1864"/>
                  <a:gd name="T77" fmla="*/ 136 h 3656"/>
                  <a:gd name="T78" fmla="*/ 24 w 1864"/>
                  <a:gd name="T79" fmla="*/ 230 h 3656"/>
                  <a:gd name="T80" fmla="*/ 0 w 1864"/>
                  <a:gd name="T81" fmla="*/ 230 h 3656"/>
                  <a:gd name="T82" fmla="*/ 28 w 1864"/>
                  <a:gd name="T83" fmla="*/ 125 h 3656"/>
                  <a:gd name="T84" fmla="*/ 105 w 1864"/>
                  <a:gd name="T85" fmla="*/ 45 h 3656"/>
                  <a:gd name="T86" fmla="*/ 215 w 1864"/>
                  <a:gd name="T87" fmla="*/ 4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4" h="3656">
                    <a:moveTo>
                      <a:pt x="230" y="3252"/>
                    </a:moveTo>
                    <a:lnTo>
                      <a:pt x="230" y="3401"/>
                    </a:lnTo>
                    <a:lnTo>
                      <a:pt x="1633" y="3401"/>
                    </a:lnTo>
                    <a:lnTo>
                      <a:pt x="1633" y="3252"/>
                    </a:lnTo>
                    <a:lnTo>
                      <a:pt x="230" y="3252"/>
                    </a:lnTo>
                    <a:close/>
                    <a:moveTo>
                      <a:pt x="207" y="3228"/>
                    </a:moveTo>
                    <a:lnTo>
                      <a:pt x="1658" y="3228"/>
                    </a:lnTo>
                    <a:lnTo>
                      <a:pt x="1658" y="3425"/>
                    </a:lnTo>
                    <a:lnTo>
                      <a:pt x="207" y="3425"/>
                    </a:lnTo>
                    <a:lnTo>
                      <a:pt x="207" y="3228"/>
                    </a:lnTo>
                    <a:close/>
                    <a:moveTo>
                      <a:pt x="230" y="2880"/>
                    </a:moveTo>
                    <a:lnTo>
                      <a:pt x="230" y="3075"/>
                    </a:lnTo>
                    <a:lnTo>
                      <a:pt x="492" y="3075"/>
                    </a:lnTo>
                    <a:lnTo>
                      <a:pt x="492" y="2880"/>
                    </a:lnTo>
                    <a:lnTo>
                      <a:pt x="230" y="2880"/>
                    </a:lnTo>
                    <a:close/>
                    <a:moveTo>
                      <a:pt x="207" y="2856"/>
                    </a:moveTo>
                    <a:lnTo>
                      <a:pt x="516" y="2856"/>
                    </a:lnTo>
                    <a:lnTo>
                      <a:pt x="516" y="3099"/>
                    </a:lnTo>
                    <a:lnTo>
                      <a:pt x="207" y="3099"/>
                    </a:lnTo>
                    <a:lnTo>
                      <a:pt x="207" y="2856"/>
                    </a:lnTo>
                    <a:close/>
                    <a:moveTo>
                      <a:pt x="230" y="654"/>
                    </a:moveTo>
                    <a:lnTo>
                      <a:pt x="230" y="819"/>
                    </a:lnTo>
                    <a:lnTo>
                      <a:pt x="1633" y="819"/>
                    </a:lnTo>
                    <a:lnTo>
                      <a:pt x="1633" y="654"/>
                    </a:lnTo>
                    <a:lnTo>
                      <a:pt x="230" y="654"/>
                    </a:lnTo>
                    <a:close/>
                    <a:moveTo>
                      <a:pt x="207" y="629"/>
                    </a:moveTo>
                    <a:lnTo>
                      <a:pt x="1658" y="629"/>
                    </a:lnTo>
                    <a:lnTo>
                      <a:pt x="1658" y="843"/>
                    </a:lnTo>
                    <a:lnTo>
                      <a:pt x="207" y="843"/>
                    </a:lnTo>
                    <a:lnTo>
                      <a:pt x="207" y="629"/>
                    </a:lnTo>
                    <a:close/>
                    <a:moveTo>
                      <a:pt x="230" y="304"/>
                    </a:moveTo>
                    <a:lnTo>
                      <a:pt x="230" y="453"/>
                    </a:lnTo>
                    <a:lnTo>
                      <a:pt x="1633" y="453"/>
                    </a:lnTo>
                    <a:lnTo>
                      <a:pt x="1633" y="304"/>
                    </a:lnTo>
                    <a:lnTo>
                      <a:pt x="230" y="304"/>
                    </a:lnTo>
                    <a:close/>
                    <a:moveTo>
                      <a:pt x="207" y="281"/>
                    </a:moveTo>
                    <a:lnTo>
                      <a:pt x="1658" y="281"/>
                    </a:lnTo>
                    <a:lnTo>
                      <a:pt x="1658" y="477"/>
                    </a:lnTo>
                    <a:lnTo>
                      <a:pt x="207" y="477"/>
                    </a:lnTo>
                    <a:lnTo>
                      <a:pt x="207" y="281"/>
                    </a:lnTo>
                    <a:close/>
                    <a:moveTo>
                      <a:pt x="257" y="0"/>
                    </a:moveTo>
                    <a:lnTo>
                      <a:pt x="1608" y="0"/>
                    </a:lnTo>
                    <a:lnTo>
                      <a:pt x="1649" y="4"/>
                    </a:lnTo>
                    <a:lnTo>
                      <a:pt x="1689" y="13"/>
                    </a:lnTo>
                    <a:lnTo>
                      <a:pt x="1725" y="27"/>
                    </a:lnTo>
                    <a:lnTo>
                      <a:pt x="1759" y="45"/>
                    </a:lnTo>
                    <a:lnTo>
                      <a:pt x="1789" y="68"/>
                    </a:lnTo>
                    <a:lnTo>
                      <a:pt x="1814" y="95"/>
                    </a:lnTo>
                    <a:lnTo>
                      <a:pt x="1835" y="125"/>
                    </a:lnTo>
                    <a:lnTo>
                      <a:pt x="1851" y="158"/>
                    </a:lnTo>
                    <a:lnTo>
                      <a:pt x="1861" y="193"/>
                    </a:lnTo>
                    <a:lnTo>
                      <a:pt x="1864" y="230"/>
                    </a:lnTo>
                    <a:lnTo>
                      <a:pt x="1864" y="3426"/>
                    </a:lnTo>
                    <a:lnTo>
                      <a:pt x="1861" y="3464"/>
                    </a:lnTo>
                    <a:lnTo>
                      <a:pt x="1851" y="3500"/>
                    </a:lnTo>
                    <a:lnTo>
                      <a:pt x="1835" y="3532"/>
                    </a:lnTo>
                    <a:lnTo>
                      <a:pt x="1814" y="3562"/>
                    </a:lnTo>
                    <a:lnTo>
                      <a:pt x="1789" y="3588"/>
                    </a:lnTo>
                    <a:lnTo>
                      <a:pt x="1759" y="3612"/>
                    </a:lnTo>
                    <a:lnTo>
                      <a:pt x="1725" y="3630"/>
                    </a:lnTo>
                    <a:lnTo>
                      <a:pt x="1689" y="3644"/>
                    </a:lnTo>
                    <a:lnTo>
                      <a:pt x="1649" y="3653"/>
                    </a:lnTo>
                    <a:lnTo>
                      <a:pt x="1608" y="3656"/>
                    </a:lnTo>
                    <a:lnTo>
                      <a:pt x="257" y="3656"/>
                    </a:lnTo>
                    <a:lnTo>
                      <a:pt x="215" y="3653"/>
                    </a:lnTo>
                    <a:lnTo>
                      <a:pt x="176" y="3644"/>
                    </a:lnTo>
                    <a:lnTo>
                      <a:pt x="139" y="3630"/>
                    </a:lnTo>
                    <a:lnTo>
                      <a:pt x="105" y="3612"/>
                    </a:lnTo>
                    <a:lnTo>
                      <a:pt x="75" y="3588"/>
                    </a:lnTo>
                    <a:lnTo>
                      <a:pt x="49" y="3562"/>
                    </a:lnTo>
                    <a:lnTo>
                      <a:pt x="28" y="3532"/>
                    </a:lnTo>
                    <a:lnTo>
                      <a:pt x="13" y="3500"/>
                    </a:lnTo>
                    <a:lnTo>
                      <a:pt x="3" y="3464"/>
                    </a:lnTo>
                    <a:lnTo>
                      <a:pt x="0" y="3426"/>
                    </a:lnTo>
                    <a:lnTo>
                      <a:pt x="0" y="2875"/>
                    </a:lnTo>
                    <a:lnTo>
                      <a:pt x="24" y="2875"/>
                    </a:lnTo>
                    <a:lnTo>
                      <a:pt x="24" y="3426"/>
                    </a:lnTo>
                    <a:lnTo>
                      <a:pt x="27" y="3460"/>
                    </a:lnTo>
                    <a:lnTo>
                      <a:pt x="36" y="3492"/>
                    </a:lnTo>
                    <a:lnTo>
                      <a:pt x="49" y="3521"/>
                    </a:lnTo>
                    <a:lnTo>
                      <a:pt x="69" y="3547"/>
                    </a:lnTo>
                    <a:lnTo>
                      <a:pt x="93" y="3572"/>
                    </a:lnTo>
                    <a:lnTo>
                      <a:pt x="119" y="3593"/>
                    </a:lnTo>
                    <a:lnTo>
                      <a:pt x="150" y="3609"/>
                    </a:lnTo>
                    <a:lnTo>
                      <a:pt x="184" y="3622"/>
                    </a:lnTo>
                    <a:lnTo>
                      <a:pt x="219" y="3629"/>
                    </a:lnTo>
                    <a:lnTo>
                      <a:pt x="257" y="3632"/>
                    </a:lnTo>
                    <a:lnTo>
                      <a:pt x="1608" y="3632"/>
                    </a:lnTo>
                    <a:lnTo>
                      <a:pt x="1645" y="3629"/>
                    </a:lnTo>
                    <a:lnTo>
                      <a:pt x="1681" y="3622"/>
                    </a:lnTo>
                    <a:lnTo>
                      <a:pt x="1714" y="3609"/>
                    </a:lnTo>
                    <a:lnTo>
                      <a:pt x="1744" y="3593"/>
                    </a:lnTo>
                    <a:lnTo>
                      <a:pt x="1772" y="3572"/>
                    </a:lnTo>
                    <a:lnTo>
                      <a:pt x="1795" y="3547"/>
                    </a:lnTo>
                    <a:lnTo>
                      <a:pt x="1814" y="3521"/>
                    </a:lnTo>
                    <a:lnTo>
                      <a:pt x="1829" y="3492"/>
                    </a:lnTo>
                    <a:lnTo>
                      <a:pt x="1837" y="3460"/>
                    </a:lnTo>
                    <a:lnTo>
                      <a:pt x="1840" y="3426"/>
                    </a:lnTo>
                    <a:lnTo>
                      <a:pt x="1840" y="230"/>
                    </a:lnTo>
                    <a:lnTo>
                      <a:pt x="1837" y="197"/>
                    </a:lnTo>
                    <a:lnTo>
                      <a:pt x="1829" y="166"/>
                    </a:lnTo>
                    <a:lnTo>
                      <a:pt x="1814" y="136"/>
                    </a:lnTo>
                    <a:lnTo>
                      <a:pt x="1795" y="109"/>
                    </a:lnTo>
                    <a:lnTo>
                      <a:pt x="1772" y="85"/>
                    </a:lnTo>
                    <a:lnTo>
                      <a:pt x="1744" y="65"/>
                    </a:lnTo>
                    <a:lnTo>
                      <a:pt x="1714" y="48"/>
                    </a:lnTo>
                    <a:lnTo>
                      <a:pt x="1681" y="36"/>
                    </a:lnTo>
                    <a:lnTo>
                      <a:pt x="1645" y="28"/>
                    </a:lnTo>
                    <a:lnTo>
                      <a:pt x="1608" y="25"/>
                    </a:lnTo>
                    <a:lnTo>
                      <a:pt x="257" y="25"/>
                    </a:lnTo>
                    <a:lnTo>
                      <a:pt x="219" y="28"/>
                    </a:lnTo>
                    <a:lnTo>
                      <a:pt x="184" y="36"/>
                    </a:lnTo>
                    <a:lnTo>
                      <a:pt x="150" y="48"/>
                    </a:lnTo>
                    <a:lnTo>
                      <a:pt x="119" y="65"/>
                    </a:lnTo>
                    <a:lnTo>
                      <a:pt x="93" y="85"/>
                    </a:lnTo>
                    <a:lnTo>
                      <a:pt x="69" y="109"/>
                    </a:lnTo>
                    <a:lnTo>
                      <a:pt x="49" y="136"/>
                    </a:lnTo>
                    <a:lnTo>
                      <a:pt x="36" y="166"/>
                    </a:lnTo>
                    <a:lnTo>
                      <a:pt x="27" y="197"/>
                    </a:lnTo>
                    <a:lnTo>
                      <a:pt x="24" y="230"/>
                    </a:lnTo>
                    <a:lnTo>
                      <a:pt x="24" y="1070"/>
                    </a:lnTo>
                    <a:lnTo>
                      <a:pt x="0" y="1070"/>
                    </a:lnTo>
                    <a:lnTo>
                      <a:pt x="0" y="230"/>
                    </a:lnTo>
                    <a:lnTo>
                      <a:pt x="3" y="193"/>
                    </a:lnTo>
                    <a:lnTo>
                      <a:pt x="13" y="158"/>
                    </a:lnTo>
                    <a:lnTo>
                      <a:pt x="28" y="125"/>
                    </a:lnTo>
                    <a:lnTo>
                      <a:pt x="49" y="95"/>
                    </a:lnTo>
                    <a:lnTo>
                      <a:pt x="75" y="68"/>
                    </a:lnTo>
                    <a:lnTo>
                      <a:pt x="105" y="45"/>
                    </a:lnTo>
                    <a:lnTo>
                      <a:pt x="139" y="27"/>
                    </a:lnTo>
                    <a:lnTo>
                      <a:pt x="176" y="13"/>
                    </a:lnTo>
                    <a:lnTo>
                      <a:pt x="215" y="4"/>
                    </a:lnTo>
                    <a:lnTo>
                      <a:pt x="257"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6" name="Freeform 35"/>
              <p:cNvSpPr>
                <a:spLocks noEditPoints="1"/>
              </p:cNvSpPr>
              <p:nvPr/>
            </p:nvSpPr>
            <p:spPr bwMode="auto">
              <a:xfrm>
                <a:off x="4642" y="2206"/>
                <a:ext cx="233" cy="309"/>
              </a:xfrm>
              <a:custGeom>
                <a:avLst/>
                <a:gdLst>
                  <a:gd name="T0" fmla="*/ 1383 w 1401"/>
                  <a:gd name="T1" fmla="*/ 47 h 1851"/>
                  <a:gd name="T2" fmla="*/ 33 w 1401"/>
                  <a:gd name="T3" fmla="*/ 1612 h 1851"/>
                  <a:gd name="T4" fmla="*/ 1381 w 1401"/>
                  <a:gd name="T5" fmla="*/ 1831 h 1851"/>
                  <a:gd name="T6" fmla="*/ 1383 w 1401"/>
                  <a:gd name="T7" fmla="*/ 47 h 1851"/>
                  <a:gd name="T8" fmla="*/ 1401 w 1401"/>
                  <a:gd name="T9" fmla="*/ 0 h 1851"/>
                  <a:gd name="T10" fmla="*/ 1401 w 1401"/>
                  <a:gd name="T11" fmla="*/ 23 h 1851"/>
                  <a:gd name="T12" fmla="*/ 1399 w 1401"/>
                  <a:gd name="T13" fmla="*/ 1841 h 1851"/>
                  <a:gd name="T14" fmla="*/ 1399 w 1401"/>
                  <a:gd name="T15" fmla="*/ 1851 h 1851"/>
                  <a:gd name="T16" fmla="*/ 1389 w 1401"/>
                  <a:gd name="T17" fmla="*/ 1850 h 1851"/>
                  <a:gd name="T18" fmla="*/ 16 w 1401"/>
                  <a:gd name="T19" fmla="*/ 1627 h 1851"/>
                  <a:gd name="T20" fmla="*/ 0 w 1401"/>
                  <a:gd name="T21" fmla="*/ 1625 h 1851"/>
                  <a:gd name="T22" fmla="*/ 10 w 1401"/>
                  <a:gd name="T23" fmla="*/ 1613 h 1851"/>
                  <a:gd name="T24" fmla="*/ 1385 w 1401"/>
                  <a:gd name="T25" fmla="*/ 18 h 1851"/>
                  <a:gd name="T26" fmla="*/ 1401 w 1401"/>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1" h="1851">
                    <a:moveTo>
                      <a:pt x="1383" y="47"/>
                    </a:moveTo>
                    <a:lnTo>
                      <a:pt x="33" y="1612"/>
                    </a:lnTo>
                    <a:lnTo>
                      <a:pt x="1381" y="1831"/>
                    </a:lnTo>
                    <a:lnTo>
                      <a:pt x="1383" y="47"/>
                    </a:lnTo>
                    <a:close/>
                    <a:moveTo>
                      <a:pt x="1401" y="0"/>
                    </a:moveTo>
                    <a:lnTo>
                      <a:pt x="1401" y="23"/>
                    </a:lnTo>
                    <a:lnTo>
                      <a:pt x="1399" y="1841"/>
                    </a:lnTo>
                    <a:lnTo>
                      <a:pt x="1399" y="1851"/>
                    </a:lnTo>
                    <a:lnTo>
                      <a:pt x="1389" y="1850"/>
                    </a:lnTo>
                    <a:lnTo>
                      <a:pt x="16" y="1627"/>
                    </a:lnTo>
                    <a:lnTo>
                      <a:pt x="0" y="1625"/>
                    </a:lnTo>
                    <a:lnTo>
                      <a:pt x="10" y="1613"/>
                    </a:lnTo>
                    <a:lnTo>
                      <a:pt x="1385" y="18"/>
                    </a:lnTo>
                    <a:lnTo>
                      <a:pt x="1401"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7" name="Freeform 36"/>
              <p:cNvSpPr>
                <a:spLocks noEditPoints="1"/>
              </p:cNvSpPr>
              <p:nvPr/>
            </p:nvSpPr>
            <p:spPr bwMode="auto">
              <a:xfrm>
                <a:off x="4875" y="2206"/>
                <a:ext cx="233" cy="309"/>
              </a:xfrm>
              <a:custGeom>
                <a:avLst/>
                <a:gdLst>
                  <a:gd name="T0" fmla="*/ 18 w 1402"/>
                  <a:gd name="T1" fmla="*/ 47 h 1851"/>
                  <a:gd name="T2" fmla="*/ 20 w 1402"/>
                  <a:gd name="T3" fmla="*/ 1831 h 1851"/>
                  <a:gd name="T4" fmla="*/ 1369 w 1402"/>
                  <a:gd name="T5" fmla="*/ 1612 h 1851"/>
                  <a:gd name="T6" fmla="*/ 18 w 1402"/>
                  <a:gd name="T7" fmla="*/ 47 h 1851"/>
                  <a:gd name="T8" fmla="*/ 0 w 1402"/>
                  <a:gd name="T9" fmla="*/ 0 h 1851"/>
                  <a:gd name="T10" fmla="*/ 16 w 1402"/>
                  <a:gd name="T11" fmla="*/ 18 h 1851"/>
                  <a:gd name="T12" fmla="*/ 1392 w 1402"/>
                  <a:gd name="T13" fmla="*/ 1613 h 1851"/>
                  <a:gd name="T14" fmla="*/ 1402 w 1402"/>
                  <a:gd name="T15" fmla="*/ 1625 h 1851"/>
                  <a:gd name="T16" fmla="*/ 1387 w 1402"/>
                  <a:gd name="T17" fmla="*/ 1627 h 1851"/>
                  <a:gd name="T18" fmla="*/ 13 w 1402"/>
                  <a:gd name="T19" fmla="*/ 1850 h 1851"/>
                  <a:gd name="T20" fmla="*/ 3 w 1402"/>
                  <a:gd name="T21" fmla="*/ 1851 h 1851"/>
                  <a:gd name="T22" fmla="*/ 3 w 1402"/>
                  <a:gd name="T23" fmla="*/ 1841 h 1851"/>
                  <a:gd name="T24" fmla="*/ 0 w 1402"/>
                  <a:gd name="T25" fmla="*/ 23 h 1851"/>
                  <a:gd name="T26" fmla="*/ 0 w 1402"/>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2" h="1851">
                    <a:moveTo>
                      <a:pt x="18" y="47"/>
                    </a:moveTo>
                    <a:lnTo>
                      <a:pt x="20" y="1831"/>
                    </a:lnTo>
                    <a:lnTo>
                      <a:pt x="1369" y="1612"/>
                    </a:lnTo>
                    <a:lnTo>
                      <a:pt x="18" y="47"/>
                    </a:lnTo>
                    <a:close/>
                    <a:moveTo>
                      <a:pt x="0" y="0"/>
                    </a:moveTo>
                    <a:lnTo>
                      <a:pt x="16" y="18"/>
                    </a:lnTo>
                    <a:lnTo>
                      <a:pt x="1392" y="1613"/>
                    </a:lnTo>
                    <a:lnTo>
                      <a:pt x="1402" y="1625"/>
                    </a:lnTo>
                    <a:lnTo>
                      <a:pt x="1387" y="1627"/>
                    </a:lnTo>
                    <a:lnTo>
                      <a:pt x="13" y="1850"/>
                    </a:lnTo>
                    <a:lnTo>
                      <a:pt x="3" y="1851"/>
                    </a:lnTo>
                    <a:lnTo>
                      <a:pt x="3" y="1841"/>
                    </a:lnTo>
                    <a:lnTo>
                      <a:pt x="0" y="23"/>
                    </a:lnTo>
                    <a:lnTo>
                      <a:pt x="0"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8" name="Freeform 37"/>
              <p:cNvSpPr>
                <a:spLocks noEditPoints="1"/>
              </p:cNvSpPr>
              <p:nvPr/>
            </p:nvSpPr>
            <p:spPr bwMode="auto">
              <a:xfrm>
                <a:off x="4698" y="2283"/>
                <a:ext cx="354" cy="186"/>
              </a:xfrm>
              <a:custGeom>
                <a:avLst/>
                <a:gdLst>
                  <a:gd name="T0" fmla="*/ 1388 w 2121"/>
                  <a:gd name="T1" fmla="*/ 938 h 1111"/>
                  <a:gd name="T2" fmla="*/ 1351 w 2121"/>
                  <a:gd name="T3" fmla="*/ 1085 h 1111"/>
                  <a:gd name="T4" fmla="*/ 1186 w 2121"/>
                  <a:gd name="T5" fmla="*/ 1085 h 1111"/>
                  <a:gd name="T6" fmla="*/ 1149 w 2121"/>
                  <a:gd name="T7" fmla="*/ 938 h 1111"/>
                  <a:gd name="T8" fmla="*/ 842 w 2121"/>
                  <a:gd name="T9" fmla="*/ 870 h 1111"/>
                  <a:gd name="T10" fmla="*/ 968 w 2121"/>
                  <a:gd name="T11" fmla="*/ 964 h 1111"/>
                  <a:gd name="T12" fmla="*/ 900 w 2121"/>
                  <a:gd name="T13" fmla="*/ 1099 h 1111"/>
                  <a:gd name="T14" fmla="*/ 741 w 2121"/>
                  <a:gd name="T15" fmla="*/ 1066 h 1111"/>
                  <a:gd name="T16" fmla="*/ 741 w 2121"/>
                  <a:gd name="T17" fmla="*/ 916 h 1111"/>
                  <a:gd name="T18" fmla="*/ 1658 w 2121"/>
                  <a:gd name="T19" fmla="*/ 811 h 1111"/>
                  <a:gd name="T20" fmla="*/ 1760 w 2121"/>
                  <a:gd name="T21" fmla="*/ 928 h 1111"/>
                  <a:gd name="T22" fmla="*/ 1658 w 2121"/>
                  <a:gd name="T23" fmla="*/ 1045 h 1111"/>
                  <a:gd name="T24" fmla="*/ 1510 w 2121"/>
                  <a:gd name="T25" fmla="*/ 980 h 1111"/>
                  <a:gd name="T26" fmla="*/ 1545 w 2121"/>
                  <a:gd name="T27" fmla="*/ 834 h 1111"/>
                  <a:gd name="T28" fmla="*/ 546 w 2121"/>
                  <a:gd name="T29" fmla="*/ 819 h 1111"/>
                  <a:gd name="T30" fmla="*/ 615 w 2121"/>
                  <a:gd name="T31" fmla="*/ 955 h 1111"/>
                  <a:gd name="T32" fmla="*/ 489 w 2121"/>
                  <a:gd name="T33" fmla="*/ 1048 h 1111"/>
                  <a:gd name="T34" fmla="*/ 363 w 2121"/>
                  <a:gd name="T35" fmla="*/ 955 h 1111"/>
                  <a:gd name="T36" fmla="*/ 432 w 2121"/>
                  <a:gd name="T37" fmla="*/ 819 h 1111"/>
                  <a:gd name="T38" fmla="*/ 2071 w 2121"/>
                  <a:gd name="T39" fmla="*/ 791 h 1111"/>
                  <a:gd name="T40" fmla="*/ 2108 w 2121"/>
                  <a:gd name="T41" fmla="*/ 940 h 1111"/>
                  <a:gd name="T42" fmla="*/ 1958 w 2121"/>
                  <a:gd name="T43" fmla="*/ 1007 h 1111"/>
                  <a:gd name="T44" fmla="*/ 1856 w 2121"/>
                  <a:gd name="T45" fmla="*/ 887 h 1111"/>
                  <a:gd name="T46" fmla="*/ 1958 w 2121"/>
                  <a:gd name="T47" fmla="*/ 767 h 1111"/>
                  <a:gd name="T48" fmla="*/ 235 w 2121"/>
                  <a:gd name="T49" fmla="*/ 809 h 1111"/>
                  <a:gd name="T50" fmla="*/ 235 w 2121"/>
                  <a:gd name="T51" fmla="*/ 964 h 1111"/>
                  <a:gd name="T52" fmla="*/ 74 w 2121"/>
                  <a:gd name="T53" fmla="*/ 997 h 1111"/>
                  <a:gd name="T54" fmla="*/ 4 w 2121"/>
                  <a:gd name="T55" fmla="*/ 858 h 1111"/>
                  <a:gd name="T56" fmla="*/ 132 w 2121"/>
                  <a:gd name="T57" fmla="*/ 764 h 1111"/>
                  <a:gd name="T58" fmla="*/ 1388 w 2121"/>
                  <a:gd name="T59" fmla="*/ 471 h 1111"/>
                  <a:gd name="T60" fmla="*/ 1351 w 2121"/>
                  <a:gd name="T61" fmla="*/ 618 h 1111"/>
                  <a:gd name="T62" fmla="*/ 1186 w 2121"/>
                  <a:gd name="T63" fmla="*/ 618 h 1111"/>
                  <a:gd name="T64" fmla="*/ 1149 w 2121"/>
                  <a:gd name="T65" fmla="*/ 471 h 1111"/>
                  <a:gd name="T66" fmla="*/ 842 w 2121"/>
                  <a:gd name="T67" fmla="*/ 404 h 1111"/>
                  <a:gd name="T68" fmla="*/ 968 w 2121"/>
                  <a:gd name="T69" fmla="*/ 497 h 1111"/>
                  <a:gd name="T70" fmla="*/ 900 w 2121"/>
                  <a:gd name="T71" fmla="*/ 631 h 1111"/>
                  <a:gd name="T72" fmla="*/ 741 w 2121"/>
                  <a:gd name="T73" fmla="*/ 599 h 1111"/>
                  <a:gd name="T74" fmla="*/ 741 w 2121"/>
                  <a:gd name="T75" fmla="*/ 449 h 1111"/>
                  <a:gd name="T76" fmla="*/ 1658 w 2121"/>
                  <a:gd name="T77" fmla="*/ 388 h 1111"/>
                  <a:gd name="T78" fmla="*/ 1760 w 2121"/>
                  <a:gd name="T79" fmla="*/ 504 h 1111"/>
                  <a:gd name="T80" fmla="*/ 1658 w 2121"/>
                  <a:gd name="T81" fmla="*/ 622 h 1111"/>
                  <a:gd name="T82" fmla="*/ 1510 w 2121"/>
                  <a:gd name="T83" fmla="*/ 558 h 1111"/>
                  <a:gd name="T84" fmla="*/ 1545 w 2121"/>
                  <a:gd name="T85" fmla="*/ 411 h 1111"/>
                  <a:gd name="T86" fmla="*/ 558 w 2121"/>
                  <a:gd name="T87" fmla="*/ 397 h 1111"/>
                  <a:gd name="T88" fmla="*/ 628 w 2121"/>
                  <a:gd name="T89" fmla="*/ 532 h 1111"/>
                  <a:gd name="T90" fmla="*/ 502 w 2121"/>
                  <a:gd name="T91" fmla="*/ 624 h 1111"/>
                  <a:gd name="T92" fmla="*/ 376 w 2121"/>
                  <a:gd name="T93" fmla="*/ 532 h 1111"/>
                  <a:gd name="T94" fmla="*/ 445 w 2121"/>
                  <a:gd name="T95" fmla="*/ 397 h 1111"/>
                  <a:gd name="T96" fmla="*/ 1351 w 2121"/>
                  <a:gd name="T97" fmla="*/ 26 h 1111"/>
                  <a:gd name="T98" fmla="*/ 1388 w 2121"/>
                  <a:gd name="T99" fmla="*/ 173 h 1111"/>
                  <a:gd name="T100" fmla="*/ 1238 w 2121"/>
                  <a:gd name="T101" fmla="*/ 236 h 1111"/>
                  <a:gd name="T102" fmla="*/ 1136 w 2121"/>
                  <a:gd name="T103" fmla="*/ 120 h 1111"/>
                  <a:gd name="T104" fmla="*/ 1238 w 2121"/>
                  <a:gd name="T105" fmla="*/ 3 h 1111"/>
                  <a:gd name="T106" fmla="*/ 943 w 2121"/>
                  <a:gd name="T107" fmla="*/ 44 h 1111"/>
                  <a:gd name="T108" fmla="*/ 943 w 2121"/>
                  <a:gd name="T109" fmla="*/ 195 h 1111"/>
                  <a:gd name="T110" fmla="*/ 785 w 2121"/>
                  <a:gd name="T111" fmla="*/ 227 h 1111"/>
                  <a:gd name="T112" fmla="*/ 717 w 2121"/>
                  <a:gd name="T113" fmla="*/ 92 h 1111"/>
                  <a:gd name="T114" fmla="*/ 842 w 2121"/>
                  <a:gd name="T115"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1" h="1111">
                    <a:moveTo>
                      <a:pt x="1269" y="870"/>
                    </a:moveTo>
                    <a:lnTo>
                      <a:pt x="1299" y="874"/>
                    </a:lnTo>
                    <a:lnTo>
                      <a:pt x="1327" y="883"/>
                    </a:lnTo>
                    <a:lnTo>
                      <a:pt x="1351" y="897"/>
                    </a:lnTo>
                    <a:lnTo>
                      <a:pt x="1372" y="916"/>
                    </a:lnTo>
                    <a:lnTo>
                      <a:pt x="1388" y="938"/>
                    </a:lnTo>
                    <a:lnTo>
                      <a:pt x="1398" y="964"/>
                    </a:lnTo>
                    <a:lnTo>
                      <a:pt x="1401" y="991"/>
                    </a:lnTo>
                    <a:lnTo>
                      <a:pt x="1398" y="1018"/>
                    </a:lnTo>
                    <a:lnTo>
                      <a:pt x="1388" y="1043"/>
                    </a:lnTo>
                    <a:lnTo>
                      <a:pt x="1372" y="1066"/>
                    </a:lnTo>
                    <a:lnTo>
                      <a:pt x="1351" y="1085"/>
                    </a:lnTo>
                    <a:lnTo>
                      <a:pt x="1327" y="1099"/>
                    </a:lnTo>
                    <a:lnTo>
                      <a:pt x="1299" y="1108"/>
                    </a:lnTo>
                    <a:lnTo>
                      <a:pt x="1269" y="1111"/>
                    </a:lnTo>
                    <a:lnTo>
                      <a:pt x="1238" y="1108"/>
                    </a:lnTo>
                    <a:lnTo>
                      <a:pt x="1210" y="1099"/>
                    </a:lnTo>
                    <a:lnTo>
                      <a:pt x="1186" y="1085"/>
                    </a:lnTo>
                    <a:lnTo>
                      <a:pt x="1165" y="1066"/>
                    </a:lnTo>
                    <a:lnTo>
                      <a:pt x="1149" y="1043"/>
                    </a:lnTo>
                    <a:lnTo>
                      <a:pt x="1139" y="1018"/>
                    </a:lnTo>
                    <a:lnTo>
                      <a:pt x="1136" y="991"/>
                    </a:lnTo>
                    <a:lnTo>
                      <a:pt x="1139" y="964"/>
                    </a:lnTo>
                    <a:lnTo>
                      <a:pt x="1149" y="938"/>
                    </a:lnTo>
                    <a:lnTo>
                      <a:pt x="1165" y="916"/>
                    </a:lnTo>
                    <a:lnTo>
                      <a:pt x="1186" y="897"/>
                    </a:lnTo>
                    <a:lnTo>
                      <a:pt x="1210" y="883"/>
                    </a:lnTo>
                    <a:lnTo>
                      <a:pt x="1238" y="874"/>
                    </a:lnTo>
                    <a:lnTo>
                      <a:pt x="1269" y="870"/>
                    </a:lnTo>
                    <a:close/>
                    <a:moveTo>
                      <a:pt x="842" y="870"/>
                    </a:moveTo>
                    <a:lnTo>
                      <a:pt x="872" y="874"/>
                    </a:lnTo>
                    <a:lnTo>
                      <a:pt x="900" y="883"/>
                    </a:lnTo>
                    <a:lnTo>
                      <a:pt x="923" y="897"/>
                    </a:lnTo>
                    <a:lnTo>
                      <a:pt x="943" y="916"/>
                    </a:lnTo>
                    <a:lnTo>
                      <a:pt x="958" y="938"/>
                    </a:lnTo>
                    <a:lnTo>
                      <a:pt x="968" y="964"/>
                    </a:lnTo>
                    <a:lnTo>
                      <a:pt x="972" y="991"/>
                    </a:lnTo>
                    <a:lnTo>
                      <a:pt x="968" y="1018"/>
                    </a:lnTo>
                    <a:lnTo>
                      <a:pt x="958" y="1043"/>
                    </a:lnTo>
                    <a:lnTo>
                      <a:pt x="943" y="1066"/>
                    </a:lnTo>
                    <a:lnTo>
                      <a:pt x="923" y="1085"/>
                    </a:lnTo>
                    <a:lnTo>
                      <a:pt x="900" y="1099"/>
                    </a:lnTo>
                    <a:lnTo>
                      <a:pt x="872" y="1108"/>
                    </a:lnTo>
                    <a:lnTo>
                      <a:pt x="842" y="1111"/>
                    </a:lnTo>
                    <a:lnTo>
                      <a:pt x="813" y="1108"/>
                    </a:lnTo>
                    <a:lnTo>
                      <a:pt x="785" y="1099"/>
                    </a:lnTo>
                    <a:lnTo>
                      <a:pt x="761" y="1085"/>
                    </a:lnTo>
                    <a:lnTo>
                      <a:pt x="741" y="1066"/>
                    </a:lnTo>
                    <a:lnTo>
                      <a:pt x="727" y="1043"/>
                    </a:lnTo>
                    <a:lnTo>
                      <a:pt x="717" y="1018"/>
                    </a:lnTo>
                    <a:lnTo>
                      <a:pt x="713" y="991"/>
                    </a:lnTo>
                    <a:lnTo>
                      <a:pt x="717" y="964"/>
                    </a:lnTo>
                    <a:lnTo>
                      <a:pt x="727" y="938"/>
                    </a:lnTo>
                    <a:lnTo>
                      <a:pt x="741" y="916"/>
                    </a:lnTo>
                    <a:lnTo>
                      <a:pt x="761" y="897"/>
                    </a:lnTo>
                    <a:lnTo>
                      <a:pt x="785" y="883"/>
                    </a:lnTo>
                    <a:lnTo>
                      <a:pt x="813" y="874"/>
                    </a:lnTo>
                    <a:lnTo>
                      <a:pt x="842" y="870"/>
                    </a:lnTo>
                    <a:close/>
                    <a:moveTo>
                      <a:pt x="1628" y="807"/>
                    </a:moveTo>
                    <a:lnTo>
                      <a:pt x="1658" y="811"/>
                    </a:lnTo>
                    <a:lnTo>
                      <a:pt x="1686" y="819"/>
                    </a:lnTo>
                    <a:lnTo>
                      <a:pt x="1712" y="834"/>
                    </a:lnTo>
                    <a:lnTo>
                      <a:pt x="1732" y="853"/>
                    </a:lnTo>
                    <a:lnTo>
                      <a:pt x="1747" y="875"/>
                    </a:lnTo>
                    <a:lnTo>
                      <a:pt x="1757" y="900"/>
                    </a:lnTo>
                    <a:lnTo>
                      <a:pt x="1760" y="928"/>
                    </a:lnTo>
                    <a:lnTo>
                      <a:pt x="1757" y="955"/>
                    </a:lnTo>
                    <a:lnTo>
                      <a:pt x="1747" y="980"/>
                    </a:lnTo>
                    <a:lnTo>
                      <a:pt x="1732" y="1002"/>
                    </a:lnTo>
                    <a:lnTo>
                      <a:pt x="1712" y="1021"/>
                    </a:lnTo>
                    <a:lnTo>
                      <a:pt x="1686" y="1036"/>
                    </a:lnTo>
                    <a:lnTo>
                      <a:pt x="1658" y="1045"/>
                    </a:lnTo>
                    <a:lnTo>
                      <a:pt x="1628" y="1048"/>
                    </a:lnTo>
                    <a:lnTo>
                      <a:pt x="1598" y="1045"/>
                    </a:lnTo>
                    <a:lnTo>
                      <a:pt x="1570" y="1036"/>
                    </a:lnTo>
                    <a:lnTo>
                      <a:pt x="1545" y="1021"/>
                    </a:lnTo>
                    <a:lnTo>
                      <a:pt x="1525" y="1002"/>
                    </a:lnTo>
                    <a:lnTo>
                      <a:pt x="1510" y="980"/>
                    </a:lnTo>
                    <a:lnTo>
                      <a:pt x="1500" y="955"/>
                    </a:lnTo>
                    <a:lnTo>
                      <a:pt x="1495" y="928"/>
                    </a:lnTo>
                    <a:lnTo>
                      <a:pt x="1500" y="900"/>
                    </a:lnTo>
                    <a:lnTo>
                      <a:pt x="1510" y="875"/>
                    </a:lnTo>
                    <a:lnTo>
                      <a:pt x="1525" y="853"/>
                    </a:lnTo>
                    <a:lnTo>
                      <a:pt x="1545" y="834"/>
                    </a:lnTo>
                    <a:lnTo>
                      <a:pt x="1570" y="819"/>
                    </a:lnTo>
                    <a:lnTo>
                      <a:pt x="1598" y="811"/>
                    </a:lnTo>
                    <a:lnTo>
                      <a:pt x="1628" y="807"/>
                    </a:lnTo>
                    <a:close/>
                    <a:moveTo>
                      <a:pt x="489" y="807"/>
                    </a:moveTo>
                    <a:lnTo>
                      <a:pt x="518" y="811"/>
                    </a:lnTo>
                    <a:lnTo>
                      <a:pt x="546" y="819"/>
                    </a:lnTo>
                    <a:lnTo>
                      <a:pt x="570" y="834"/>
                    </a:lnTo>
                    <a:lnTo>
                      <a:pt x="590" y="853"/>
                    </a:lnTo>
                    <a:lnTo>
                      <a:pt x="606" y="875"/>
                    </a:lnTo>
                    <a:lnTo>
                      <a:pt x="615" y="900"/>
                    </a:lnTo>
                    <a:lnTo>
                      <a:pt x="618" y="928"/>
                    </a:lnTo>
                    <a:lnTo>
                      <a:pt x="615" y="955"/>
                    </a:lnTo>
                    <a:lnTo>
                      <a:pt x="606" y="980"/>
                    </a:lnTo>
                    <a:lnTo>
                      <a:pt x="590" y="1002"/>
                    </a:lnTo>
                    <a:lnTo>
                      <a:pt x="570" y="1021"/>
                    </a:lnTo>
                    <a:lnTo>
                      <a:pt x="546" y="1036"/>
                    </a:lnTo>
                    <a:lnTo>
                      <a:pt x="518" y="1045"/>
                    </a:lnTo>
                    <a:lnTo>
                      <a:pt x="489" y="1048"/>
                    </a:lnTo>
                    <a:lnTo>
                      <a:pt x="459" y="1045"/>
                    </a:lnTo>
                    <a:lnTo>
                      <a:pt x="432" y="1036"/>
                    </a:lnTo>
                    <a:lnTo>
                      <a:pt x="408" y="1021"/>
                    </a:lnTo>
                    <a:lnTo>
                      <a:pt x="388" y="1002"/>
                    </a:lnTo>
                    <a:lnTo>
                      <a:pt x="373" y="980"/>
                    </a:lnTo>
                    <a:lnTo>
                      <a:pt x="363" y="955"/>
                    </a:lnTo>
                    <a:lnTo>
                      <a:pt x="360" y="928"/>
                    </a:lnTo>
                    <a:lnTo>
                      <a:pt x="363" y="900"/>
                    </a:lnTo>
                    <a:lnTo>
                      <a:pt x="373" y="875"/>
                    </a:lnTo>
                    <a:lnTo>
                      <a:pt x="388" y="853"/>
                    </a:lnTo>
                    <a:lnTo>
                      <a:pt x="408" y="834"/>
                    </a:lnTo>
                    <a:lnTo>
                      <a:pt x="432" y="819"/>
                    </a:lnTo>
                    <a:lnTo>
                      <a:pt x="459" y="811"/>
                    </a:lnTo>
                    <a:lnTo>
                      <a:pt x="489" y="807"/>
                    </a:lnTo>
                    <a:close/>
                    <a:moveTo>
                      <a:pt x="1988" y="764"/>
                    </a:moveTo>
                    <a:lnTo>
                      <a:pt x="2019" y="767"/>
                    </a:lnTo>
                    <a:lnTo>
                      <a:pt x="2047" y="776"/>
                    </a:lnTo>
                    <a:lnTo>
                      <a:pt x="2071" y="791"/>
                    </a:lnTo>
                    <a:lnTo>
                      <a:pt x="2092" y="809"/>
                    </a:lnTo>
                    <a:lnTo>
                      <a:pt x="2108" y="833"/>
                    </a:lnTo>
                    <a:lnTo>
                      <a:pt x="2118" y="858"/>
                    </a:lnTo>
                    <a:lnTo>
                      <a:pt x="2121" y="887"/>
                    </a:lnTo>
                    <a:lnTo>
                      <a:pt x="2118" y="915"/>
                    </a:lnTo>
                    <a:lnTo>
                      <a:pt x="2108" y="940"/>
                    </a:lnTo>
                    <a:lnTo>
                      <a:pt x="2092" y="964"/>
                    </a:lnTo>
                    <a:lnTo>
                      <a:pt x="2071" y="982"/>
                    </a:lnTo>
                    <a:lnTo>
                      <a:pt x="2047" y="997"/>
                    </a:lnTo>
                    <a:lnTo>
                      <a:pt x="2019" y="1007"/>
                    </a:lnTo>
                    <a:lnTo>
                      <a:pt x="1988" y="1010"/>
                    </a:lnTo>
                    <a:lnTo>
                      <a:pt x="1958" y="1007"/>
                    </a:lnTo>
                    <a:lnTo>
                      <a:pt x="1930" y="997"/>
                    </a:lnTo>
                    <a:lnTo>
                      <a:pt x="1906" y="982"/>
                    </a:lnTo>
                    <a:lnTo>
                      <a:pt x="1885" y="964"/>
                    </a:lnTo>
                    <a:lnTo>
                      <a:pt x="1869" y="940"/>
                    </a:lnTo>
                    <a:lnTo>
                      <a:pt x="1859" y="915"/>
                    </a:lnTo>
                    <a:lnTo>
                      <a:pt x="1856" y="887"/>
                    </a:lnTo>
                    <a:lnTo>
                      <a:pt x="1859" y="858"/>
                    </a:lnTo>
                    <a:lnTo>
                      <a:pt x="1869" y="833"/>
                    </a:lnTo>
                    <a:lnTo>
                      <a:pt x="1885" y="809"/>
                    </a:lnTo>
                    <a:lnTo>
                      <a:pt x="1906" y="791"/>
                    </a:lnTo>
                    <a:lnTo>
                      <a:pt x="1930" y="776"/>
                    </a:lnTo>
                    <a:lnTo>
                      <a:pt x="1958" y="767"/>
                    </a:lnTo>
                    <a:lnTo>
                      <a:pt x="1988" y="764"/>
                    </a:lnTo>
                    <a:close/>
                    <a:moveTo>
                      <a:pt x="132" y="764"/>
                    </a:moveTo>
                    <a:lnTo>
                      <a:pt x="163" y="767"/>
                    </a:lnTo>
                    <a:lnTo>
                      <a:pt x="191" y="776"/>
                    </a:lnTo>
                    <a:lnTo>
                      <a:pt x="215" y="791"/>
                    </a:lnTo>
                    <a:lnTo>
                      <a:pt x="235" y="809"/>
                    </a:lnTo>
                    <a:lnTo>
                      <a:pt x="252" y="833"/>
                    </a:lnTo>
                    <a:lnTo>
                      <a:pt x="261" y="858"/>
                    </a:lnTo>
                    <a:lnTo>
                      <a:pt x="265" y="887"/>
                    </a:lnTo>
                    <a:lnTo>
                      <a:pt x="261" y="915"/>
                    </a:lnTo>
                    <a:lnTo>
                      <a:pt x="252" y="940"/>
                    </a:lnTo>
                    <a:lnTo>
                      <a:pt x="235" y="964"/>
                    </a:lnTo>
                    <a:lnTo>
                      <a:pt x="215" y="982"/>
                    </a:lnTo>
                    <a:lnTo>
                      <a:pt x="191" y="997"/>
                    </a:lnTo>
                    <a:lnTo>
                      <a:pt x="163" y="1007"/>
                    </a:lnTo>
                    <a:lnTo>
                      <a:pt x="132" y="1010"/>
                    </a:lnTo>
                    <a:lnTo>
                      <a:pt x="102" y="1007"/>
                    </a:lnTo>
                    <a:lnTo>
                      <a:pt x="74" y="997"/>
                    </a:lnTo>
                    <a:lnTo>
                      <a:pt x="49" y="982"/>
                    </a:lnTo>
                    <a:lnTo>
                      <a:pt x="29" y="964"/>
                    </a:lnTo>
                    <a:lnTo>
                      <a:pt x="13" y="940"/>
                    </a:lnTo>
                    <a:lnTo>
                      <a:pt x="4" y="915"/>
                    </a:lnTo>
                    <a:lnTo>
                      <a:pt x="0" y="887"/>
                    </a:lnTo>
                    <a:lnTo>
                      <a:pt x="4" y="858"/>
                    </a:lnTo>
                    <a:lnTo>
                      <a:pt x="13" y="833"/>
                    </a:lnTo>
                    <a:lnTo>
                      <a:pt x="29" y="809"/>
                    </a:lnTo>
                    <a:lnTo>
                      <a:pt x="49" y="791"/>
                    </a:lnTo>
                    <a:lnTo>
                      <a:pt x="74" y="776"/>
                    </a:lnTo>
                    <a:lnTo>
                      <a:pt x="102" y="767"/>
                    </a:lnTo>
                    <a:lnTo>
                      <a:pt x="132" y="764"/>
                    </a:lnTo>
                    <a:close/>
                    <a:moveTo>
                      <a:pt x="1269" y="404"/>
                    </a:moveTo>
                    <a:lnTo>
                      <a:pt x="1299" y="407"/>
                    </a:lnTo>
                    <a:lnTo>
                      <a:pt x="1327" y="416"/>
                    </a:lnTo>
                    <a:lnTo>
                      <a:pt x="1351" y="430"/>
                    </a:lnTo>
                    <a:lnTo>
                      <a:pt x="1372" y="449"/>
                    </a:lnTo>
                    <a:lnTo>
                      <a:pt x="1388" y="471"/>
                    </a:lnTo>
                    <a:lnTo>
                      <a:pt x="1398" y="497"/>
                    </a:lnTo>
                    <a:lnTo>
                      <a:pt x="1401" y="523"/>
                    </a:lnTo>
                    <a:lnTo>
                      <a:pt x="1398" y="551"/>
                    </a:lnTo>
                    <a:lnTo>
                      <a:pt x="1388" y="577"/>
                    </a:lnTo>
                    <a:lnTo>
                      <a:pt x="1372" y="599"/>
                    </a:lnTo>
                    <a:lnTo>
                      <a:pt x="1351" y="618"/>
                    </a:lnTo>
                    <a:lnTo>
                      <a:pt x="1327" y="631"/>
                    </a:lnTo>
                    <a:lnTo>
                      <a:pt x="1299" y="641"/>
                    </a:lnTo>
                    <a:lnTo>
                      <a:pt x="1269" y="643"/>
                    </a:lnTo>
                    <a:lnTo>
                      <a:pt x="1238" y="641"/>
                    </a:lnTo>
                    <a:lnTo>
                      <a:pt x="1210" y="631"/>
                    </a:lnTo>
                    <a:lnTo>
                      <a:pt x="1186" y="618"/>
                    </a:lnTo>
                    <a:lnTo>
                      <a:pt x="1165" y="599"/>
                    </a:lnTo>
                    <a:lnTo>
                      <a:pt x="1149" y="577"/>
                    </a:lnTo>
                    <a:lnTo>
                      <a:pt x="1139" y="551"/>
                    </a:lnTo>
                    <a:lnTo>
                      <a:pt x="1136" y="523"/>
                    </a:lnTo>
                    <a:lnTo>
                      <a:pt x="1139" y="497"/>
                    </a:lnTo>
                    <a:lnTo>
                      <a:pt x="1149" y="471"/>
                    </a:lnTo>
                    <a:lnTo>
                      <a:pt x="1165" y="449"/>
                    </a:lnTo>
                    <a:lnTo>
                      <a:pt x="1186" y="430"/>
                    </a:lnTo>
                    <a:lnTo>
                      <a:pt x="1210" y="416"/>
                    </a:lnTo>
                    <a:lnTo>
                      <a:pt x="1238" y="407"/>
                    </a:lnTo>
                    <a:lnTo>
                      <a:pt x="1269" y="404"/>
                    </a:lnTo>
                    <a:close/>
                    <a:moveTo>
                      <a:pt x="842" y="404"/>
                    </a:moveTo>
                    <a:lnTo>
                      <a:pt x="872" y="407"/>
                    </a:lnTo>
                    <a:lnTo>
                      <a:pt x="900" y="416"/>
                    </a:lnTo>
                    <a:lnTo>
                      <a:pt x="923" y="430"/>
                    </a:lnTo>
                    <a:lnTo>
                      <a:pt x="943" y="449"/>
                    </a:lnTo>
                    <a:lnTo>
                      <a:pt x="958" y="471"/>
                    </a:lnTo>
                    <a:lnTo>
                      <a:pt x="968" y="497"/>
                    </a:lnTo>
                    <a:lnTo>
                      <a:pt x="972" y="523"/>
                    </a:lnTo>
                    <a:lnTo>
                      <a:pt x="968" y="551"/>
                    </a:lnTo>
                    <a:lnTo>
                      <a:pt x="958" y="577"/>
                    </a:lnTo>
                    <a:lnTo>
                      <a:pt x="943" y="599"/>
                    </a:lnTo>
                    <a:lnTo>
                      <a:pt x="923" y="618"/>
                    </a:lnTo>
                    <a:lnTo>
                      <a:pt x="900" y="631"/>
                    </a:lnTo>
                    <a:lnTo>
                      <a:pt x="872" y="641"/>
                    </a:lnTo>
                    <a:lnTo>
                      <a:pt x="842" y="643"/>
                    </a:lnTo>
                    <a:lnTo>
                      <a:pt x="813" y="641"/>
                    </a:lnTo>
                    <a:lnTo>
                      <a:pt x="785" y="631"/>
                    </a:lnTo>
                    <a:lnTo>
                      <a:pt x="761" y="618"/>
                    </a:lnTo>
                    <a:lnTo>
                      <a:pt x="741" y="599"/>
                    </a:lnTo>
                    <a:lnTo>
                      <a:pt x="727" y="577"/>
                    </a:lnTo>
                    <a:lnTo>
                      <a:pt x="717" y="551"/>
                    </a:lnTo>
                    <a:lnTo>
                      <a:pt x="713" y="523"/>
                    </a:lnTo>
                    <a:lnTo>
                      <a:pt x="717" y="497"/>
                    </a:lnTo>
                    <a:lnTo>
                      <a:pt x="727" y="471"/>
                    </a:lnTo>
                    <a:lnTo>
                      <a:pt x="741" y="449"/>
                    </a:lnTo>
                    <a:lnTo>
                      <a:pt x="761" y="430"/>
                    </a:lnTo>
                    <a:lnTo>
                      <a:pt x="785" y="416"/>
                    </a:lnTo>
                    <a:lnTo>
                      <a:pt x="813" y="407"/>
                    </a:lnTo>
                    <a:lnTo>
                      <a:pt x="842" y="404"/>
                    </a:lnTo>
                    <a:close/>
                    <a:moveTo>
                      <a:pt x="1628" y="385"/>
                    </a:moveTo>
                    <a:lnTo>
                      <a:pt x="1658" y="388"/>
                    </a:lnTo>
                    <a:lnTo>
                      <a:pt x="1686" y="397"/>
                    </a:lnTo>
                    <a:lnTo>
                      <a:pt x="1712" y="411"/>
                    </a:lnTo>
                    <a:lnTo>
                      <a:pt x="1732" y="430"/>
                    </a:lnTo>
                    <a:lnTo>
                      <a:pt x="1747" y="452"/>
                    </a:lnTo>
                    <a:lnTo>
                      <a:pt x="1757" y="477"/>
                    </a:lnTo>
                    <a:lnTo>
                      <a:pt x="1760" y="504"/>
                    </a:lnTo>
                    <a:lnTo>
                      <a:pt x="1757" y="532"/>
                    </a:lnTo>
                    <a:lnTo>
                      <a:pt x="1747" y="558"/>
                    </a:lnTo>
                    <a:lnTo>
                      <a:pt x="1732" y="580"/>
                    </a:lnTo>
                    <a:lnTo>
                      <a:pt x="1712" y="599"/>
                    </a:lnTo>
                    <a:lnTo>
                      <a:pt x="1686" y="612"/>
                    </a:lnTo>
                    <a:lnTo>
                      <a:pt x="1658" y="622"/>
                    </a:lnTo>
                    <a:lnTo>
                      <a:pt x="1628" y="624"/>
                    </a:lnTo>
                    <a:lnTo>
                      <a:pt x="1598" y="622"/>
                    </a:lnTo>
                    <a:lnTo>
                      <a:pt x="1570" y="612"/>
                    </a:lnTo>
                    <a:lnTo>
                      <a:pt x="1545" y="599"/>
                    </a:lnTo>
                    <a:lnTo>
                      <a:pt x="1525" y="580"/>
                    </a:lnTo>
                    <a:lnTo>
                      <a:pt x="1510" y="558"/>
                    </a:lnTo>
                    <a:lnTo>
                      <a:pt x="1500" y="532"/>
                    </a:lnTo>
                    <a:lnTo>
                      <a:pt x="1495" y="504"/>
                    </a:lnTo>
                    <a:lnTo>
                      <a:pt x="1500" y="477"/>
                    </a:lnTo>
                    <a:lnTo>
                      <a:pt x="1510" y="452"/>
                    </a:lnTo>
                    <a:lnTo>
                      <a:pt x="1525" y="430"/>
                    </a:lnTo>
                    <a:lnTo>
                      <a:pt x="1545" y="411"/>
                    </a:lnTo>
                    <a:lnTo>
                      <a:pt x="1570" y="397"/>
                    </a:lnTo>
                    <a:lnTo>
                      <a:pt x="1598" y="388"/>
                    </a:lnTo>
                    <a:lnTo>
                      <a:pt x="1628" y="385"/>
                    </a:lnTo>
                    <a:close/>
                    <a:moveTo>
                      <a:pt x="502" y="385"/>
                    </a:moveTo>
                    <a:lnTo>
                      <a:pt x="531" y="388"/>
                    </a:lnTo>
                    <a:lnTo>
                      <a:pt x="558" y="397"/>
                    </a:lnTo>
                    <a:lnTo>
                      <a:pt x="582" y="411"/>
                    </a:lnTo>
                    <a:lnTo>
                      <a:pt x="602" y="430"/>
                    </a:lnTo>
                    <a:lnTo>
                      <a:pt x="618" y="452"/>
                    </a:lnTo>
                    <a:lnTo>
                      <a:pt x="628" y="477"/>
                    </a:lnTo>
                    <a:lnTo>
                      <a:pt x="631" y="504"/>
                    </a:lnTo>
                    <a:lnTo>
                      <a:pt x="628" y="532"/>
                    </a:lnTo>
                    <a:lnTo>
                      <a:pt x="618" y="558"/>
                    </a:lnTo>
                    <a:lnTo>
                      <a:pt x="602" y="580"/>
                    </a:lnTo>
                    <a:lnTo>
                      <a:pt x="582" y="599"/>
                    </a:lnTo>
                    <a:lnTo>
                      <a:pt x="558" y="612"/>
                    </a:lnTo>
                    <a:lnTo>
                      <a:pt x="531" y="622"/>
                    </a:lnTo>
                    <a:lnTo>
                      <a:pt x="502" y="624"/>
                    </a:lnTo>
                    <a:lnTo>
                      <a:pt x="472" y="622"/>
                    </a:lnTo>
                    <a:lnTo>
                      <a:pt x="445" y="612"/>
                    </a:lnTo>
                    <a:lnTo>
                      <a:pt x="421" y="599"/>
                    </a:lnTo>
                    <a:lnTo>
                      <a:pt x="401" y="580"/>
                    </a:lnTo>
                    <a:lnTo>
                      <a:pt x="385" y="558"/>
                    </a:lnTo>
                    <a:lnTo>
                      <a:pt x="376" y="532"/>
                    </a:lnTo>
                    <a:lnTo>
                      <a:pt x="372" y="504"/>
                    </a:lnTo>
                    <a:lnTo>
                      <a:pt x="376" y="477"/>
                    </a:lnTo>
                    <a:lnTo>
                      <a:pt x="385" y="452"/>
                    </a:lnTo>
                    <a:lnTo>
                      <a:pt x="401" y="430"/>
                    </a:lnTo>
                    <a:lnTo>
                      <a:pt x="421" y="411"/>
                    </a:lnTo>
                    <a:lnTo>
                      <a:pt x="445" y="397"/>
                    </a:lnTo>
                    <a:lnTo>
                      <a:pt x="472" y="388"/>
                    </a:lnTo>
                    <a:lnTo>
                      <a:pt x="502" y="385"/>
                    </a:lnTo>
                    <a:close/>
                    <a:moveTo>
                      <a:pt x="1269" y="0"/>
                    </a:moveTo>
                    <a:lnTo>
                      <a:pt x="1299" y="3"/>
                    </a:lnTo>
                    <a:lnTo>
                      <a:pt x="1327" y="12"/>
                    </a:lnTo>
                    <a:lnTo>
                      <a:pt x="1351" y="26"/>
                    </a:lnTo>
                    <a:lnTo>
                      <a:pt x="1372" y="44"/>
                    </a:lnTo>
                    <a:lnTo>
                      <a:pt x="1388" y="67"/>
                    </a:lnTo>
                    <a:lnTo>
                      <a:pt x="1398" y="92"/>
                    </a:lnTo>
                    <a:lnTo>
                      <a:pt x="1401" y="120"/>
                    </a:lnTo>
                    <a:lnTo>
                      <a:pt x="1398" y="147"/>
                    </a:lnTo>
                    <a:lnTo>
                      <a:pt x="1388" y="173"/>
                    </a:lnTo>
                    <a:lnTo>
                      <a:pt x="1372" y="195"/>
                    </a:lnTo>
                    <a:lnTo>
                      <a:pt x="1351" y="214"/>
                    </a:lnTo>
                    <a:lnTo>
                      <a:pt x="1327" y="227"/>
                    </a:lnTo>
                    <a:lnTo>
                      <a:pt x="1299" y="236"/>
                    </a:lnTo>
                    <a:lnTo>
                      <a:pt x="1269" y="239"/>
                    </a:lnTo>
                    <a:lnTo>
                      <a:pt x="1238" y="236"/>
                    </a:lnTo>
                    <a:lnTo>
                      <a:pt x="1210" y="227"/>
                    </a:lnTo>
                    <a:lnTo>
                      <a:pt x="1186" y="214"/>
                    </a:lnTo>
                    <a:lnTo>
                      <a:pt x="1165" y="195"/>
                    </a:lnTo>
                    <a:lnTo>
                      <a:pt x="1149" y="173"/>
                    </a:lnTo>
                    <a:lnTo>
                      <a:pt x="1139" y="147"/>
                    </a:lnTo>
                    <a:lnTo>
                      <a:pt x="1136" y="120"/>
                    </a:lnTo>
                    <a:lnTo>
                      <a:pt x="1139" y="92"/>
                    </a:lnTo>
                    <a:lnTo>
                      <a:pt x="1149" y="67"/>
                    </a:lnTo>
                    <a:lnTo>
                      <a:pt x="1165" y="44"/>
                    </a:lnTo>
                    <a:lnTo>
                      <a:pt x="1186" y="26"/>
                    </a:lnTo>
                    <a:lnTo>
                      <a:pt x="1210" y="12"/>
                    </a:lnTo>
                    <a:lnTo>
                      <a:pt x="1238" y="3"/>
                    </a:lnTo>
                    <a:lnTo>
                      <a:pt x="1269" y="0"/>
                    </a:lnTo>
                    <a:close/>
                    <a:moveTo>
                      <a:pt x="842" y="0"/>
                    </a:moveTo>
                    <a:lnTo>
                      <a:pt x="872" y="3"/>
                    </a:lnTo>
                    <a:lnTo>
                      <a:pt x="900" y="12"/>
                    </a:lnTo>
                    <a:lnTo>
                      <a:pt x="923" y="26"/>
                    </a:lnTo>
                    <a:lnTo>
                      <a:pt x="943" y="44"/>
                    </a:lnTo>
                    <a:lnTo>
                      <a:pt x="958" y="67"/>
                    </a:lnTo>
                    <a:lnTo>
                      <a:pt x="968" y="92"/>
                    </a:lnTo>
                    <a:lnTo>
                      <a:pt x="972" y="120"/>
                    </a:lnTo>
                    <a:lnTo>
                      <a:pt x="968" y="147"/>
                    </a:lnTo>
                    <a:lnTo>
                      <a:pt x="958" y="173"/>
                    </a:lnTo>
                    <a:lnTo>
                      <a:pt x="943" y="195"/>
                    </a:lnTo>
                    <a:lnTo>
                      <a:pt x="923" y="214"/>
                    </a:lnTo>
                    <a:lnTo>
                      <a:pt x="900" y="227"/>
                    </a:lnTo>
                    <a:lnTo>
                      <a:pt x="872" y="236"/>
                    </a:lnTo>
                    <a:lnTo>
                      <a:pt x="842" y="239"/>
                    </a:lnTo>
                    <a:lnTo>
                      <a:pt x="813" y="236"/>
                    </a:lnTo>
                    <a:lnTo>
                      <a:pt x="785" y="227"/>
                    </a:lnTo>
                    <a:lnTo>
                      <a:pt x="761" y="214"/>
                    </a:lnTo>
                    <a:lnTo>
                      <a:pt x="741" y="195"/>
                    </a:lnTo>
                    <a:lnTo>
                      <a:pt x="727" y="173"/>
                    </a:lnTo>
                    <a:lnTo>
                      <a:pt x="717" y="147"/>
                    </a:lnTo>
                    <a:lnTo>
                      <a:pt x="713" y="120"/>
                    </a:lnTo>
                    <a:lnTo>
                      <a:pt x="717" y="92"/>
                    </a:lnTo>
                    <a:lnTo>
                      <a:pt x="727" y="67"/>
                    </a:lnTo>
                    <a:lnTo>
                      <a:pt x="741" y="44"/>
                    </a:lnTo>
                    <a:lnTo>
                      <a:pt x="761" y="26"/>
                    </a:lnTo>
                    <a:lnTo>
                      <a:pt x="785" y="12"/>
                    </a:lnTo>
                    <a:lnTo>
                      <a:pt x="813" y="3"/>
                    </a:lnTo>
                    <a:lnTo>
                      <a:pt x="842"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9" name="Freeform 38"/>
              <p:cNvSpPr>
                <a:spLocks noEditPoints="1"/>
              </p:cNvSpPr>
              <p:nvPr/>
            </p:nvSpPr>
            <p:spPr bwMode="auto">
              <a:xfrm>
                <a:off x="4736" y="2309"/>
                <a:ext cx="286" cy="141"/>
              </a:xfrm>
              <a:custGeom>
                <a:avLst/>
                <a:gdLst>
                  <a:gd name="T0" fmla="*/ 1003 w 1716"/>
                  <a:gd name="T1" fmla="*/ 510 h 845"/>
                  <a:gd name="T2" fmla="*/ 981 w 1716"/>
                  <a:gd name="T3" fmla="*/ 594 h 845"/>
                  <a:gd name="T4" fmla="*/ 920 w 1716"/>
                  <a:gd name="T5" fmla="*/ 688 h 845"/>
                  <a:gd name="T6" fmla="*/ 876 w 1716"/>
                  <a:gd name="T7" fmla="*/ 764 h 845"/>
                  <a:gd name="T8" fmla="*/ 960 w 1716"/>
                  <a:gd name="T9" fmla="*/ 797 h 845"/>
                  <a:gd name="T10" fmla="*/ 975 w 1716"/>
                  <a:gd name="T11" fmla="*/ 786 h 845"/>
                  <a:gd name="T12" fmla="*/ 970 w 1716"/>
                  <a:gd name="T13" fmla="*/ 771 h 845"/>
                  <a:gd name="T14" fmla="*/ 982 w 1716"/>
                  <a:gd name="T15" fmla="*/ 773 h 845"/>
                  <a:gd name="T16" fmla="*/ 981 w 1716"/>
                  <a:gd name="T17" fmla="*/ 774 h 845"/>
                  <a:gd name="T18" fmla="*/ 988 w 1716"/>
                  <a:gd name="T19" fmla="*/ 786 h 845"/>
                  <a:gd name="T20" fmla="*/ 1000 w 1716"/>
                  <a:gd name="T21" fmla="*/ 806 h 845"/>
                  <a:gd name="T22" fmla="*/ 988 w 1716"/>
                  <a:gd name="T23" fmla="*/ 813 h 845"/>
                  <a:gd name="T24" fmla="*/ 869 w 1716"/>
                  <a:gd name="T25" fmla="*/ 772 h 845"/>
                  <a:gd name="T26" fmla="*/ 770 w 1716"/>
                  <a:gd name="T27" fmla="*/ 800 h 845"/>
                  <a:gd name="T28" fmla="*/ 662 w 1716"/>
                  <a:gd name="T29" fmla="*/ 837 h 845"/>
                  <a:gd name="T30" fmla="*/ 622 w 1716"/>
                  <a:gd name="T31" fmla="*/ 845 h 845"/>
                  <a:gd name="T32" fmla="*/ 614 w 1716"/>
                  <a:gd name="T33" fmla="*/ 835 h 845"/>
                  <a:gd name="T34" fmla="*/ 619 w 1716"/>
                  <a:gd name="T35" fmla="*/ 831 h 845"/>
                  <a:gd name="T36" fmla="*/ 697 w 1716"/>
                  <a:gd name="T37" fmla="*/ 817 h 845"/>
                  <a:gd name="T38" fmla="*/ 795 w 1716"/>
                  <a:gd name="T39" fmla="*/ 774 h 845"/>
                  <a:gd name="T40" fmla="*/ 788 w 1716"/>
                  <a:gd name="T41" fmla="*/ 714 h 845"/>
                  <a:gd name="T42" fmla="*/ 703 w 1716"/>
                  <a:gd name="T43" fmla="*/ 612 h 845"/>
                  <a:gd name="T44" fmla="*/ 669 w 1716"/>
                  <a:gd name="T45" fmla="*/ 522 h 845"/>
                  <a:gd name="T46" fmla="*/ 678 w 1716"/>
                  <a:gd name="T47" fmla="*/ 466 h 845"/>
                  <a:gd name="T48" fmla="*/ 688 w 1716"/>
                  <a:gd name="T49" fmla="*/ 551 h 845"/>
                  <a:gd name="T50" fmla="*/ 729 w 1716"/>
                  <a:gd name="T51" fmla="*/ 632 h 845"/>
                  <a:gd name="T52" fmla="*/ 821 w 1716"/>
                  <a:gd name="T53" fmla="*/ 728 h 845"/>
                  <a:gd name="T54" fmla="*/ 912 w 1716"/>
                  <a:gd name="T55" fmla="*/ 680 h 845"/>
                  <a:gd name="T56" fmla="*/ 971 w 1716"/>
                  <a:gd name="T57" fmla="*/ 590 h 845"/>
                  <a:gd name="T58" fmla="*/ 992 w 1716"/>
                  <a:gd name="T59" fmla="*/ 510 h 845"/>
                  <a:gd name="T60" fmla="*/ 1003 w 1716"/>
                  <a:gd name="T61" fmla="*/ 458 h 845"/>
                  <a:gd name="T62" fmla="*/ 1116 w 1716"/>
                  <a:gd name="T63" fmla="*/ 441 h 845"/>
                  <a:gd name="T64" fmla="*/ 361 w 1716"/>
                  <a:gd name="T65" fmla="*/ 694 h 845"/>
                  <a:gd name="T66" fmla="*/ 1052 w 1716"/>
                  <a:gd name="T67" fmla="*/ 65 h 845"/>
                  <a:gd name="T68" fmla="*/ 524 w 1716"/>
                  <a:gd name="T69" fmla="*/ 44 h 845"/>
                  <a:gd name="T70" fmla="*/ 524 w 1716"/>
                  <a:gd name="T71" fmla="*/ 44 h 845"/>
                  <a:gd name="T72" fmla="*/ 610 w 1716"/>
                  <a:gd name="T73" fmla="*/ 733 h 845"/>
                  <a:gd name="T74" fmla="*/ 1708 w 1716"/>
                  <a:gd name="T75" fmla="*/ 687 h 845"/>
                  <a:gd name="T76" fmla="*/ 975 w 1716"/>
                  <a:gd name="T77" fmla="*/ 6 h 845"/>
                  <a:gd name="T78" fmla="*/ 916 w 1716"/>
                  <a:gd name="T79" fmla="*/ 61 h 845"/>
                  <a:gd name="T80" fmla="*/ 855 w 1716"/>
                  <a:gd name="T81" fmla="*/ 83 h 845"/>
                  <a:gd name="T82" fmla="*/ 770 w 1716"/>
                  <a:gd name="T83" fmla="*/ 82 h 845"/>
                  <a:gd name="T84" fmla="*/ 699 w 1716"/>
                  <a:gd name="T85" fmla="*/ 59 h 845"/>
                  <a:gd name="T86" fmla="*/ 686 w 1716"/>
                  <a:gd name="T87" fmla="*/ 40 h 845"/>
                  <a:gd name="T88" fmla="*/ 770 w 1716"/>
                  <a:gd name="T89" fmla="*/ 71 h 845"/>
                  <a:gd name="T90" fmla="*/ 855 w 1716"/>
                  <a:gd name="T91" fmla="*/ 72 h 845"/>
                  <a:gd name="T92" fmla="*/ 909 w 1716"/>
                  <a:gd name="T93" fmla="*/ 53 h 845"/>
                  <a:gd name="T94" fmla="*/ 966 w 1716"/>
                  <a:gd name="T95"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6" h="845">
                    <a:moveTo>
                      <a:pt x="1003" y="458"/>
                    </a:moveTo>
                    <a:lnTo>
                      <a:pt x="1004" y="476"/>
                    </a:lnTo>
                    <a:lnTo>
                      <a:pt x="1004" y="494"/>
                    </a:lnTo>
                    <a:lnTo>
                      <a:pt x="1003" y="510"/>
                    </a:lnTo>
                    <a:lnTo>
                      <a:pt x="1001" y="528"/>
                    </a:lnTo>
                    <a:lnTo>
                      <a:pt x="997" y="545"/>
                    </a:lnTo>
                    <a:lnTo>
                      <a:pt x="993" y="561"/>
                    </a:lnTo>
                    <a:lnTo>
                      <a:pt x="981" y="594"/>
                    </a:lnTo>
                    <a:lnTo>
                      <a:pt x="978" y="598"/>
                    </a:lnTo>
                    <a:lnTo>
                      <a:pt x="963" y="629"/>
                    </a:lnTo>
                    <a:lnTo>
                      <a:pt x="943" y="659"/>
                    </a:lnTo>
                    <a:lnTo>
                      <a:pt x="920" y="688"/>
                    </a:lnTo>
                    <a:lnTo>
                      <a:pt x="894" y="714"/>
                    </a:lnTo>
                    <a:lnTo>
                      <a:pt x="865" y="739"/>
                    </a:lnTo>
                    <a:lnTo>
                      <a:pt x="852" y="750"/>
                    </a:lnTo>
                    <a:lnTo>
                      <a:pt x="876" y="764"/>
                    </a:lnTo>
                    <a:lnTo>
                      <a:pt x="905" y="779"/>
                    </a:lnTo>
                    <a:lnTo>
                      <a:pt x="905" y="779"/>
                    </a:lnTo>
                    <a:lnTo>
                      <a:pt x="931" y="789"/>
                    </a:lnTo>
                    <a:lnTo>
                      <a:pt x="960" y="797"/>
                    </a:lnTo>
                    <a:lnTo>
                      <a:pt x="986" y="802"/>
                    </a:lnTo>
                    <a:lnTo>
                      <a:pt x="986" y="801"/>
                    </a:lnTo>
                    <a:lnTo>
                      <a:pt x="981" y="794"/>
                    </a:lnTo>
                    <a:lnTo>
                      <a:pt x="975" y="786"/>
                    </a:lnTo>
                    <a:lnTo>
                      <a:pt x="972" y="781"/>
                    </a:lnTo>
                    <a:lnTo>
                      <a:pt x="971" y="776"/>
                    </a:lnTo>
                    <a:lnTo>
                      <a:pt x="970" y="774"/>
                    </a:lnTo>
                    <a:lnTo>
                      <a:pt x="970" y="771"/>
                    </a:lnTo>
                    <a:lnTo>
                      <a:pt x="972" y="767"/>
                    </a:lnTo>
                    <a:lnTo>
                      <a:pt x="974" y="765"/>
                    </a:lnTo>
                    <a:lnTo>
                      <a:pt x="981" y="763"/>
                    </a:lnTo>
                    <a:lnTo>
                      <a:pt x="982" y="773"/>
                    </a:lnTo>
                    <a:lnTo>
                      <a:pt x="982" y="773"/>
                    </a:lnTo>
                    <a:lnTo>
                      <a:pt x="982" y="773"/>
                    </a:lnTo>
                    <a:lnTo>
                      <a:pt x="982" y="774"/>
                    </a:lnTo>
                    <a:lnTo>
                      <a:pt x="981" y="774"/>
                    </a:lnTo>
                    <a:lnTo>
                      <a:pt x="982" y="776"/>
                    </a:lnTo>
                    <a:lnTo>
                      <a:pt x="982" y="776"/>
                    </a:lnTo>
                    <a:lnTo>
                      <a:pt x="983" y="779"/>
                    </a:lnTo>
                    <a:lnTo>
                      <a:pt x="988" y="786"/>
                    </a:lnTo>
                    <a:lnTo>
                      <a:pt x="994" y="793"/>
                    </a:lnTo>
                    <a:lnTo>
                      <a:pt x="997" y="799"/>
                    </a:lnTo>
                    <a:lnTo>
                      <a:pt x="1000" y="803"/>
                    </a:lnTo>
                    <a:lnTo>
                      <a:pt x="1000" y="806"/>
                    </a:lnTo>
                    <a:lnTo>
                      <a:pt x="997" y="811"/>
                    </a:lnTo>
                    <a:lnTo>
                      <a:pt x="996" y="812"/>
                    </a:lnTo>
                    <a:lnTo>
                      <a:pt x="992" y="813"/>
                    </a:lnTo>
                    <a:lnTo>
                      <a:pt x="988" y="813"/>
                    </a:lnTo>
                    <a:lnTo>
                      <a:pt x="960" y="809"/>
                    </a:lnTo>
                    <a:lnTo>
                      <a:pt x="931" y="800"/>
                    </a:lnTo>
                    <a:lnTo>
                      <a:pt x="902" y="789"/>
                    </a:lnTo>
                    <a:lnTo>
                      <a:pt x="869" y="772"/>
                    </a:lnTo>
                    <a:lnTo>
                      <a:pt x="843" y="756"/>
                    </a:lnTo>
                    <a:lnTo>
                      <a:pt x="835" y="762"/>
                    </a:lnTo>
                    <a:lnTo>
                      <a:pt x="803" y="782"/>
                    </a:lnTo>
                    <a:lnTo>
                      <a:pt x="770" y="800"/>
                    </a:lnTo>
                    <a:lnTo>
                      <a:pt x="736" y="814"/>
                    </a:lnTo>
                    <a:lnTo>
                      <a:pt x="732" y="816"/>
                    </a:lnTo>
                    <a:lnTo>
                      <a:pt x="697" y="828"/>
                    </a:lnTo>
                    <a:lnTo>
                      <a:pt x="662" y="837"/>
                    </a:lnTo>
                    <a:lnTo>
                      <a:pt x="629" y="843"/>
                    </a:lnTo>
                    <a:lnTo>
                      <a:pt x="627" y="844"/>
                    </a:lnTo>
                    <a:lnTo>
                      <a:pt x="626" y="844"/>
                    </a:lnTo>
                    <a:lnTo>
                      <a:pt x="622" y="845"/>
                    </a:lnTo>
                    <a:lnTo>
                      <a:pt x="618" y="845"/>
                    </a:lnTo>
                    <a:lnTo>
                      <a:pt x="614" y="843"/>
                    </a:lnTo>
                    <a:lnTo>
                      <a:pt x="612" y="840"/>
                    </a:lnTo>
                    <a:lnTo>
                      <a:pt x="614" y="835"/>
                    </a:lnTo>
                    <a:lnTo>
                      <a:pt x="615" y="835"/>
                    </a:lnTo>
                    <a:lnTo>
                      <a:pt x="618" y="833"/>
                    </a:lnTo>
                    <a:lnTo>
                      <a:pt x="619" y="833"/>
                    </a:lnTo>
                    <a:lnTo>
                      <a:pt x="619" y="831"/>
                    </a:lnTo>
                    <a:lnTo>
                      <a:pt x="622" y="832"/>
                    </a:lnTo>
                    <a:lnTo>
                      <a:pt x="627" y="832"/>
                    </a:lnTo>
                    <a:lnTo>
                      <a:pt x="662" y="826"/>
                    </a:lnTo>
                    <a:lnTo>
                      <a:pt x="697" y="817"/>
                    </a:lnTo>
                    <a:lnTo>
                      <a:pt x="728" y="806"/>
                    </a:lnTo>
                    <a:lnTo>
                      <a:pt x="728" y="806"/>
                    </a:lnTo>
                    <a:lnTo>
                      <a:pt x="762" y="792"/>
                    </a:lnTo>
                    <a:lnTo>
                      <a:pt x="795" y="774"/>
                    </a:lnTo>
                    <a:lnTo>
                      <a:pt x="828" y="754"/>
                    </a:lnTo>
                    <a:lnTo>
                      <a:pt x="833" y="750"/>
                    </a:lnTo>
                    <a:lnTo>
                      <a:pt x="813" y="735"/>
                    </a:lnTo>
                    <a:lnTo>
                      <a:pt x="788" y="714"/>
                    </a:lnTo>
                    <a:lnTo>
                      <a:pt x="763" y="691"/>
                    </a:lnTo>
                    <a:lnTo>
                      <a:pt x="741" y="665"/>
                    </a:lnTo>
                    <a:lnTo>
                      <a:pt x="721" y="640"/>
                    </a:lnTo>
                    <a:lnTo>
                      <a:pt x="703" y="612"/>
                    </a:lnTo>
                    <a:lnTo>
                      <a:pt x="689" y="584"/>
                    </a:lnTo>
                    <a:lnTo>
                      <a:pt x="688" y="580"/>
                    </a:lnTo>
                    <a:lnTo>
                      <a:pt x="677" y="551"/>
                    </a:lnTo>
                    <a:lnTo>
                      <a:pt x="669" y="522"/>
                    </a:lnTo>
                    <a:lnTo>
                      <a:pt x="666" y="494"/>
                    </a:lnTo>
                    <a:lnTo>
                      <a:pt x="666" y="479"/>
                    </a:lnTo>
                    <a:lnTo>
                      <a:pt x="667" y="465"/>
                    </a:lnTo>
                    <a:lnTo>
                      <a:pt x="678" y="466"/>
                    </a:lnTo>
                    <a:lnTo>
                      <a:pt x="677" y="479"/>
                    </a:lnTo>
                    <a:lnTo>
                      <a:pt x="677" y="494"/>
                    </a:lnTo>
                    <a:lnTo>
                      <a:pt x="680" y="522"/>
                    </a:lnTo>
                    <a:lnTo>
                      <a:pt x="688" y="551"/>
                    </a:lnTo>
                    <a:lnTo>
                      <a:pt x="699" y="580"/>
                    </a:lnTo>
                    <a:lnTo>
                      <a:pt x="699" y="580"/>
                    </a:lnTo>
                    <a:lnTo>
                      <a:pt x="711" y="604"/>
                    </a:lnTo>
                    <a:lnTo>
                      <a:pt x="729" y="632"/>
                    </a:lnTo>
                    <a:lnTo>
                      <a:pt x="749" y="658"/>
                    </a:lnTo>
                    <a:lnTo>
                      <a:pt x="771" y="683"/>
                    </a:lnTo>
                    <a:lnTo>
                      <a:pt x="795" y="706"/>
                    </a:lnTo>
                    <a:lnTo>
                      <a:pt x="821" y="728"/>
                    </a:lnTo>
                    <a:lnTo>
                      <a:pt x="842" y="743"/>
                    </a:lnTo>
                    <a:lnTo>
                      <a:pt x="858" y="731"/>
                    </a:lnTo>
                    <a:lnTo>
                      <a:pt x="886" y="706"/>
                    </a:lnTo>
                    <a:lnTo>
                      <a:pt x="912" y="680"/>
                    </a:lnTo>
                    <a:lnTo>
                      <a:pt x="935" y="651"/>
                    </a:lnTo>
                    <a:lnTo>
                      <a:pt x="955" y="621"/>
                    </a:lnTo>
                    <a:lnTo>
                      <a:pt x="971" y="590"/>
                    </a:lnTo>
                    <a:lnTo>
                      <a:pt x="971" y="590"/>
                    </a:lnTo>
                    <a:lnTo>
                      <a:pt x="982" y="561"/>
                    </a:lnTo>
                    <a:lnTo>
                      <a:pt x="986" y="545"/>
                    </a:lnTo>
                    <a:lnTo>
                      <a:pt x="990" y="528"/>
                    </a:lnTo>
                    <a:lnTo>
                      <a:pt x="992" y="510"/>
                    </a:lnTo>
                    <a:lnTo>
                      <a:pt x="993" y="494"/>
                    </a:lnTo>
                    <a:lnTo>
                      <a:pt x="993" y="476"/>
                    </a:lnTo>
                    <a:lnTo>
                      <a:pt x="992" y="459"/>
                    </a:lnTo>
                    <a:lnTo>
                      <a:pt x="1003" y="458"/>
                    </a:lnTo>
                    <a:close/>
                    <a:moveTo>
                      <a:pt x="1125" y="435"/>
                    </a:moveTo>
                    <a:lnTo>
                      <a:pt x="1319" y="688"/>
                    </a:lnTo>
                    <a:lnTo>
                      <a:pt x="1310" y="694"/>
                    </a:lnTo>
                    <a:lnTo>
                      <a:pt x="1116" y="441"/>
                    </a:lnTo>
                    <a:lnTo>
                      <a:pt x="1125" y="435"/>
                    </a:lnTo>
                    <a:close/>
                    <a:moveTo>
                      <a:pt x="536" y="435"/>
                    </a:moveTo>
                    <a:lnTo>
                      <a:pt x="545" y="441"/>
                    </a:lnTo>
                    <a:lnTo>
                      <a:pt x="361" y="694"/>
                    </a:lnTo>
                    <a:lnTo>
                      <a:pt x="352" y="688"/>
                    </a:lnTo>
                    <a:lnTo>
                      <a:pt x="536" y="435"/>
                    </a:lnTo>
                    <a:close/>
                    <a:moveTo>
                      <a:pt x="1041" y="65"/>
                    </a:moveTo>
                    <a:lnTo>
                      <a:pt x="1052" y="65"/>
                    </a:lnTo>
                    <a:lnTo>
                      <a:pt x="1052" y="755"/>
                    </a:lnTo>
                    <a:lnTo>
                      <a:pt x="1041" y="755"/>
                    </a:lnTo>
                    <a:lnTo>
                      <a:pt x="1041" y="65"/>
                    </a:lnTo>
                    <a:close/>
                    <a:moveTo>
                      <a:pt x="524" y="44"/>
                    </a:moveTo>
                    <a:lnTo>
                      <a:pt x="532" y="52"/>
                    </a:lnTo>
                    <a:lnTo>
                      <a:pt x="8" y="650"/>
                    </a:lnTo>
                    <a:lnTo>
                      <a:pt x="0" y="642"/>
                    </a:lnTo>
                    <a:lnTo>
                      <a:pt x="524" y="44"/>
                    </a:lnTo>
                    <a:close/>
                    <a:moveTo>
                      <a:pt x="610" y="11"/>
                    </a:moveTo>
                    <a:lnTo>
                      <a:pt x="621" y="11"/>
                    </a:lnTo>
                    <a:lnTo>
                      <a:pt x="621" y="733"/>
                    </a:lnTo>
                    <a:lnTo>
                      <a:pt x="610" y="733"/>
                    </a:lnTo>
                    <a:lnTo>
                      <a:pt x="610" y="11"/>
                    </a:lnTo>
                    <a:close/>
                    <a:moveTo>
                      <a:pt x="1106" y="7"/>
                    </a:moveTo>
                    <a:lnTo>
                      <a:pt x="1716" y="679"/>
                    </a:lnTo>
                    <a:lnTo>
                      <a:pt x="1708" y="687"/>
                    </a:lnTo>
                    <a:lnTo>
                      <a:pt x="1098" y="14"/>
                    </a:lnTo>
                    <a:lnTo>
                      <a:pt x="1106" y="7"/>
                    </a:lnTo>
                    <a:close/>
                    <a:moveTo>
                      <a:pt x="966" y="0"/>
                    </a:moveTo>
                    <a:lnTo>
                      <a:pt x="975" y="6"/>
                    </a:lnTo>
                    <a:lnTo>
                      <a:pt x="962" y="22"/>
                    </a:lnTo>
                    <a:lnTo>
                      <a:pt x="949" y="38"/>
                    </a:lnTo>
                    <a:lnTo>
                      <a:pt x="933" y="50"/>
                    </a:lnTo>
                    <a:lnTo>
                      <a:pt x="916" y="61"/>
                    </a:lnTo>
                    <a:lnTo>
                      <a:pt x="899" y="70"/>
                    </a:lnTo>
                    <a:lnTo>
                      <a:pt x="894" y="71"/>
                    </a:lnTo>
                    <a:lnTo>
                      <a:pt x="875" y="78"/>
                    </a:lnTo>
                    <a:lnTo>
                      <a:pt x="855" y="83"/>
                    </a:lnTo>
                    <a:lnTo>
                      <a:pt x="834" y="85"/>
                    </a:lnTo>
                    <a:lnTo>
                      <a:pt x="813" y="86"/>
                    </a:lnTo>
                    <a:lnTo>
                      <a:pt x="792" y="85"/>
                    </a:lnTo>
                    <a:lnTo>
                      <a:pt x="770" y="82"/>
                    </a:lnTo>
                    <a:lnTo>
                      <a:pt x="748" y="77"/>
                    </a:lnTo>
                    <a:lnTo>
                      <a:pt x="726" y="70"/>
                    </a:lnTo>
                    <a:lnTo>
                      <a:pt x="721" y="68"/>
                    </a:lnTo>
                    <a:lnTo>
                      <a:pt x="699" y="59"/>
                    </a:lnTo>
                    <a:lnTo>
                      <a:pt x="678" y="48"/>
                    </a:lnTo>
                    <a:lnTo>
                      <a:pt x="657" y="34"/>
                    </a:lnTo>
                    <a:lnTo>
                      <a:pt x="663" y="25"/>
                    </a:lnTo>
                    <a:lnTo>
                      <a:pt x="686" y="40"/>
                    </a:lnTo>
                    <a:lnTo>
                      <a:pt x="707" y="51"/>
                    </a:lnTo>
                    <a:lnTo>
                      <a:pt x="728" y="60"/>
                    </a:lnTo>
                    <a:lnTo>
                      <a:pt x="748" y="65"/>
                    </a:lnTo>
                    <a:lnTo>
                      <a:pt x="770" y="71"/>
                    </a:lnTo>
                    <a:lnTo>
                      <a:pt x="792" y="74"/>
                    </a:lnTo>
                    <a:lnTo>
                      <a:pt x="813" y="75"/>
                    </a:lnTo>
                    <a:lnTo>
                      <a:pt x="834" y="74"/>
                    </a:lnTo>
                    <a:lnTo>
                      <a:pt x="855" y="72"/>
                    </a:lnTo>
                    <a:lnTo>
                      <a:pt x="875" y="67"/>
                    </a:lnTo>
                    <a:lnTo>
                      <a:pt x="894" y="60"/>
                    </a:lnTo>
                    <a:lnTo>
                      <a:pt x="894" y="61"/>
                    </a:lnTo>
                    <a:lnTo>
                      <a:pt x="909" y="53"/>
                    </a:lnTo>
                    <a:lnTo>
                      <a:pt x="925" y="42"/>
                    </a:lnTo>
                    <a:lnTo>
                      <a:pt x="941" y="30"/>
                    </a:lnTo>
                    <a:lnTo>
                      <a:pt x="954" y="14"/>
                    </a:lnTo>
                    <a:lnTo>
                      <a:pt x="966" y="0"/>
                    </a:lnTo>
                    <a:close/>
                  </a:path>
                </a:pathLst>
              </a:custGeom>
              <a:solidFill>
                <a:srgbClr val="237E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5" name="Group 4"/>
          <p:cNvGrpSpPr/>
          <p:nvPr/>
        </p:nvGrpSpPr>
        <p:grpSpPr>
          <a:xfrm>
            <a:off x="7201501" y="3073414"/>
            <a:ext cx="1622816" cy="1244676"/>
            <a:chOff x="7201639" y="3073353"/>
            <a:chExt cx="1623047" cy="1244852"/>
          </a:xfrm>
        </p:grpSpPr>
        <p:sp>
          <p:nvSpPr>
            <p:cNvPr id="92" name="Rectangle 91"/>
            <p:cNvSpPr/>
            <p:nvPr/>
          </p:nvSpPr>
          <p:spPr>
            <a:xfrm>
              <a:off x="7201639" y="3942121"/>
              <a:ext cx="1623047" cy="376084"/>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Web Application Proxy</a:t>
              </a:r>
            </a:p>
            <a:p>
              <a:pPr algn="ctr" defTabSz="1096269" fontAlgn="base">
                <a:spcAft>
                  <a:spcPct val="0"/>
                </a:spcAft>
              </a:pPr>
              <a:r>
                <a:rPr lang="en-US" sz="1198" dirty="0">
                  <a:ln>
                    <a:solidFill>
                      <a:srgbClr val="FFFFFF">
                        <a:alpha val="0"/>
                      </a:srgbClr>
                    </a:solidFill>
                  </a:ln>
                  <a:solidFill>
                    <a:srgbClr val="FFFFFF"/>
                  </a:solidFill>
                </a:rPr>
                <a:t>(includes ADFS Proxy)</a:t>
              </a:r>
            </a:p>
          </p:txBody>
        </p:sp>
        <p:grpSp>
          <p:nvGrpSpPr>
            <p:cNvPr id="4" name="Group 3"/>
            <p:cNvGrpSpPr/>
            <p:nvPr/>
          </p:nvGrpSpPr>
          <p:grpSpPr>
            <a:xfrm>
              <a:off x="7595773" y="3073353"/>
              <a:ext cx="626677" cy="809804"/>
              <a:chOff x="7595773" y="3073353"/>
              <a:chExt cx="626677" cy="809804"/>
            </a:xfrm>
          </p:grpSpPr>
          <p:sp>
            <p:nvSpPr>
              <p:cNvPr id="400" name="Freeform 7"/>
              <p:cNvSpPr>
                <a:spLocks noEditPoints="1"/>
              </p:cNvSpPr>
              <p:nvPr/>
            </p:nvSpPr>
            <p:spPr bwMode="auto">
              <a:xfrm>
                <a:off x="7803873" y="3073353"/>
                <a:ext cx="418577" cy="809804"/>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01" name="Freeform 8"/>
              <p:cNvSpPr>
                <a:spLocks noEditPoints="1"/>
              </p:cNvSpPr>
              <p:nvPr/>
            </p:nvSpPr>
            <p:spPr bwMode="auto">
              <a:xfrm>
                <a:off x="7595773" y="3255291"/>
                <a:ext cx="417388" cy="413821"/>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402" name="Freeform 10"/>
              <p:cNvSpPr>
                <a:spLocks noEditPoints="1"/>
              </p:cNvSpPr>
              <p:nvPr/>
            </p:nvSpPr>
            <p:spPr bwMode="auto">
              <a:xfrm>
                <a:off x="7849060" y="3136377"/>
                <a:ext cx="327014" cy="54700"/>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0" name="Group 9"/>
          <p:cNvGrpSpPr/>
          <p:nvPr/>
        </p:nvGrpSpPr>
        <p:grpSpPr>
          <a:xfrm>
            <a:off x="9072949" y="1792029"/>
            <a:ext cx="2583114" cy="1218973"/>
            <a:chOff x="9073353" y="1791787"/>
            <a:chExt cx="2583481" cy="1219146"/>
          </a:xfrm>
        </p:grpSpPr>
        <p:grpSp>
          <p:nvGrpSpPr>
            <p:cNvPr id="384" name="Group 383"/>
            <p:cNvGrpSpPr/>
            <p:nvPr/>
          </p:nvGrpSpPr>
          <p:grpSpPr>
            <a:xfrm>
              <a:off x="9073353" y="1803117"/>
              <a:ext cx="860428" cy="1193901"/>
              <a:chOff x="8118535" y="4326133"/>
              <a:chExt cx="860428" cy="1193901"/>
            </a:xfrm>
          </p:grpSpPr>
          <p:sp>
            <p:nvSpPr>
              <p:cNvPr id="385" name="Rectangle 384"/>
              <p:cNvSpPr/>
              <p:nvPr/>
            </p:nvSpPr>
            <p:spPr>
              <a:xfrm>
                <a:off x="8279613" y="5331991"/>
                <a:ext cx="684233" cy="188043"/>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ADFS</a:t>
                </a:r>
              </a:p>
            </p:txBody>
          </p:sp>
          <p:grpSp>
            <p:nvGrpSpPr>
              <p:cNvPr id="386" name="Group 32"/>
              <p:cNvGrpSpPr>
                <a:grpSpLocks noChangeAspect="1"/>
              </p:cNvGrpSpPr>
              <p:nvPr/>
            </p:nvGrpSpPr>
            <p:grpSpPr bwMode="auto">
              <a:xfrm>
                <a:off x="8118535" y="4326133"/>
                <a:ext cx="860428" cy="966788"/>
                <a:chOff x="4642" y="2034"/>
                <a:chExt cx="542" cy="609"/>
              </a:xfrm>
            </p:grpSpPr>
            <p:sp>
              <p:nvSpPr>
                <p:cNvPr id="387" name="Freeform 34"/>
                <p:cNvSpPr>
                  <a:spLocks noEditPoints="1"/>
                </p:cNvSpPr>
                <p:nvPr/>
              </p:nvSpPr>
              <p:spPr bwMode="auto">
                <a:xfrm>
                  <a:off x="4873" y="2034"/>
                  <a:ext cx="311" cy="609"/>
                </a:xfrm>
                <a:custGeom>
                  <a:avLst/>
                  <a:gdLst>
                    <a:gd name="T0" fmla="*/ 1633 w 1864"/>
                    <a:gd name="T1" fmla="*/ 3401 h 3656"/>
                    <a:gd name="T2" fmla="*/ 207 w 1864"/>
                    <a:gd name="T3" fmla="*/ 3228 h 3656"/>
                    <a:gd name="T4" fmla="*/ 207 w 1864"/>
                    <a:gd name="T5" fmla="*/ 3425 h 3656"/>
                    <a:gd name="T6" fmla="*/ 230 w 1864"/>
                    <a:gd name="T7" fmla="*/ 3075 h 3656"/>
                    <a:gd name="T8" fmla="*/ 230 w 1864"/>
                    <a:gd name="T9" fmla="*/ 2880 h 3656"/>
                    <a:gd name="T10" fmla="*/ 516 w 1864"/>
                    <a:gd name="T11" fmla="*/ 3099 h 3656"/>
                    <a:gd name="T12" fmla="*/ 230 w 1864"/>
                    <a:gd name="T13" fmla="*/ 654 h 3656"/>
                    <a:gd name="T14" fmla="*/ 1633 w 1864"/>
                    <a:gd name="T15" fmla="*/ 654 h 3656"/>
                    <a:gd name="T16" fmla="*/ 1658 w 1864"/>
                    <a:gd name="T17" fmla="*/ 629 h 3656"/>
                    <a:gd name="T18" fmla="*/ 207 w 1864"/>
                    <a:gd name="T19" fmla="*/ 629 h 3656"/>
                    <a:gd name="T20" fmla="*/ 1633 w 1864"/>
                    <a:gd name="T21" fmla="*/ 453 h 3656"/>
                    <a:gd name="T22" fmla="*/ 207 w 1864"/>
                    <a:gd name="T23" fmla="*/ 281 h 3656"/>
                    <a:gd name="T24" fmla="*/ 207 w 1864"/>
                    <a:gd name="T25" fmla="*/ 477 h 3656"/>
                    <a:gd name="T26" fmla="*/ 1608 w 1864"/>
                    <a:gd name="T27" fmla="*/ 0 h 3656"/>
                    <a:gd name="T28" fmla="*/ 1725 w 1864"/>
                    <a:gd name="T29" fmla="*/ 27 h 3656"/>
                    <a:gd name="T30" fmla="*/ 1814 w 1864"/>
                    <a:gd name="T31" fmla="*/ 95 h 3656"/>
                    <a:gd name="T32" fmla="*/ 1861 w 1864"/>
                    <a:gd name="T33" fmla="*/ 193 h 3656"/>
                    <a:gd name="T34" fmla="*/ 1861 w 1864"/>
                    <a:gd name="T35" fmla="*/ 3464 h 3656"/>
                    <a:gd name="T36" fmla="*/ 1814 w 1864"/>
                    <a:gd name="T37" fmla="*/ 3562 h 3656"/>
                    <a:gd name="T38" fmla="*/ 1725 w 1864"/>
                    <a:gd name="T39" fmla="*/ 3630 h 3656"/>
                    <a:gd name="T40" fmla="*/ 1608 w 1864"/>
                    <a:gd name="T41" fmla="*/ 3656 h 3656"/>
                    <a:gd name="T42" fmla="*/ 176 w 1864"/>
                    <a:gd name="T43" fmla="*/ 3644 h 3656"/>
                    <a:gd name="T44" fmla="*/ 75 w 1864"/>
                    <a:gd name="T45" fmla="*/ 3588 h 3656"/>
                    <a:gd name="T46" fmla="*/ 13 w 1864"/>
                    <a:gd name="T47" fmla="*/ 3500 h 3656"/>
                    <a:gd name="T48" fmla="*/ 0 w 1864"/>
                    <a:gd name="T49" fmla="*/ 2875 h 3656"/>
                    <a:gd name="T50" fmla="*/ 27 w 1864"/>
                    <a:gd name="T51" fmla="*/ 3460 h 3656"/>
                    <a:gd name="T52" fmla="*/ 69 w 1864"/>
                    <a:gd name="T53" fmla="*/ 3547 h 3656"/>
                    <a:gd name="T54" fmla="*/ 150 w 1864"/>
                    <a:gd name="T55" fmla="*/ 3609 h 3656"/>
                    <a:gd name="T56" fmla="*/ 257 w 1864"/>
                    <a:gd name="T57" fmla="*/ 3632 h 3656"/>
                    <a:gd name="T58" fmla="*/ 1681 w 1864"/>
                    <a:gd name="T59" fmla="*/ 3622 h 3656"/>
                    <a:gd name="T60" fmla="*/ 1772 w 1864"/>
                    <a:gd name="T61" fmla="*/ 3572 h 3656"/>
                    <a:gd name="T62" fmla="*/ 1829 w 1864"/>
                    <a:gd name="T63" fmla="*/ 3492 h 3656"/>
                    <a:gd name="T64" fmla="*/ 1840 w 1864"/>
                    <a:gd name="T65" fmla="*/ 230 h 3656"/>
                    <a:gd name="T66" fmla="*/ 1814 w 1864"/>
                    <a:gd name="T67" fmla="*/ 136 h 3656"/>
                    <a:gd name="T68" fmla="*/ 1744 w 1864"/>
                    <a:gd name="T69" fmla="*/ 65 h 3656"/>
                    <a:gd name="T70" fmla="*/ 1645 w 1864"/>
                    <a:gd name="T71" fmla="*/ 28 h 3656"/>
                    <a:gd name="T72" fmla="*/ 219 w 1864"/>
                    <a:gd name="T73" fmla="*/ 28 h 3656"/>
                    <a:gd name="T74" fmla="*/ 119 w 1864"/>
                    <a:gd name="T75" fmla="*/ 65 h 3656"/>
                    <a:gd name="T76" fmla="*/ 49 w 1864"/>
                    <a:gd name="T77" fmla="*/ 136 h 3656"/>
                    <a:gd name="T78" fmla="*/ 24 w 1864"/>
                    <a:gd name="T79" fmla="*/ 230 h 3656"/>
                    <a:gd name="T80" fmla="*/ 0 w 1864"/>
                    <a:gd name="T81" fmla="*/ 230 h 3656"/>
                    <a:gd name="T82" fmla="*/ 28 w 1864"/>
                    <a:gd name="T83" fmla="*/ 125 h 3656"/>
                    <a:gd name="T84" fmla="*/ 105 w 1864"/>
                    <a:gd name="T85" fmla="*/ 45 h 3656"/>
                    <a:gd name="T86" fmla="*/ 215 w 1864"/>
                    <a:gd name="T87" fmla="*/ 4 h 3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4" h="3656">
                      <a:moveTo>
                        <a:pt x="230" y="3252"/>
                      </a:moveTo>
                      <a:lnTo>
                        <a:pt x="230" y="3401"/>
                      </a:lnTo>
                      <a:lnTo>
                        <a:pt x="1633" y="3401"/>
                      </a:lnTo>
                      <a:lnTo>
                        <a:pt x="1633" y="3252"/>
                      </a:lnTo>
                      <a:lnTo>
                        <a:pt x="230" y="3252"/>
                      </a:lnTo>
                      <a:close/>
                      <a:moveTo>
                        <a:pt x="207" y="3228"/>
                      </a:moveTo>
                      <a:lnTo>
                        <a:pt x="1658" y="3228"/>
                      </a:lnTo>
                      <a:lnTo>
                        <a:pt x="1658" y="3425"/>
                      </a:lnTo>
                      <a:lnTo>
                        <a:pt x="207" y="3425"/>
                      </a:lnTo>
                      <a:lnTo>
                        <a:pt x="207" y="3228"/>
                      </a:lnTo>
                      <a:close/>
                      <a:moveTo>
                        <a:pt x="230" y="2880"/>
                      </a:moveTo>
                      <a:lnTo>
                        <a:pt x="230" y="3075"/>
                      </a:lnTo>
                      <a:lnTo>
                        <a:pt x="492" y="3075"/>
                      </a:lnTo>
                      <a:lnTo>
                        <a:pt x="492" y="2880"/>
                      </a:lnTo>
                      <a:lnTo>
                        <a:pt x="230" y="2880"/>
                      </a:lnTo>
                      <a:close/>
                      <a:moveTo>
                        <a:pt x="207" y="2856"/>
                      </a:moveTo>
                      <a:lnTo>
                        <a:pt x="516" y="2856"/>
                      </a:lnTo>
                      <a:lnTo>
                        <a:pt x="516" y="3099"/>
                      </a:lnTo>
                      <a:lnTo>
                        <a:pt x="207" y="3099"/>
                      </a:lnTo>
                      <a:lnTo>
                        <a:pt x="207" y="2856"/>
                      </a:lnTo>
                      <a:close/>
                      <a:moveTo>
                        <a:pt x="230" y="654"/>
                      </a:moveTo>
                      <a:lnTo>
                        <a:pt x="230" y="819"/>
                      </a:lnTo>
                      <a:lnTo>
                        <a:pt x="1633" y="819"/>
                      </a:lnTo>
                      <a:lnTo>
                        <a:pt x="1633" y="654"/>
                      </a:lnTo>
                      <a:lnTo>
                        <a:pt x="230" y="654"/>
                      </a:lnTo>
                      <a:close/>
                      <a:moveTo>
                        <a:pt x="207" y="629"/>
                      </a:moveTo>
                      <a:lnTo>
                        <a:pt x="1658" y="629"/>
                      </a:lnTo>
                      <a:lnTo>
                        <a:pt x="1658" y="843"/>
                      </a:lnTo>
                      <a:lnTo>
                        <a:pt x="207" y="843"/>
                      </a:lnTo>
                      <a:lnTo>
                        <a:pt x="207" y="629"/>
                      </a:lnTo>
                      <a:close/>
                      <a:moveTo>
                        <a:pt x="230" y="304"/>
                      </a:moveTo>
                      <a:lnTo>
                        <a:pt x="230" y="453"/>
                      </a:lnTo>
                      <a:lnTo>
                        <a:pt x="1633" y="453"/>
                      </a:lnTo>
                      <a:lnTo>
                        <a:pt x="1633" y="304"/>
                      </a:lnTo>
                      <a:lnTo>
                        <a:pt x="230" y="304"/>
                      </a:lnTo>
                      <a:close/>
                      <a:moveTo>
                        <a:pt x="207" y="281"/>
                      </a:moveTo>
                      <a:lnTo>
                        <a:pt x="1658" y="281"/>
                      </a:lnTo>
                      <a:lnTo>
                        <a:pt x="1658" y="477"/>
                      </a:lnTo>
                      <a:lnTo>
                        <a:pt x="207" y="477"/>
                      </a:lnTo>
                      <a:lnTo>
                        <a:pt x="207" y="281"/>
                      </a:lnTo>
                      <a:close/>
                      <a:moveTo>
                        <a:pt x="257" y="0"/>
                      </a:moveTo>
                      <a:lnTo>
                        <a:pt x="1608" y="0"/>
                      </a:lnTo>
                      <a:lnTo>
                        <a:pt x="1649" y="4"/>
                      </a:lnTo>
                      <a:lnTo>
                        <a:pt x="1689" y="13"/>
                      </a:lnTo>
                      <a:lnTo>
                        <a:pt x="1725" y="27"/>
                      </a:lnTo>
                      <a:lnTo>
                        <a:pt x="1759" y="45"/>
                      </a:lnTo>
                      <a:lnTo>
                        <a:pt x="1789" y="68"/>
                      </a:lnTo>
                      <a:lnTo>
                        <a:pt x="1814" y="95"/>
                      </a:lnTo>
                      <a:lnTo>
                        <a:pt x="1835" y="125"/>
                      </a:lnTo>
                      <a:lnTo>
                        <a:pt x="1851" y="158"/>
                      </a:lnTo>
                      <a:lnTo>
                        <a:pt x="1861" y="193"/>
                      </a:lnTo>
                      <a:lnTo>
                        <a:pt x="1864" y="230"/>
                      </a:lnTo>
                      <a:lnTo>
                        <a:pt x="1864" y="3426"/>
                      </a:lnTo>
                      <a:lnTo>
                        <a:pt x="1861" y="3464"/>
                      </a:lnTo>
                      <a:lnTo>
                        <a:pt x="1851" y="3500"/>
                      </a:lnTo>
                      <a:lnTo>
                        <a:pt x="1835" y="3532"/>
                      </a:lnTo>
                      <a:lnTo>
                        <a:pt x="1814" y="3562"/>
                      </a:lnTo>
                      <a:lnTo>
                        <a:pt x="1789" y="3588"/>
                      </a:lnTo>
                      <a:lnTo>
                        <a:pt x="1759" y="3612"/>
                      </a:lnTo>
                      <a:lnTo>
                        <a:pt x="1725" y="3630"/>
                      </a:lnTo>
                      <a:lnTo>
                        <a:pt x="1689" y="3644"/>
                      </a:lnTo>
                      <a:lnTo>
                        <a:pt x="1649" y="3653"/>
                      </a:lnTo>
                      <a:lnTo>
                        <a:pt x="1608" y="3656"/>
                      </a:lnTo>
                      <a:lnTo>
                        <a:pt x="257" y="3656"/>
                      </a:lnTo>
                      <a:lnTo>
                        <a:pt x="215" y="3653"/>
                      </a:lnTo>
                      <a:lnTo>
                        <a:pt x="176" y="3644"/>
                      </a:lnTo>
                      <a:lnTo>
                        <a:pt x="139" y="3630"/>
                      </a:lnTo>
                      <a:lnTo>
                        <a:pt x="105" y="3612"/>
                      </a:lnTo>
                      <a:lnTo>
                        <a:pt x="75" y="3588"/>
                      </a:lnTo>
                      <a:lnTo>
                        <a:pt x="49" y="3562"/>
                      </a:lnTo>
                      <a:lnTo>
                        <a:pt x="28" y="3532"/>
                      </a:lnTo>
                      <a:lnTo>
                        <a:pt x="13" y="3500"/>
                      </a:lnTo>
                      <a:lnTo>
                        <a:pt x="3" y="3464"/>
                      </a:lnTo>
                      <a:lnTo>
                        <a:pt x="0" y="3426"/>
                      </a:lnTo>
                      <a:lnTo>
                        <a:pt x="0" y="2875"/>
                      </a:lnTo>
                      <a:lnTo>
                        <a:pt x="24" y="2875"/>
                      </a:lnTo>
                      <a:lnTo>
                        <a:pt x="24" y="3426"/>
                      </a:lnTo>
                      <a:lnTo>
                        <a:pt x="27" y="3460"/>
                      </a:lnTo>
                      <a:lnTo>
                        <a:pt x="36" y="3492"/>
                      </a:lnTo>
                      <a:lnTo>
                        <a:pt x="49" y="3521"/>
                      </a:lnTo>
                      <a:lnTo>
                        <a:pt x="69" y="3547"/>
                      </a:lnTo>
                      <a:lnTo>
                        <a:pt x="93" y="3572"/>
                      </a:lnTo>
                      <a:lnTo>
                        <a:pt x="119" y="3593"/>
                      </a:lnTo>
                      <a:lnTo>
                        <a:pt x="150" y="3609"/>
                      </a:lnTo>
                      <a:lnTo>
                        <a:pt x="184" y="3622"/>
                      </a:lnTo>
                      <a:lnTo>
                        <a:pt x="219" y="3629"/>
                      </a:lnTo>
                      <a:lnTo>
                        <a:pt x="257" y="3632"/>
                      </a:lnTo>
                      <a:lnTo>
                        <a:pt x="1608" y="3632"/>
                      </a:lnTo>
                      <a:lnTo>
                        <a:pt x="1645" y="3629"/>
                      </a:lnTo>
                      <a:lnTo>
                        <a:pt x="1681" y="3622"/>
                      </a:lnTo>
                      <a:lnTo>
                        <a:pt x="1714" y="3609"/>
                      </a:lnTo>
                      <a:lnTo>
                        <a:pt x="1744" y="3593"/>
                      </a:lnTo>
                      <a:lnTo>
                        <a:pt x="1772" y="3572"/>
                      </a:lnTo>
                      <a:lnTo>
                        <a:pt x="1795" y="3547"/>
                      </a:lnTo>
                      <a:lnTo>
                        <a:pt x="1814" y="3521"/>
                      </a:lnTo>
                      <a:lnTo>
                        <a:pt x="1829" y="3492"/>
                      </a:lnTo>
                      <a:lnTo>
                        <a:pt x="1837" y="3460"/>
                      </a:lnTo>
                      <a:lnTo>
                        <a:pt x="1840" y="3426"/>
                      </a:lnTo>
                      <a:lnTo>
                        <a:pt x="1840" y="230"/>
                      </a:lnTo>
                      <a:lnTo>
                        <a:pt x="1837" y="197"/>
                      </a:lnTo>
                      <a:lnTo>
                        <a:pt x="1829" y="166"/>
                      </a:lnTo>
                      <a:lnTo>
                        <a:pt x="1814" y="136"/>
                      </a:lnTo>
                      <a:lnTo>
                        <a:pt x="1795" y="109"/>
                      </a:lnTo>
                      <a:lnTo>
                        <a:pt x="1772" y="85"/>
                      </a:lnTo>
                      <a:lnTo>
                        <a:pt x="1744" y="65"/>
                      </a:lnTo>
                      <a:lnTo>
                        <a:pt x="1714" y="48"/>
                      </a:lnTo>
                      <a:lnTo>
                        <a:pt x="1681" y="36"/>
                      </a:lnTo>
                      <a:lnTo>
                        <a:pt x="1645" y="28"/>
                      </a:lnTo>
                      <a:lnTo>
                        <a:pt x="1608" y="25"/>
                      </a:lnTo>
                      <a:lnTo>
                        <a:pt x="257" y="25"/>
                      </a:lnTo>
                      <a:lnTo>
                        <a:pt x="219" y="28"/>
                      </a:lnTo>
                      <a:lnTo>
                        <a:pt x="184" y="36"/>
                      </a:lnTo>
                      <a:lnTo>
                        <a:pt x="150" y="48"/>
                      </a:lnTo>
                      <a:lnTo>
                        <a:pt x="119" y="65"/>
                      </a:lnTo>
                      <a:lnTo>
                        <a:pt x="93" y="85"/>
                      </a:lnTo>
                      <a:lnTo>
                        <a:pt x="69" y="109"/>
                      </a:lnTo>
                      <a:lnTo>
                        <a:pt x="49" y="136"/>
                      </a:lnTo>
                      <a:lnTo>
                        <a:pt x="36" y="166"/>
                      </a:lnTo>
                      <a:lnTo>
                        <a:pt x="27" y="197"/>
                      </a:lnTo>
                      <a:lnTo>
                        <a:pt x="24" y="230"/>
                      </a:lnTo>
                      <a:lnTo>
                        <a:pt x="24" y="1070"/>
                      </a:lnTo>
                      <a:lnTo>
                        <a:pt x="0" y="1070"/>
                      </a:lnTo>
                      <a:lnTo>
                        <a:pt x="0" y="230"/>
                      </a:lnTo>
                      <a:lnTo>
                        <a:pt x="3" y="193"/>
                      </a:lnTo>
                      <a:lnTo>
                        <a:pt x="13" y="158"/>
                      </a:lnTo>
                      <a:lnTo>
                        <a:pt x="28" y="125"/>
                      </a:lnTo>
                      <a:lnTo>
                        <a:pt x="49" y="95"/>
                      </a:lnTo>
                      <a:lnTo>
                        <a:pt x="75" y="68"/>
                      </a:lnTo>
                      <a:lnTo>
                        <a:pt x="105" y="45"/>
                      </a:lnTo>
                      <a:lnTo>
                        <a:pt x="139" y="27"/>
                      </a:lnTo>
                      <a:lnTo>
                        <a:pt x="176" y="13"/>
                      </a:lnTo>
                      <a:lnTo>
                        <a:pt x="215" y="4"/>
                      </a:lnTo>
                      <a:lnTo>
                        <a:pt x="257"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88" name="Freeform 35"/>
                <p:cNvSpPr>
                  <a:spLocks noEditPoints="1"/>
                </p:cNvSpPr>
                <p:nvPr/>
              </p:nvSpPr>
              <p:spPr bwMode="auto">
                <a:xfrm>
                  <a:off x="4642" y="2206"/>
                  <a:ext cx="233" cy="309"/>
                </a:xfrm>
                <a:custGeom>
                  <a:avLst/>
                  <a:gdLst>
                    <a:gd name="T0" fmla="*/ 1383 w 1401"/>
                    <a:gd name="T1" fmla="*/ 47 h 1851"/>
                    <a:gd name="T2" fmla="*/ 33 w 1401"/>
                    <a:gd name="T3" fmla="*/ 1612 h 1851"/>
                    <a:gd name="T4" fmla="*/ 1381 w 1401"/>
                    <a:gd name="T5" fmla="*/ 1831 h 1851"/>
                    <a:gd name="T6" fmla="*/ 1383 w 1401"/>
                    <a:gd name="T7" fmla="*/ 47 h 1851"/>
                    <a:gd name="T8" fmla="*/ 1401 w 1401"/>
                    <a:gd name="T9" fmla="*/ 0 h 1851"/>
                    <a:gd name="T10" fmla="*/ 1401 w 1401"/>
                    <a:gd name="T11" fmla="*/ 23 h 1851"/>
                    <a:gd name="T12" fmla="*/ 1399 w 1401"/>
                    <a:gd name="T13" fmla="*/ 1841 h 1851"/>
                    <a:gd name="T14" fmla="*/ 1399 w 1401"/>
                    <a:gd name="T15" fmla="*/ 1851 h 1851"/>
                    <a:gd name="T16" fmla="*/ 1389 w 1401"/>
                    <a:gd name="T17" fmla="*/ 1850 h 1851"/>
                    <a:gd name="T18" fmla="*/ 16 w 1401"/>
                    <a:gd name="T19" fmla="*/ 1627 h 1851"/>
                    <a:gd name="T20" fmla="*/ 0 w 1401"/>
                    <a:gd name="T21" fmla="*/ 1625 h 1851"/>
                    <a:gd name="T22" fmla="*/ 10 w 1401"/>
                    <a:gd name="T23" fmla="*/ 1613 h 1851"/>
                    <a:gd name="T24" fmla="*/ 1385 w 1401"/>
                    <a:gd name="T25" fmla="*/ 18 h 1851"/>
                    <a:gd name="T26" fmla="*/ 1401 w 1401"/>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1" h="1851">
                      <a:moveTo>
                        <a:pt x="1383" y="47"/>
                      </a:moveTo>
                      <a:lnTo>
                        <a:pt x="33" y="1612"/>
                      </a:lnTo>
                      <a:lnTo>
                        <a:pt x="1381" y="1831"/>
                      </a:lnTo>
                      <a:lnTo>
                        <a:pt x="1383" y="47"/>
                      </a:lnTo>
                      <a:close/>
                      <a:moveTo>
                        <a:pt x="1401" y="0"/>
                      </a:moveTo>
                      <a:lnTo>
                        <a:pt x="1401" y="23"/>
                      </a:lnTo>
                      <a:lnTo>
                        <a:pt x="1399" y="1841"/>
                      </a:lnTo>
                      <a:lnTo>
                        <a:pt x="1399" y="1851"/>
                      </a:lnTo>
                      <a:lnTo>
                        <a:pt x="1389" y="1850"/>
                      </a:lnTo>
                      <a:lnTo>
                        <a:pt x="16" y="1627"/>
                      </a:lnTo>
                      <a:lnTo>
                        <a:pt x="0" y="1625"/>
                      </a:lnTo>
                      <a:lnTo>
                        <a:pt x="10" y="1613"/>
                      </a:lnTo>
                      <a:lnTo>
                        <a:pt x="1385" y="18"/>
                      </a:lnTo>
                      <a:lnTo>
                        <a:pt x="1401"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89" name="Freeform 36"/>
                <p:cNvSpPr>
                  <a:spLocks noEditPoints="1"/>
                </p:cNvSpPr>
                <p:nvPr/>
              </p:nvSpPr>
              <p:spPr bwMode="auto">
                <a:xfrm>
                  <a:off x="4875" y="2206"/>
                  <a:ext cx="233" cy="309"/>
                </a:xfrm>
                <a:custGeom>
                  <a:avLst/>
                  <a:gdLst>
                    <a:gd name="T0" fmla="*/ 18 w 1402"/>
                    <a:gd name="T1" fmla="*/ 47 h 1851"/>
                    <a:gd name="T2" fmla="*/ 20 w 1402"/>
                    <a:gd name="T3" fmla="*/ 1831 h 1851"/>
                    <a:gd name="T4" fmla="*/ 1369 w 1402"/>
                    <a:gd name="T5" fmla="*/ 1612 h 1851"/>
                    <a:gd name="T6" fmla="*/ 18 w 1402"/>
                    <a:gd name="T7" fmla="*/ 47 h 1851"/>
                    <a:gd name="T8" fmla="*/ 0 w 1402"/>
                    <a:gd name="T9" fmla="*/ 0 h 1851"/>
                    <a:gd name="T10" fmla="*/ 16 w 1402"/>
                    <a:gd name="T11" fmla="*/ 18 h 1851"/>
                    <a:gd name="T12" fmla="*/ 1392 w 1402"/>
                    <a:gd name="T13" fmla="*/ 1613 h 1851"/>
                    <a:gd name="T14" fmla="*/ 1402 w 1402"/>
                    <a:gd name="T15" fmla="*/ 1625 h 1851"/>
                    <a:gd name="T16" fmla="*/ 1387 w 1402"/>
                    <a:gd name="T17" fmla="*/ 1627 h 1851"/>
                    <a:gd name="T18" fmla="*/ 13 w 1402"/>
                    <a:gd name="T19" fmla="*/ 1850 h 1851"/>
                    <a:gd name="T20" fmla="*/ 3 w 1402"/>
                    <a:gd name="T21" fmla="*/ 1851 h 1851"/>
                    <a:gd name="T22" fmla="*/ 3 w 1402"/>
                    <a:gd name="T23" fmla="*/ 1841 h 1851"/>
                    <a:gd name="T24" fmla="*/ 0 w 1402"/>
                    <a:gd name="T25" fmla="*/ 23 h 1851"/>
                    <a:gd name="T26" fmla="*/ 0 w 1402"/>
                    <a:gd name="T27" fmla="*/ 0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02" h="1851">
                      <a:moveTo>
                        <a:pt x="18" y="47"/>
                      </a:moveTo>
                      <a:lnTo>
                        <a:pt x="20" y="1831"/>
                      </a:lnTo>
                      <a:lnTo>
                        <a:pt x="1369" y="1612"/>
                      </a:lnTo>
                      <a:lnTo>
                        <a:pt x="18" y="47"/>
                      </a:lnTo>
                      <a:close/>
                      <a:moveTo>
                        <a:pt x="0" y="0"/>
                      </a:moveTo>
                      <a:lnTo>
                        <a:pt x="16" y="18"/>
                      </a:lnTo>
                      <a:lnTo>
                        <a:pt x="1392" y="1613"/>
                      </a:lnTo>
                      <a:lnTo>
                        <a:pt x="1402" y="1625"/>
                      </a:lnTo>
                      <a:lnTo>
                        <a:pt x="1387" y="1627"/>
                      </a:lnTo>
                      <a:lnTo>
                        <a:pt x="13" y="1850"/>
                      </a:lnTo>
                      <a:lnTo>
                        <a:pt x="3" y="1851"/>
                      </a:lnTo>
                      <a:lnTo>
                        <a:pt x="3" y="1841"/>
                      </a:lnTo>
                      <a:lnTo>
                        <a:pt x="0" y="23"/>
                      </a:lnTo>
                      <a:lnTo>
                        <a:pt x="0" y="0"/>
                      </a:lnTo>
                      <a:close/>
                    </a:path>
                  </a:pathLst>
                </a:custGeom>
                <a:solidFill>
                  <a:srgbClr val="0070C0"/>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0" name="Freeform 37"/>
                <p:cNvSpPr>
                  <a:spLocks noEditPoints="1"/>
                </p:cNvSpPr>
                <p:nvPr/>
              </p:nvSpPr>
              <p:spPr bwMode="auto">
                <a:xfrm>
                  <a:off x="4698" y="2283"/>
                  <a:ext cx="354" cy="186"/>
                </a:xfrm>
                <a:custGeom>
                  <a:avLst/>
                  <a:gdLst>
                    <a:gd name="T0" fmla="*/ 1388 w 2121"/>
                    <a:gd name="T1" fmla="*/ 938 h 1111"/>
                    <a:gd name="T2" fmla="*/ 1351 w 2121"/>
                    <a:gd name="T3" fmla="*/ 1085 h 1111"/>
                    <a:gd name="T4" fmla="*/ 1186 w 2121"/>
                    <a:gd name="T5" fmla="*/ 1085 h 1111"/>
                    <a:gd name="T6" fmla="*/ 1149 w 2121"/>
                    <a:gd name="T7" fmla="*/ 938 h 1111"/>
                    <a:gd name="T8" fmla="*/ 842 w 2121"/>
                    <a:gd name="T9" fmla="*/ 870 h 1111"/>
                    <a:gd name="T10" fmla="*/ 968 w 2121"/>
                    <a:gd name="T11" fmla="*/ 964 h 1111"/>
                    <a:gd name="T12" fmla="*/ 900 w 2121"/>
                    <a:gd name="T13" fmla="*/ 1099 h 1111"/>
                    <a:gd name="T14" fmla="*/ 741 w 2121"/>
                    <a:gd name="T15" fmla="*/ 1066 h 1111"/>
                    <a:gd name="T16" fmla="*/ 741 w 2121"/>
                    <a:gd name="T17" fmla="*/ 916 h 1111"/>
                    <a:gd name="T18" fmla="*/ 1658 w 2121"/>
                    <a:gd name="T19" fmla="*/ 811 h 1111"/>
                    <a:gd name="T20" fmla="*/ 1760 w 2121"/>
                    <a:gd name="T21" fmla="*/ 928 h 1111"/>
                    <a:gd name="T22" fmla="*/ 1658 w 2121"/>
                    <a:gd name="T23" fmla="*/ 1045 h 1111"/>
                    <a:gd name="T24" fmla="*/ 1510 w 2121"/>
                    <a:gd name="T25" fmla="*/ 980 h 1111"/>
                    <a:gd name="T26" fmla="*/ 1545 w 2121"/>
                    <a:gd name="T27" fmla="*/ 834 h 1111"/>
                    <a:gd name="T28" fmla="*/ 546 w 2121"/>
                    <a:gd name="T29" fmla="*/ 819 h 1111"/>
                    <a:gd name="T30" fmla="*/ 615 w 2121"/>
                    <a:gd name="T31" fmla="*/ 955 h 1111"/>
                    <a:gd name="T32" fmla="*/ 489 w 2121"/>
                    <a:gd name="T33" fmla="*/ 1048 h 1111"/>
                    <a:gd name="T34" fmla="*/ 363 w 2121"/>
                    <a:gd name="T35" fmla="*/ 955 h 1111"/>
                    <a:gd name="T36" fmla="*/ 432 w 2121"/>
                    <a:gd name="T37" fmla="*/ 819 h 1111"/>
                    <a:gd name="T38" fmla="*/ 2071 w 2121"/>
                    <a:gd name="T39" fmla="*/ 791 h 1111"/>
                    <a:gd name="T40" fmla="*/ 2108 w 2121"/>
                    <a:gd name="T41" fmla="*/ 940 h 1111"/>
                    <a:gd name="T42" fmla="*/ 1958 w 2121"/>
                    <a:gd name="T43" fmla="*/ 1007 h 1111"/>
                    <a:gd name="T44" fmla="*/ 1856 w 2121"/>
                    <a:gd name="T45" fmla="*/ 887 h 1111"/>
                    <a:gd name="T46" fmla="*/ 1958 w 2121"/>
                    <a:gd name="T47" fmla="*/ 767 h 1111"/>
                    <a:gd name="T48" fmla="*/ 235 w 2121"/>
                    <a:gd name="T49" fmla="*/ 809 h 1111"/>
                    <a:gd name="T50" fmla="*/ 235 w 2121"/>
                    <a:gd name="T51" fmla="*/ 964 h 1111"/>
                    <a:gd name="T52" fmla="*/ 74 w 2121"/>
                    <a:gd name="T53" fmla="*/ 997 h 1111"/>
                    <a:gd name="T54" fmla="*/ 4 w 2121"/>
                    <a:gd name="T55" fmla="*/ 858 h 1111"/>
                    <a:gd name="T56" fmla="*/ 132 w 2121"/>
                    <a:gd name="T57" fmla="*/ 764 h 1111"/>
                    <a:gd name="T58" fmla="*/ 1388 w 2121"/>
                    <a:gd name="T59" fmla="*/ 471 h 1111"/>
                    <a:gd name="T60" fmla="*/ 1351 w 2121"/>
                    <a:gd name="T61" fmla="*/ 618 h 1111"/>
                    <a:gd name="T62" fmla="*/ 1186 w 2121"/>
                    <a:gd name="T63" fmla="*/ 618 h 1111"/>
                    <a:gd name="T64" fmla="*/ 1149 w 2121"/>
                    <a:gd name="T65" fmla="*/ 471 h 1111"/>
                    <a:gd name="T66" fmla="*/ 842 w 2121"/>
                    <a:gd name="T67" fmla="*/ 404 h 1111"/>
                    <a:gd name="T68" fmla="*/ 968 w 2121"/>
                    <a:gd name="T69" fmla="*/ 497 h 1111"/>
                    <a:gd name="T70" fmla="*/ 900 w 2121"/>
                    <a:gd name="T71" fmla="*/ 631 h 1111"/>
                    <a:gd name="T72" fmla="*/ 741 w 2121"/>
                    <a:gd name="T73" fmla="*/ 599 h 1111"/>
                    <a:gd name="T74" fmla="*/ 741 w 2121"/>
                    <a:gd name="T75" fmla="*/ 449 h 1111"/>
                    <a:gd name="T76" fmla="*/ 1658 w 2121"/>
                    <a:gd name="T77" fmla="*/ 388 h 1111"/>
                    <a:gd name="T78" fmla="*/ 1760 w 2121"/>
                    <a:gd name="T79" fmla="*/ 504 h 1111"/>
                    <a:gd name="T80" fmla="*/ 1658 w 2121"/>
                    <a:gd name="T81" fmla="*/ 622 h 1111"/>
                    <a:gd name="T82" fmla="*/ 1510 w 2121"/>
                    <a:gd name="T83" fmla="*/ 558 h 1111"/>
                    <a:gd name="T84" fmla="*/ 1545 w 2121"/>
                    <a:gd name="T85" fmla="*/ 411 h 1111"/>
                    <a:gd name="T86" fmla="*/ 558 w 2121"/>
                    <a:gd name="T87" fmla="*/ 397 h 1111"/>
                    <a:gd name="T88" fmla="*/ 628 w 2121"/>
                    <a:gd name="T89" fmla="*/ 532 h 1111"/>
                    <a:gd name="T90" fmla="*/ 502 w 2121"/>
                    <a:gd name="T91" fmla="*/ 624 h 1111"/>
                    <a:gd name="T92" fmla="*/ 376 w 2121"/>
                    <a:gd name="T93" fmla="*/ 532 h 1111"/>
                    <a:gd name="T94" fmla="*/ 445 w 2121"/>
                    <a:gd name="T95" fmla="*/ 397 h 1111"/>
                    <a:gd name="T96" fmla="*/ 1351 w 2121"/>
                    <a:gd name="T97" fmla="*/ 26 h 1111"/>
                    <a:gd name="T98" fmla="*/ 1388 w 2121"/>
                    <a:gd name="T99" fmla="*/ 173 h 1111"/>
                    <a:gd name="T100" fmla="*/ 1238 w 2121"/>
                    <a:gd name="T101" fmla="*/ 236 h 1111"/>
                    <a:gd name="T102" fmla="*/ 1136 w 2121"/>
                    <a:gd name="T103" fmla="*/ 120 h 1111"/>
                    <a:gd name="T104" fmla="*/ 1238 w 2121"/>
                    <a:gd name="T105" fmla="*/ 3 h 1111"/>
                    <a:gd name="T106" fmla="*/ 943 w 2121"/>
                    <a:gd name="T107" fmla="*/ 44 h 1111"/>
                    <a:gd name="T108" fmla="*/ 943 w 2121"/>
                    <a:gd name="T109" fmla="*/ 195 h 1111"/>
                    <a:gd name="T110" fmla="*/ 785 w 2121"/>
                    <a:gd name="T111" fmla="*/ 227 h 1111"/>
                    <a:gd name="T112" fmla="*/ 717 w 2121"/>
                    <a:gd name="T113" fmla="*/ 92 h 1111"/>
                    <a:gd name="T114" fmla="*/ 842 w 2121"/>
                    <a:gd name="T115" fmla="*/ 0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21" h="1111">
                      <a:moveTo>
                        <a:pt x="1269" y="870"/>
                      </a:moveTo>
                      <a:lnTo>
                        <a:pt x="1299" y="874"/>
                      </a:lnTo>
                      <a:lnTo>
                        <a:pt x="1327" y="883"/>
                      </a:lnTo>
                      <a:lnTo>
                        <a:pt x="1351" y="897"/>
                      </a:lnTo>
                      <a:lnTo>
                        <a:pt x="1372" y="916"/>
                      </a:lnTo>
                      <a:lnTo>
                        <a:pt x="1388" y="938"/>
                      </a:lnTo>
                      <a:lnTo>
                        <a:pt x="1398" y="964"/>
                      </a:lnTo>
                      <a:lnTo>
                        <a:pt x="1401" y="991"/>
                      </a:lnTo>
                      <a:lnTo>
                        <a:pt x="1398" y="1018"/>
                      </a:lnTo>
                      <a:lnTo>
                        <a:pt x="1388" y="1043"/>
                      </a:lnTo>
                      <a:lnTo>
                        <a:pt x="1372" y="1066"/>
                      </a:lnTo>
                      <a:lnTo>
                        <a:pt x="1351" y="1085"/>
                      </a:lnTo>
                      <a:lnTo>
                        <a:pt x="1327" y="1099"/>
                      </a:lnTo>
                      <a:lnTo>
                        <a:pt x="1299" y="1108"/>
                      </a:lnTo>
                      <a:lnTo>
                        <a:pt x="1269" y="1111"/>
                      </a:lnTo>
                      <a:lnTo>
                        <a:pt x="1238" y="1108"/>
                      </a:lnTo>
                      <a:lnTo>
                        <a:pt x="1210" y="1099"/>
                      </a:lnTo>
                      <a:lnTo>
                        <a:pt x="1186" y="1085"/>
                      </a:lnTo>
                      <a:lnTo>
                        <a:pt x="1165" y="1066"/>
                      </a:lnTo>
                      <a:lnTo>
                        <a:pt x="1149" y="1043"/>
                      </a:lnTo>
                      <a:lnTo>
                        <a:pt x="1139" y="1018"/>
                      </a:lnTo>
                      <a:lnTo>
                        <a:pt x="1136" y="991"/>
                      </a:lnTo>
                      <a:lnTo>
                        <a:pt x="1139" y="964"/>
                      </a:lnTo>
                      <a:lnTo>
                        <a:pt x="1149" y="938"/>
                      </a:lnTo>
                      <a:lnTo>
                        <a:pt x="1165" y="916"/>
                      </a:lnTo>
                      <a:lnTo>
                        <a:pt x="1186" y="897"/>
                      </a:lnTo>
                      <a:lnTo>
                        <a:pt x="1210" y="883"/>
                      </a:lnTo>
                      <a:lnTo>
                        <a:pt x="1238" y="874"/>
                      </a:lnTo>
                      <a:lnTo>
                        <a:pt x="1269" y="870"/>
                      </a:lnTo>
                      <a:close/>
                      <a:moveTo>
                        <a:pt x="842" y="870"/>
                      </a:moveTo>
                      <a:lnTo>
                        <a:pt x="872" y="874"/>
                      </a:lnTo>
                      <a:lnTo>
                        <a:pt x="900" y="883"/>
                      </a:lnTo>
                      <a:lnTo>
                        <a:pt x="923" y="897"/>
                      </a:lnTo>
                      <a:lnTo>
                        <a:pt x="943" y="916"/>
                      </a:lnTo>
                      <a:lnTo>
                        <a:pt x="958" y="938"/>
                      </a:lnTo>
                      <a:lnTo>
                        <a:pt x="968" y="964"/>
                      </a:lnTo>
                      <a:lnTo>
                        <a:pt x="972" y="991"/>
                      </a:lnTo>
                      <a:lnTo>
                        <a:pt x="968" y="1018"/>
                      </a:lnTo>
                      <a:lnTo>
                        <a:pt x="958" y="1043"/>
                      </a:lnTo>
                      <a:lnTo>
                        <a:pt x="943" y="1066"/>
                      </a:lnTo>
                      <a:lnTo>
                        <a:pt x="923" y="1085"/>
                      </a:lnTo>
                      <a:lnTo>
                        <a:pt x="900" y="1099"/>
                      </a:lnTo>
                      <a:lnTo>
                        <a:pt x="872" y="1108"/>
                      </a:lnTo>
                      <a:lnTo>
                        <a:pt x="842" y="1111"/>
                      </a:lnTo>
                      <a:lnTo>
                        <a:pt x="813" y="1108"/>
                      </a:lnTo>
                      <a:lnTo>
                        <a:pt x="785" y="1099"/>
                      </a:lnTo>
                      <a:lnTo>
                        <a:pt x="761" y="1085"/>
                      </a:lnTo>
                      <a:lnTo>
                        <a:pt x="741" y="1066"/>
                      </a:lnTo>
                      <a:lnTo>
                        <a:pt x="727" y="1043"/>
                      </a:lnTo>
                      <a:lnTo>
                        <a:pt x="717" y="1018"/>
                      </a:lnTo>
                      <a:lnTo>
                        <a:pt x="713" y="991"/>
                      </a:lnTo>
                      <a:lnTo>
                        <a:pt x="717" y="964"/>
                      </a:lnTo>
                      <a:lnTo>
                        <a:pt x="727" y="938"/>
                      </a:lnTo>
                      <a:lnTo>
                        <a:pt x="741" y="916"/>
                      </a:lnTo>
                      <a:lnTo>
                        <a:pt x="761" y="897"/>
                      </a:lnTo>
                      <a:lnTo>
                        <a:pt x="785" y="883"/>
                      </a:lnTo>
                      <a:lnTo>
                        <a:pt x="813" y="874"/>
                      </a:lnTo>
                      <a:lnTo>
                        <a:pt x="842" y="870"/>
                      </a:lnTo>
                      <a:close/>
                      <a:moveTo>
                        <a:pt x="1628" y="807"/>
                      </a:moveTo>
                      <a:lnTo>
                        <a:pt x="1658" y="811"/>
                      </a:lnTo>
                      <a:lnTo>
                        <a:pt x="1686" y="819"/>
                      </a:lnTo>
                      <a:lnTo>
                        <a:pt x="1712" y="834"/>
                      </a:lnTo>
                      <a:lnTo>
                        <a:pt x="1732" y="853"/>
                      </a:lnTo>
                      <a:lnTo>
                        <a:pt x="1747" y="875"/>
                      </a:lnTo>
                      <a:lnTo>
                        <a:pt x="1757" y="900"/>
                      </a:lnTo>
                      <a:lnTo>
                        <a:pt x="1760" y="928"/>
                      </a:lnTo>
                      <a:lnTo>
                        <a:pt x="1757" y="955"/>
                      </a:lnTo>
                      <a:lnTo>
                        <a:pt x="1747" y="980"/>
                      </a:lnTo>
                      <a:lnTo>
                        <a:pt x="1732" y="1002"/>
                      </a:lnTo>
                      <a:lnTo>
                        <a:pt x="1712" y="1021"/>
                      </a:lnTo>
                      <a:lnTo>
                        <a:pt x="1686" y="1036"/>
                      </a:lnTo>
                      <a:lnTo>
                        <a:pt x="1658" y="1045"/>
                      </a:lnTo>
                      <a:lnTo>
                        <a:pt x="1628" y="1048"/>
                      </a:lnTo>
                      <a:lnTo>
                        <a:pt x="1598" y="1045"/>
                      </a:lnTo>
                      <a:lnTo>
                        <a:pt x="1570" y="1036"/>
                      </a:lnTo>
                      <a:lnTo>
                        <a:pt x="1545" y="1021"/>
                      </a:lnTo>
                      <a:lnTo>
                        <a:pt x="1525" y="1002"/>
                      </a:lnTo>
                      <a:lnTo>
                        <a:pt x="1510" y="980"/>
                      </a:lnTo>
                      <a:lnTo>
                        <a:pt x="1500" y="955"/>
                      </a:lnTo>
                      <a:lnTo>
                        <a:pt x="1495" y="928"/>
                      </a:lnTo>
                      <a:lnTo>
                        <a:pt x="1500" y="900"/>
                      </a:lnTo>
                      <a:lnTo>
                        <a:pt x="1510" y="875"/>
                      </a:lnTo>
                      <a:lnTo>
                        <a:pt x="1525" y="853"/>
                      </a:lnTo>
                      <a:lnTo>
                        <a:pt x="1545" y="834"/>
                      </a:lnTo>
                      <a:lnTo>
                        <a:pt x="1570" y="819"/>
                      </a:lnTo>
                      <a:lnTo>
                        <a:pt x="1598" y="811"/>
                      </a:lnTo>
                      <a:lnTo>
                        <a:pt x="1628" y="807"/>
                      </a:lnTo>
                      <a:close/>
                      <a:moveTo>
                        <a:pt x="489" y="807"/>
                      </a:moveTo>
                      <a:lnTo>
                        <a:pt x="518" y="811"/>
                      </a:lnTo>
                      <a:lnTo>
                        <a:pt x="546" y="819"/>
                      </a:lnTo>
                      <a:lnTo>
                        <a:pt x="570" y="834"/>
                      </a:lnTo>
                      <a:lnTo>
                        <a:pt x="590" y="853"/>
                      </a:lnTo>
                      <a:lnTo>
                        <a:pt x="606" y="875"/>
                      </a:lnTo>
                      <a:lnTo>
                        <a:pt x="615" y="900"/>
                      </a:lnTo>
                      <a:lnTo>
                        <a:pt x="618" y="928"/>
                      </a:lnTo>
                      <a:lnTo>
                        <a:pt x="615" y="955"/>
                      </a:lnTo>
                      <a:lnTo>
                        <a:pt x="606" y="980"/>
                      </a:lnTo>
                      <a:lnTo>
                        <a:pt x="590" y="1002"/>
                      </a:lnTo>
                      <a:lnTo>
                        <a:pt x="570" y="1021"/>
                      </a:lnTo>
                      <a:lnTo>
                        <a:pt x="546" y="1036"/>
                      </a:lnTo>
                      <a:lnTo>
                        <a:pt x="518" y="1045"/>
                      </a:lnTo>
                      <a:lnTo>
                        <a:pt x="489" y="1048"/>
                      </a:lnTo>
                      <a:lnTo>
                        <a:pt x="459" y="1045"/>
                      </a:lnTo>
                      <a:lnTo>
                        <a:pt x="432" y="1036"/>
                      </a:lnTo>
                      <a:lnTo>
                        <a:pt x="408" y="1021"/>
                      </a:lnTo>
                      <a:lnTo>
                        <a:pt x="388" y="1002"/>
                      </a:lnTo>
                      <a:lnTo>
                        <a:pt x="373" y="980"/>
                      </a:lnTo>
                      <a:lnTo>
                        <a:pt x="363" y="955"/>
                      </a:lnTo>
                      <a:lnTo>
                        <a:pt x="360" y="928"/>
                      </a:lnTo>
                      <a:lnTo>
                        <a:pt x="363" y="900"/>
                      </a:lnTo>
                      <a:lnTo>
                        <a:pt x="373" y="875"/>
                      </a:lnTo>
                      <a:lnTo>
                        <a:pt x="388" y="853"/>
                      </a:lnTo>
                      <a:lnTo>
                        <a:pt x="408" y="834"/>
                      </a:lnTo>
                      <a:lnTo>
                        <a:pt x="432" y="819"/>
                      </a:lnTo>
                      <a:lnTo>
                        <a:pt x="459" y="811"/>
                      </a:lnTo>
                      <a:lnTo>
                        <a:pt x="489" y="807"/>
                      </a:lnTo>
                      <a:close/>
                      <a:moveTo>
                        <a:pt x="1988" y="764"/>
                      </a:moveTo>
                      <a:lnTo>
                        <a:pt x="2019" y="767"/>
                      </a:lnTo>
                      <a:lnTo>
                        <a:pt x="2047" y="776"/>
                      </a:lnTo>
                      <a:lnTo>
                        <a:pt x="2071" y="791"/>
                      </a:lnTo>
                      <a:lnTo>
                        <a:pt x="2092" y="809"/>
                      </a:lnTo>
                      <a:lnTo>
                        <a:pt x="2108" y="833"/>
                      </a:lnTo>
                      <a:lnTo>
                        <a:pt x="2118" y="858"/>
                      </a:lnTo>
                      <a:lnTo>
                        <a:pt x="2121" y="887"/>
                      </a:lnTo>
                      <a:lnTo>
                        <a:pt x="2118" y="915"/>
                      </a:lnTo>
                      <a:lnTo>
                        <a:pt x="2108" y="940"/>
                      </a:lnTo>
                      <a:lnTo>
                        <a:pt x="2092" y="964"/>
                      </a:lnTo>
                      <a:lnTo>
                        <a:pt x="2071" y="982"/>
                      </a:lnTo>
                      <a:lnTo>
                        <a:pt x="2047" y="997"/>
                      </a:lnTo>
                      <a:lnTo>
                        <a:pt x="2019" y="1007"/>
                      </a:lnTo>
                      <a:lnTo>
                        <a:pt x="1988" y="1010"/>
                      </a:lnTo>
                      <a:lnTo>
                        <a:pt x="1958" y="1007"/>
                      </a:lnTo>
                      <a:lnTo>
                        <a:pt x="1930" y="997"/>
                      </a:lnTo>
                      <a:lnTo>
                        <a:pt x="1906" y="982"/>
                      </a:lnTo>
                      <a:lnTo>
                        <a:pt x="1885" y="964"/>
                      </a:lnTo>
                      <a:lnTo>
                        <a:pt x="1869" y="940"/>
                      </a:lnTo>
                      <a:lnTo>
                        <a:pt x="1859" y="915"/>
                      </a:lnTo>
                      <a:lnTo>
                        <a:pt x="1856" y="887"/>
                      </a:lnTo>
                      <a:lnTo>
                        <a:pt x="1859" y="858"/>
                      </a:lnTo>
                      <a:lnTo>
                        <a:pt x="1869" y="833"/>
                      </a:lnTo>
                      <a:lnTo>
                        <a:pt x="1885" y="809"/>
                      </a:lnTo>
                      <a:lnTo>
                        <a:pt x="1906" y="791"/>
                      </a:lnTo>
                      <a:lnTo>
                        <a:pt x="1930" y="776"/>
                      </a:lnTo>
                      <a:lnTo>
                        <a:pt x="1958" y="767"/>
                      </a:lnTo>
                      <a:lnTo>
                        <a:pt x="1988" y="764"/>
                      </a:lnTo>
                      <a:close/>
                      <a:moveTo>
                        <a:pt x="132" y="764"/>
                      </a:moveTo>
                      <a:lnTo>
                        <a:pt x="163" y="767"/>
                      </a:lnTo>
                      <a:lnTo>
                        <a:pt x="191" y="776"/>
                      </a:lnTo>
                      <a:lnTo>
                        <a:pt x="215" y="791"/>
                      </a:lnTo>
                      <a:lnTo>
                        <a:pt x="235" y="809"/>
                      </a:lnTo>
                      <a:lnTo>
                        <a:pt x="252" y="833"/>
                      </a:lnTo>
                      <a:lnTo>
                        <a:pt x="261" y="858"/>
                      </a:lnTo>
                      <a:lnTo>
                        <a:pt x="265" y="887"/>
                      </a:lnTo>
                      <a:lnTo>
                        <a:pt x="261" y="915"/>
                      </a:lnTo>
                      <a:lnTo>
                        <a:pt x="252" y="940"/>
                      </a:lnTo>
                      <a:lnTo>
                        <a:pt x="235" y="964"/>
                      </a:lnTo>
                      <a:lnTo>
                        <a:pt x="215" y="982"/>
                      </a:lnTo>
                      <a:lnTo>
                        <a:pt x="191" y="997"/>
                      </a:lnTo>
                      <a:lnTo>
                        <a:pt x="163" y="1007"/>
                      </a:lnTo>
                      <a:lnTo>
                        <a:pt x="132" y="1010"/>
                      </a:lnTo>
                      <a:lnTo>
                        <a:pt x="102" y="1007"/>
                      </a:lnTo>
                      <a:lnTo>
                        <a:pt x="74" y="997"/>
                      </a:lnTo>
                      <a:lnTo>
                        <a:pt x="49" y="982"/>
                      </a:lnTo>
                      <a:lnTo>
                        <a:pt x="29" y="964"/>
                      </a:lnTo>
                      <a:lnTo>
                        <a:pt x="13" y="940"/>
                      </a:lnTo>
                      <a:lnTo>
                        <a:pt x="4" y="915"/>
                      </a:lnTo>
                      <a:lnTo>
                        <a:pt x="0" y="887"/>
                      </a:lnTo>
                      <a:lnTo>
                        <a:pt x="4" y="858"/>
                      </a:lnTo>
                      <a:lnTo>
                        <a:pt x="13" y="833"/>
                      </a:lnTo>
                      <a:lnTo>
                        <a:pt x="29" y="809"/>
                      </a:lnTo>
                      <a:lnTo>
                        <a:pt x="49" y="791"/>
                      </a:lnTo>
                      <a:lnTo>
                        <a:pt x="74" y="776"/>
                      </a:lnTo>
                      <a:lnTo>
                        <a:pt x="102" y="767"/>
                      </a:lnTo>
                      <a:lnTo>
                        <a:pt x="132" y="764"/>
                      </a:lnTo>
                      <a:close/>
                      <a:moveTo>
                        <a:pt x="1269" y="404"/>
                      </a:moveTo>
                      <a:lnTo>
                        <a:pt x="1299" y="407"/>
                      </a:lnTo>
                      <a:lnTo>
                        <a:pt x="1327" y="416"/>
                      </a:lnTo>
                      <a:lnTo>
                        <a:pt x="1351" y="430"/>
                      </a:lnTo>
                      <a:lnTo>
                        <a:pt x="1372" y="449"/>
                      </a:lnTo>
                      <a:lnTo>
                        <a:pt x="1388" y="471"/>
                      </a:lnTo>
                      <a:lnTo>
                        <a:pt x="1398" y="497"/>
                      </a:lnTo>
                      <a:lnTo>
                        <a:pt x="1401" y="523"/>
                      </a:lnTo>
                      <a:lnTo>
                        <a:pt x="1398" y="551"/>
                      </a:lnTo>
                      <a:lnTo>
                        <a:pt x="1388" y="577"/>
                      </a:lnTo>
                      <a:lnTo>
                        <a:pt x="1372" y="599"/>
                      </a:lnTo>
                      <a:lnTo>
                        <a:pt x="1351" y="618"/>
                      </a:lnTo>
                      <a:lnTo>
                        <a:pt x="1327" y="631"/>
                      </a:lnTo>
                      <a:lnTo>
                        <a:pt x="1299" y="641"/>
                      </a:lnTo>
                      <a:lnTo>
                        <a:pt x="1269" y="643"/>
                      </a:lnTo>
                      <a:lnTo>
                        <a:pt x="1238" y="641"/>
                      </a:lnTo>
                      <a:lnTo>
                        <a:pt x="1210" y="631"/>
                      </a:lnTo>
                      <a:lnTo>
                        <a:pt x="1186" y="618"/>
                      </a:lnTo>
                      <a:lnTo>
                        <a:pt x="1165" y="599"/>
                      </a:lnTo>
                      <a:lnTo>
                        <a:pt x="1149" y="577"/>
                      </a:lnTo>
                      <a:lnTo>
                        <a:pt x="1139" y="551"/>
                      </a:lnTo>
                      <a:lnTo>
                        <a:pt x="1136" y="523"/>
                      </a:lnTo>
                      <a:lnTo>
                        <a:pt x="1139" y="497"/>
                      </a:lnTo>
                      <a:lnTo>
                        <a:pt x="1149" y="471"/>
                      </a:lnTo>
                      <a:lnTo>
                        <a:pt x="1165" y="449"/>
                      </a:lnTo>
                      <a:lnTo>
                        <a:pt x="1186" y="430"/>
                      </a:lnTo>
                      <a:lnTo>
                        <a:pt x="1210" y="416"/>
                      </a:lnTo>
                      <a:lnTo>
                        <a:pt x="1238" y="407"/>
                      </a:lnTo>
                      <a:lnTo>
                        <a:pt x="1269" y="404"/>
                      </a:lnTo>
                      <a:close/>
                      <a:moveTo>
                        <a:pt x="842" y="404"/>
                      </a:moveTo>
                      <a:lnTo>
                        <a:pt x="872" y="407"/>
                      </a:lnTo>
                      <a:lnTo>
                        <a:pt x="900" y="416"/>
                      </a:lnTo>
                      <a:lnTo>
                        <a:pt x="923" y="430"/>
                      </a:lnTo>
                      <a:lnTo>
                        <a:pt x="943" y="449"/>
                      </a:lnTo>
                      <a:lnTo>
                        <a:pt x="958" y="471"/>
                      </a:lnTo>
                      <a:lnTo>
                        <a:pt x="968" y="497"/>
                      </a:lnTo>
                      <a:lnTo>
                        <a:pt x="972" y="523"/>
                      </a:lnTo>
                      <a:lnTo>
                        <a:pt x="968" y="551"/>
                      </a:lnTo>
                      <a:lnTo>
                        <a:pt x="958" y="577"/>
                      </a:lnTo>
                      <a:lnTo>
                        <a:pt x="943" y="599"/>
                      </a:lnTo>
                      <a:lnTo>
                        <a:pt x="923" y="618"/>
                      </a:lnTo>
                      <a:lnTo>
                        <a:pt x="900" y="631"/>
                      </a:lnTo>
                      <a:lnTo>
                        <a:pt x="872" y="641"/>
                      </a:lnTo>
                      <a:lnTo>
                        <a:pt x="842" y="643"/>
                      </a:lnTo>
                      <a:lnTo>
                        <a:pt x="813" y="641"/>
                      </a:lnTo>
                      <a:lnTo>
                        <a:pt x="785" y="631"/>
                      </a:lnTo>
                      <a:lnTo>
                        <a:pt x="761" y="618"/>
                      </a:lnTo>
                      <a:lnTo>
                        <a:pt x="741" y="599"/>
                      </a:lnTo>
                      <a:lnTo>
                        <a:pt x="727" y="577"/>
                      </a:lnTo>
                      <a:lnTo>
                        <a:pt x="717" y="551"/>
                      </a:lnTo>
                      <a:lnTo>
                        <a:pt x="713" y="523"/>
                      </a:lnTo>
                      <a:lnTo>
                        <a:pt x="717" y="497"/>
                      </a:lnTo>
                      <a:lnTo>
                        <a:pt x="727" y="471"/>
                      </a:lnTo>
                      <a:lnTo>
                        <a:pt x="741" y="449"/>
                      </a:lnTo>
                      <a:lnTo>
                        <a:pt x="761" y="430"/>
                      </a:lnTo>
                      <a:lnTo>
                        <a:pt x="785" y="416"/>
                      </a:lnTo>
                      <a:lnTo>
                        <a:pt x="813" y="407"/>
                      </a:lnTo>
                      <a:lnTo>
                        <a:pt x="842" y="404"/>
                      </a:lnTo>
                      <a:close/>
                      <a:moveTo>
                        <a:pt x="1628" y="385"/>
                      </a:moveTo>
                      <a:lnTo>
                        <a:pt x="1658" y="388"/>
                      </a:lnTo>
                      <a:lnTo>
                        <a:pt x="1686" y="397"/>
                      </a:lnTo>
                      <a:lnTo>
                        <a:pt x="1712" y="411"/>
                      </a:lnTo>
                      <a:lnTo>
                        <a:pt x="1732" y="430"/>
                      </a:lnTo>
                      <a:lnTo>
                        <a:pt x="1747" y="452"/>
                      </a:lnTo>
                      <a:lnTo>
                        <a:pt x="1757" y="477"/>
                      </a:lnTo>
                      <a:lnTo>
                        <a:pt x="1760" y="504"/>
                      </a:lnTo>
                      <a:lnTo>
                        <a:pt x="1757" y="532"/>
                      </a:lnTo>
                      <a:lnTo>
                        <a:pt x="1747" y="558"/>
                      </a:lnTo>
                      <a:lnTo>
                        <a:pt x="1732" y="580"/>
                      </a:lnTo>
                      <a:lnTo>
                        <a:pt x="1712" y="599"/>
                      </a:lnTo>
                      <a:lnTo>
                        <a:pt x="1686" y="612"/>
                      </a:lnTo>
                      <a:lnTo>
                        <a:pt x="1658" y="622"/>
                      </a:lnTo>
                      <a:lnTo>
                        <a:pt x="1628" y="624"/>
                      </a:lnTo>
                      <a:lnTo>
                        <a:pt x="1598" y="622"/>
                      </a:lnTo>
                      <a:lnTo>
                        <a:pt x="1570" y="612"/>
                      </a:lnTo>
                      <a:lnTo>
                        <a:pt x="1545" y="599"/>
                      </a:lnTo>
                      <a:lnTo>
                        <a:pt x="1525" y="580"/>
                      </a:lnTo>
                      <a:lnTo>
                        <a:pt x="1510" y="558"/>
                      </a:lnTo>
                      <a:lnTo>
                        <a:pt x="1500" y="532"/>
                      </a:lnTo>
                      <a:lnTo>
                        <a:pt x="1495" y="504"/>
                      </a:lnTo>
                      <a:lnTo>
                        <a:pt x="1500" y="477"/>
                      </a:lnTo>
                      <a:lnTo>
                        <a:pt x="1510" y="452"/>
                      </a:lnTo>
                      <a:lnTo>
                        <a:pt x="1525" y="430"/>
                      </a:lnTo>
                      <a:lnTo>
                        <a:pt x="1545" y="411"/>
                      </a:lnTo>
                      <a:lnTo>
                        <a:pt x="1570" y="397"/>
                      </a:lnTo>
                      <a:lnTo>
                        <a:pt x="1598" y="388"/>
                      </a:lnTo>
                      <a:lnTo>
                        <a:pt x="1628" y="385"/>
                      </a:lnTo>
                      <a:close/>
                      <a:moveTo>
                        <a:pt x="502" y="385"/>
                      </a:moveTo>
                      <a:lnTo>
                        <a:pt x="531" y="388"/>
                      </a:lnTo>
                      <a:lnTo>
                        <a:pt x="558" y="397"/>
                      </a:lnTo>
                      <a:lnTo>
                        <a:pt x="582" y="411"/>
                      </a:lnTo>
                      <a:lnTo>
                        <a:pt x="602" y="430"/>
                      </a:lnTo>
                      <a:lnTo>
                        <a:pt x="618" y="452"/>
                      </a:lnTo>
                      <a:lnTo>
                        <a:pt x="628" y="477"/>
                      </a:lnTo>
                      <a:lnTo>
                        <a:pt x="631" y="504"/>
                      </a:lnTo>
                      <a:lnTo>
                        <a:pt x="628" y="532"/>
                      </a:lnTo>
                      <a:lnTo>
                        <a:pt x="618" y="558"/>
                      </a:lnTo>
                      <a:lnTo>
                        <a:pt x="602" y="580"/>
                      </a:lnTo>
                      <a:lnTo>
                        <a:pt x="582" y="599"/>
                      </a:lnTo>
                      <a:lnTo>
                        <a:pt x="558" y="612"/>
                      </a:lnTo>
                      <a:lnTo>
                        <a:pt x="531" y="622"/>
                      </a:lnTo>
                      <a:lnTo>
                        <a:pt x="502" y="624"/>
                      </a:lnTo>
                      <a:lnTo>
                        <a:pt x="472" y="622"/>
                      </a:lnTo>
                      <a:lnTo>
                        <a:pt x="445" y="612"/>
                      </a:lnTo>
                      <a:lnTo>
                        <a:pt x="421" y="599"/>
                      </a:lnTo>
                      <a:lnTo>
                        <a:pt x="401" y="580"/>
                      </a:lnTo>
                      <a:lnTo>
                        <a:pt x="385" y="558"/>
                      </a:lnTo>
                      <a:lnTo>
                        <a:pt x="376" y="532"/>
                      </a:lnTo>
                      <a:lnTo>
                        <a:pt x="372" y="504"/>
                      </a:lnTo>
                      <a:lnTo>
                        <a:pt x="376" y="477"/>
                      </a:lnTo>
                      <a:lnTo>
                        <a:pt x="385" y="452"/>
                      </a:lnTo>
                      <a:lnTo>
                        <a:pt x="401" y="430"/>
                      </a:lnTo>
                      <a:lnTo>
                        <a:pt x="421" y="411"/>
                      </a:lnTo>
                      <a:lnTo>
                        <a:pt x="445" y="397"/>
                      </a:lnTo>
                      <a:lnTo>
                        <a:pt x="472" y="388"/>
                      </a:lnTo>
                      <a:lnTo>
                        <a:pt x="502" y="385"/>
                      </a:lnTo>
                      <a:close/>
                      <a:moveTo>
                        <a:pt x="1269" y="0"/>
                      </a:moveTo>
                      <a:lnTo>
                        <a:pt x="1299" y="3"/>
                      </a:lnTo>
                      <a:lnTo>
                        <a:pt x="1327" y="12"/>
                      </a:lnTo>
                      <a:lnTo>
                        <a:pt x="1351" y="26"/>
                      </a:lnTo>
                      <a:lnTo>
                        <a:pt x="1372" y="44"/>
                      </a:lnTo>
                      <a:lnTo>
                        <a:pt x="1388" y="67"/>
                      </a:lnTo>
                      <a:lnTo>
                        <a:pt x="1398" y="92"/>
                      </a:lnTo>
                      <a:lnTo>
                        <a:pt x="1401" y="120"/>
                      </a:lnTo>
                      <a:lnTo>
                        <a:pt x="1398" y="147"/>
                      </a:lnTo>
                      <a:lnTo>
                        <a:pt x="1388" y="173"/>
                      </a:lnTo>
                      <a:lnTo>
                        <a:pt x="1372" y="195"/>
                      </a:lnTo>
                      <a:lnTo>
                        <a:pt x="1351" y="214"/>
                      </a:lnTo>
                      <a:lnTo>
                        <a:pt x="1327" y="227"/>
                      </a:lnTo>
                      <a:lnTo>
                        <a:pt x="1299" y="236"/>
                      </a:lnTo>
                      <a:lnTo>
                        <a:pt x="1269" y="239"/>
                      </a:lnTo>
                      <a:lnTo>
                        <a:pt x="1238" y="236"/>
                      </a:lnTo>
                      <a:lnTo>
                        <a:pt x="1210" y="227"/>
                      </a:lnTo>
                      <a:lnTo>
                        <a:pt x="1186" y="214"/>
                      </a:lnTo>
                      <a:lnTo>
                        <a:pt x="1165" y="195"/>
                      </a:lnTo>
                      <a:lnTo>
                        <a:pt x="1149" y="173"/>
                      </a:lnTo>
                      <a:lnTo>
                        <a:pt x="1139" y="147"/>
                      </a:lnTo>
                      <a:lnTo>
                        <a:pt x="1136" y="120"/>
                      </a:lnTo>
                      <a:lnTo>
                        <a:pt x="1139" y="92"/>
                      </a:lnTo>
                      <a:lnTo>
                        <a:pt x="1149" y="67"/>
                      </a:lnTo>
                      <a:lnTo>
                        <a:pt x="1165" y="44"/>
                      </a:lnTo>
                      <a:lnTo>
                        <a:pt x="1186" y="26"/>
                      </a:lnTo>
                      <a:lnTo>
                        <a:pt x="1210" y="12"/>
                      </a:lnTo>
                      <a:lnTo>
                        <a:pt x="1238" y="3"/>
                      </a:lnTo>
                      <a:lnTo>
                        <a:pt x="1269" y="0"/>
                      </a:lnTo>
                      <a:close/>
                      <a:moveTo>
                        <a:pt x="842" y="0"/>
                      </a:moveTo>
                      <a:lnTo>
                        <a:pt x="872" y="3"/>
                      </a:lnTo>
                      <a:lnTo>
                        <a:pt x="900" y="12"/>
                      </a:lnTo>
                      <a:lnTo>
                        <a:pt x="923" y="26"/>
                      </a:lnTo>
                      <a:lnTo>
                        <a:pt x="943" y="44"/>
                      </a:lnTo>
                      <a:lnTo>
                        <a:pt x="958" y="67"/>
                      </a:lnTo>
                      <a:lnTo>
                        <a:pt x="968" y="92"/>
                      </a:lnTo>
                      <a:lnTo>
                        <a:pt x="972" y="120"/>
                      </a:lnTo>
                      <a:lnTo>
                        <a:pt x="968" y="147"/>
                      </a:lnTo>
                      <a:lnTo>
                        <a:pt x="958" y="173"/>
                      </a:lnTo>
                      <a:lnTo>
                        <a:pt x="943" y="195"/>
                      </a:lnTo>
                      <a:lnTo>
                        <a:pt x="923" y="214"/>
                      </a:lnTo>
                      <a:lnTo>
                        <a:pt x="900" y="227"/>
                      </a:lnTo>
                      <a:lnTo>
                        <a:pt x="872" y="236"/>
                      </a:lnTo>
                      <a:lnTo>
                        <a:pt x="842" y="239"/>
                      </a:lnTo>
                      <a:lnTo>
                        <a:pt x="813" y="236"/>
                      </a:lnTo>
                      <a:lnTo>
                        <a:pt x="785" y="227"/>
                      </a:lnTo>
                      <a:lnTo>
                        <a:pt x="761" y="214"/>
                      </a:lnTo>
                      <a:lnTo>
                        <a:pt x="741" y="195"/>
                      </a:lnTo>
                      <a:lnTo>
                        <a:pt x="727" y="173"/>
                      </a:lnTo>
                      <a:lnTo>
                        <a:pt x="717" y="147"/>
                      </a:lnTo>
                      <a:lnTo>
                        <a:pt x="713" y="120"/>
                      </a:lnTo>
                      <a:lnTo>
                        <a:pt x="717" y="92"/>
                      </a:lnTo>
                      <a:lnTo>
                        <a:pt x="727" y="67"/>
                      </a:lnTo>
                      <a:lnTo>
                        <a:pt x="741" y="44"/>
                      </a:lnTo>
                      <a:lnTo>
                        <a:pt x="761" y="26"/>
                      </a:lnTo>
                      <a:lnTo>
                        <a:pt x="785" y="12"/>
                      </a:lnTo>
                      <a:lnTo>
                        <a:pt x="813" y="3"/>
                      </a:lnTo>
                      <a:lnTo>
                        <a:pt x="842"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91" name="Freeform 38"/>
                <p:cNvSpPr>
                  <a:spLocks noEditPoints="1"/>
                </p:cNvSpPr>
                <p:nvPr/>
              </p:nvSpPr>
              <p:spPr bwMode="auto">
                <a:xfrm>
                  <a:off x="4736" y="2309"/>
                  <a:ext cx="286" cy="141"/>
                </a:xfrm>
                <a:custGeom>
                  <a:avLst/>
                  <a:gdLst>
                    <a:gd name="T0" fmla="*/ 1003 w 1716"/>
                    <a:gd name="T1" fmla="*/ 510 h 845"/>
                    <a:gd name="T2" fmla="*/ 981 w 1716"/>
                    <a:gd name="T3" fmla="*/ 594 h 845"/>
                    <a:gd name="T4" fmla="*/ 920 w 1716"/>
                    <a:gd name="T5" fmla="*/ 688 h 845"/>
                    <a:gd name="T6" fmla="*/ 876 w 1716"/>
                    <a:gd name="T7" fmla="*/ 764 h 845"/>
                    <a:gd name="T8" fmla="*/ 960 w 1716"/>
                    <a:gd name="T9" fmla="*/ 797 h 845"/>
                    <a:gd name="T10" fmla="*/ 975 w 1716"/>
                    <a:gd name="T11" fmla="*/ 786 h 845"/>
                    <a:gd name="T12" fmla="*/ 970 w 1716"/>
                    <a:gd name="T13" fmla="*/ 771 h 845"/>
                    <a:gd name="T14" fmla="*/ 982 w 1716"/>
                    <a:gd name="T15" fmla="*/ 773 h 845"/>
                    <a:gd name="T16" fmla="*/ 981 w 1716"/>
                    <a:gd name="T17" fmla="*/ 774 h 845"/>
                    <a:gd name="T18" fmla="*/ 988 w 1716"/>
                    <a:gd name="T19" fmla="*/ 786 h 845"/>
                    <a:gd name="T20" fmla="*/ 1000 w 1716"/>
                    <a:gd name="T21" fmla="*/ 806 h 845"/>
                    <a:gd name="T22" fmla="*/ 988 w 1716"/>
                    <a:gd name="T23" fmla="*/ 813 h 845"/>
                    <a:gd name="T24" fmla="*/ 869 w 1716"/>
                    <a:gd name="T25" fmla="*/ 772 h 845"/>
                    <a:gd name="T26" fmla="*/ 770 w 1716"/>
                    <a:gd name="T27" fmla="*/ 800 h 845"/>
                    <a:gd name="T28" fmla="*/ 662 w 1716"/>
                    <a:gd name="T29" fmla="*/ 837 h 845"/>
                    <a:gd name="T30" fmla="*/ 622 w 1716"/>
                    <a:gd name="T31" fmla="*/ 845 h 845"/>
                    <a:gd name="T32" fmla="*/ 614 w 1716"/>
                    <a:gd name="T33" fmla="*/ 835 h 845"/>
                    <a:gd name="T34" fmla="*/ 619 w 1716"/>
                    <a:gd name="T35" fmla="*/ 831 h 845"/>
                    <a:gd name="T36" fmla="*/ 697 w 1716"/>
                    <a:gd name="T37" fmla="*/ 817 h 845"/>
                    <a:gd name="T38" fmla="*/ 795 w 1716"/>
                    <a:gd name="T39" fmla="*/ 774 h 845"/>
                    <a:gd name="T40" fmla="*/ 788 w 1716"/>
                    <a:gd name="T41" fmla="*/ 714 h 845"/>
                    <a:gd name="T42" fmla="*/ 703 w 1716"/>
                    <a:gd name="T43" fmla="*/ 612 h 845"/>
                    <a:gd name="T44" fmla="*/ 669 w 1716"/>
                    <a:gd name="T45" fmla="*/ 522 h 845"/>
                    <a:gd name="T46" fmla="*/ 678 w 1716"/>
                    <a:gd name="T47" fmla="*/ 466 h 845"/>
                    <a:gd name="T48" fmla="*/ 688 w 1716"/>
                    <a:gd name="T49" fmla="*/ 551 h 845"/>
                    <a:gd name="T50" fmla="*/ 729 w 1716"/>
                    <a:gd name="T51" fmla="*/ 632 h 845"/>
                    <a:gd name="T52" fmla="*/ 821 w 1716"/>
                    <a:gd name="T53" fmla="*/ 728 h 845"/>
                    <a:gd name="T54" fmla="*/ 912 w 1716"/>
                    <a:gd name="T55" fmla="*/ 680 h 845"/>
                    <a:gd name="T56" fmla="*/ 971 w 1716"/>
                    <a:gd name="T57" fmla="*/ 590 h 845"/>
                    <a:gd name="T58" fmla="*/ 992 w 1716"/>
                    <a:gd name="T59" fmla="*/ 510 h 845"/>
                    <a:gd name="T60" fmla="*/ 1003 w 1716"/>
                    <a:gd name="T61" fmla="*/ 458 h 845"/>
                    <a:gd name="T62" fmla="*/ 1116 w 1716"/>
                    <a:gd name="T63" fmla="*/ 441 h 845"/>
                    <a:gd name="T64" fmla="*/ 361 w 1716"/>
                    <a:gd name="T65" fmla="*/ 694 h 845"/>
                    <a:gd name="T66" fmla="*/ 1052 w 1716"/>
                    <a:gd name="T67" fmla="*/ 65 h 845"/>
                    <a:gd name="T68" fmla="*/ 524 w 1716"/>
                    <a:gd name="T69" fmla="*/ 44 h 845"/>
                    <a:gd name="T70" fmla="*/ 524 w 1716"/>
                    <a:gd name="T71" fmla="*/ 44 h 845"/>
                    <a:gd name="T72" fmla="*/ 610 w 1716"/>
                    <a:gd name="T73" fmla="*/ 733 h 845"/>
                    <a:gd name="T74" fmla="*/ 1708 w 1716"/>
                    <a:gd name="T75" fmla="*/ 687 h 845"/>
                    <a:gd name="T76" fmla="*/ 975 w 1716"/>
                    <a:gd name="T77" fmla="*/ 6 h 845"/>
                    <a:gd name="T78" fmla="*/ 916 w 1716"/>
                    <a:gd name="T79" fmla="*/ 61 h 845"/>
                    <a:gd name="T80" fmla="*/ 855 w 1716"/>
                    <a:gd name="T81" fmla="*/ 83 h 845"/>
                    <a:gd name="T82" fmla="*/ 770 w 1716"/>
                    <a:gd name="T83" fmla="*/ 82 h 845"/>
                    <a:gd name="T84" fmla="*/ 699 w 1716"/>
                    <a:gd name="T85" fmla="*/ 59 h 845"/>
                    <a:gd name="T86" fmla="*/ 686 w 1716"/>
                    <a:gd name="T87" fmla="*/ 40 h 845"/>
                    <a:gd name="T88" fmla="*/ 770 w 1716"/>
                    <a:gd name="T89" fmla="*/ 71 h 845"/>
                    <a:gd name="T90" fmla="*/ 855 w 1716"/>
                    <a:gd name="T91" fmla="*/ 72 h 845"/>
                    <a:gd name="T92" fmla="*/ 909 w 1716"/>
                    <a:gd name="T93" fmla="*/ 53 h 845"/>
                    <a:gd name="T94" fmla="*/ 966 w 1716"/>
                    <a:gd name="T95"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16" h="845">
                      <a:moveTo>
                        <a:pt x="1003" y="458"/>
                      </a:moveTo>
                      <a:lnTo>
                        <a:pt x="1004" y="476"/>
                      </a:lnTo>
                      <a:lnTo>
                        <a:pt x="1004" y="494"/>
                      </a:lnTo>
                      <a:lnTo>
                        <a:pt x="1003" y="510"/>
                      </a:lnTo>
                      <a:lnTo>
                        <a:pt x="1001" y="528"/>
                      </a:lnTo>
                      <a:lnTo>
                        <a:pt x="997" y="545"/>
                      </a:lnTo>
                      <a:lnTo>
                        <a:pt x="993" y="561"/>
                      </a:lnTo>
                      <a:lnTo>
                        <a:pt x="981" y="594"/>
                      </a:lnTo>
                      <a:lnTo>
                        <a:pt x="978" y="598"/>
                      </a:lnTo>
                      <a:lnTo>
                        <a:pt x="963" y="629"/>
                      </a:lnTo>
                      <a:lnTo>
                        <a:pt x="943" y="659"/>
                      </a:lnTo>
                      <a:lnTo>
                        <a:pt x="920" y="688"/>
                      </a:lnTo>
                      <a:lnTo>
                        <a:pt x="894" y="714"/>
                      </a:lnTo>
                      <a:lnTo>
                        <a:pt x="865" y="739"/>
                      </a:lnTo>
                      <a:lnTo>
                        <a:pt x="852" y="750"/>
                      </a:lnTo>
                      <a:lnTo>
                        <a:pt x="876" y="764"/>
                      </a:lnTo>
                      <a:lnTo>
                        <a:pt x="905" y="779"/>
                      </a:lnTo>
                      <a:lnTo>
                        <a:pt x="905" y="779"/>
                      </a:lnTo>
                      <a:lnTo>
                        <a:pt x="931" y="789"/>
                      </a:lnTo>
                      <a:lnTo>
                        <a:pt x="960" y="797"/>
                      </a:lnTo>
                      <a:lnTo>
                        <a:pt x="986" y="802"/>
                      </a:lnTo>
                      <a:lnTo>
                        <a:pt x="986" y="801"/>
                      </a:lnTo>
                      <a:lnTo>
                        <a:pt x="981" y="794"/>
                      </a:lnTo>
                      <a:lnTo>
                        <a:pt x="975" y="786"/>
                      </a:lnTo>
                      <a:lnTo>
                        <a:pt x="972" y="781"/>
                      </a:lnTo>
                      <a:lnTo>
                        <a:pt x="971" y="776"/>
                      </a:lnTo>
                      <a:lnTo>
                        <a:pt x="970" y="774"/>
                      </a:lnTo>
                      <a:lnTo>
                        <a:pt x="970" y="771"/>
                      </a:lnTo>
                      <a:lnTo>
                        <a:pt x="972" y="767"/>
                      </a:lnTo>
                      <a:lnTo>
                        <a:pt x="974" y="765"/>
                      </a:lnTo>
                      <a:lnTo>
                        <a:pt x="981" y="763"/>
                      </a:lnTo>
                      <a:lnTo>
                        <a:pt x="982" y="773"/>
                      </a:lnTo>
                      <a:lnTo>
                        <a:pt x="982" y="773"/>
                      </a:lnTo>
                      <a:lnTo>
                        <a:pt x="982" y="773"/>
                      </a:lnTo>
                      <a:lnTo>
                        <a:pt x="982" y="774"/>
                      </a:lnTo>
                      <a:lnTo>
                        <a:pt x="981" y="774"/>
                      </a:lnTo>
                      <a:lnTo>
                        <a:pt x="982" y="776"/>
                      </a:lnTo>
                      <a:lnTo>
                        <a:pt x="982" y="776"/>
                      </a:lnTo>
                      <a:lnTo>
                        <a:pt x="983" y="779"/>
                      </a:lnTo>
                      <a:lnTo>
                        <a:pt x="988" y="786"/>
                      </a:lnTo>
                      <a:lnTo>
                        <a:pt x="994" y="793"/>
                      </a:lnTo>
                      <a:lnTo>
                        <a:pt x="997" y="799"/>
                      </a:lnTo>
                      <a:lnTo>
                        <a:pt x="1000" y="803"/>
                      </a:lnTo>
                      <a:lnTo>
                        <a:pt x="1000" y="806"/>
                      </a:lnTo>
                      <a:lnTo>
                        <a:pt x="997" y="811"/>
                      </a:lnTo>
                      <a:lnTo>
                        <a:pt x="996" y="812"/>
                      </a:lnTo>
                      <a:lnTo>
                        <a:pt x="992" y="813"/>
                      </a:lnTo>
                      <a:lnTo>
                        <a:pt x="988" y="813"/>
                      </a:lnTo>
                      <a:lnTo>
                        <a:pt x="960" y="809"/>
                      </a:lnTo>
                      <a:lnTo>
                        <a:pt x="931" y="800"/>
                      </a:lnTo>
                      <a:lnTo>
                        <a:pt x="902" y="789"/>
                      </a:lnTo>
                      <a:lnTo>
                        <a:pt x="869" y="772"/>
                      </a:lnTo>
                      <a:lnTo>
                        <a:pt x="843" y="756"/>
                      </a:lnTo>
                      <a:lnTo>
                        <a:pt x="835" y="762"/>
                      </a:lnTo>
                      <a:lnTo>
                        <a:pt x="803" y="782"/>
                      </a:lnTo>
                      <a:lnTo>
                        <a:pt x="770" y="800"/>
                      </a:lnTo>
                      <a:lnTo>
                        <a:pt x="736" y="814"/>
                      </a:lnTo>
                      <a:lnTo>
                        <a:pt x="732" y="816"/>
                      </a:lnTo>
                      <a:lnTo>
                        <a:pt x="697" y="828"/>
                      </a:lnTo>
                      <a:lnTo>
                        <a:pt x="662" y="837"/>
                      </a:lnTo>
                      <a:lnTo>
                        <a:pt x="629" y="843"/>
                      </a:lnTo>
                      <a:lnTo>
                        <a:pt x="627" y="844"/>
                      </a:lnTo>
                      <a:lnTo>
                        <a:pt x="626" y="844"/>
                      </a:lnTo>
                      <a:lnTo>
                        <a:pt x="622" y="845"/>
                      </a:lnTo>
                      <a:lnTo>
                        <a:pt x="618" y="845"/>
                      </a:lnTo>
                      <a:lnTo>
                        <a:pt x="614" y="843"/>
                      </a:lnTo>
                      <a:lnTo>
                        <a:pt x="612" y="840"/>
                      </a:lnTo>
                      <a:lnTo>
                        <a:pt x="614" y="835"/>
                      </a:lnTo>
                      <a:lnTo>
                        <a:pt x="615" y="835"/>
                      </a:lnTo>
                      <a:lnTo>
                        <a:pt x="618" y="833"/>
                      </a:lnTo>
                      <a:lnTo>
                        <a:pt x="619" y="833"/>
                      </a:lnTo>
                      <a:lnTo>
                        <a:pt x="619" y="831"/>
                      </a:lnTo>
                      <a:lnTo>
                        <a:pt x="622" y="832"/>
                      </a:lnTo>
                      <a:lnTo>
                        <a:pt x="627" y="832"/>
                      </a:lnTo>
                      <a:lnTo>
                        <a:pt x="662" y="826"/>
                      </a:lnTo>
                      <a:lnTo>
                        <a:pt x="697" y="817"/>
                      </a:lnTo>
                      <a:lnTo>
                        <a:pt x="728" y="806"/>
                      </a:lnTo>
                      <a:lnTo>
                        <a:pt x="728" y="806"/>
                      </a:lnTo>
                      <a:lnTo>
                        <a:pt x="762" y="792"/>
                      </a:lnTo>
                      <a:lnTo>
                        <a:pt x="795" y="774"/>
                      </a:lnTo>
                      <a:lnTo>
                        <a:pt x="828" y="754"/>
                      </a:lnTo>
                      <a:lnTo>
                        <a:pt x="833" y="750"/>
                      </a:lnTo>
                      <a:lnTo>
                        <a:pt x="813" y="735"/>
                      </a:lnTo>
                      <a:lnTo>
                        <a:pt x="788" y="714"/>
                      </a:lnTo>
                      <a:lnTo>
                        <a:pt x="763" y="691"/>
                      </a:lnTo>
                      <a:lnTo>
                        <a:pt x="741" y="665"/>
                      </a:lnTo>
                      <a:lnTo>
                        <a:pt x="721" y="640"/>
                      </a:lnTo>
                      <a:lnTo>
                        <a:pt x="703" y="612"/>
                      </a:lnTo>
                      <a:lnTo>
                        <a:pt x="689" y="584"/>
                      </a:lnTo>
                      <a:lnTo>
                        <a:pt x="688" y="580"/>
                      </a:lnTo>
                      <a:lnTo>
                        <a:pt x="677" y="551"/>
                      </a:lnTo>
                      <a:lnTo>
                        <a:pt x="669" y="522"/>
                      </a:lnTo>
                      <a:lnTo>
                        <a:pt x="666" y="494"/>
                      </a:lnTo>
                      <a:lnTo>
                        <a:pt x="666" y="479"/>
                      </a:lnTo>
                      <a:lnTo>
                        <a:pt x="667" y="465"/>
                      </a:lnTo>
                      <a:lnTo>
                        <a:pt x="678" y="466"/>
                      </a:lnTo>
                      <a:lnTo>
                        <a:pt x="677" y="479"/>
                      </a:lnTo>
                      <a:lnTo>
                        <a:pt x="677" y="494"/>
                      </a:lnTo>
                      <a:lnTo>
                        <a:pt x="680" y="522"/>
                      </a:lnTo>
                      <a:lnTo>
                        <a:pt x="688" y="551"/>
                      </a:lnTo>
                      <a:lnTo>
                        <a:pt x="699" y="580"/>
                      </a:lnTo>
                      <a:lnTo>
                        <a:pt x="699" y="580"/>
                      </a:lnTo>
                      <a:lnTo>
                        <a:pt x="711" y="604"/>
                      </a:lnTo>
                      <a:lnTo>
                        <a:pt x="729" y="632"/>
                      </a:lnTo>
                      <a:lnTo>
                        <a:pt x="749" y="658"/>
                      </a:lnTo>
                      <a:lnTo>
                        <a:pt x="771" y="683"/>
                      </a:lnTo>
                      <a:lnTo>
                        <a:pt x="795" y="706"/>
                      </a:lnTo>
                      <a:lnTo>
                        <a:pt x="821" y="728"/>
                      </a:lnTo>
                      <a:lnTo>
                        <a:pt x="842" y="743"/>
                      </a:lnTo>
                      <a:lnTo>
                        <a:pt x="858" y="731"/>
                      </a:lnTo>
                      <a:lnTo>
                        <a:pt x="886" y="706"/>
                      </a:lnTo>
                      <a:lnTo>
                        <a:pt x="912" y="680"/>
                      </a:lnTo>
                      <a:lnTo>
                        <a:pt x="935" y="651"/>
                      </a:lnTo>
                      <a:lnTo>
                        <a:pt x="955" y="621"/>
                      </a:lnTo>
                      <a:lnTo>
                        <a:pt x="971" y="590"/>
                      </a:lnTo>
                      <a:lnTo>
                        <a:pt x="971" y="590"/>
                      </a:lnTo>
                      <a:lnTo>
                        <a:pt x="982" y="561"/>
                      </a:lnTo>
                      <a:lnTo>
                        <a:pt x="986" y="545"/>
                      </a:lnTo>
                      <a:lnTo>
                        <a:pt x="990" y="528"/>
                      </a:lnTo>
                      <a:lnTo>
                        <a:pt x="992" y="510"/>
                      </a:lnTo>
                      <a:lnTo>
                        <a:pt x="993" y="494"/>
                      </a:lnTo>
                      <a:lnTo>
                        <a:pt x="993" y="476"/>
                      </a:lnTo>
                      <a:lnTo>
                        <a:pt x="992" y="459"/>
                      </a:lnTo>
                      <a:lnTo>
                        <a:pt x="1003" y="458"/>
                      </a:lnTo>
                      <a:close/>
                      <a:moveTo>
                        <a:pt x="1125" y="435"/>
                      </a:moveTo>
                      <a:lnTo>
                        <a:pt x="1319" y="688"/>
                      </a:lnTo>
                      <a:lnTo>
                        <a:pt x="1310" y="694"/>
                      </a:lnTo>
                      <a:lnTo>
                        <a:pt x="1116" y="441"/>
                      </a:lnTo>
                      <a:lnTo>
                        <a:pt x="1125" y="435"/>
                      </a:lnTo>
                      <a:close/>
                      <a:moveTo>
                        <a:pt x="536" y="435"/>
                      </a:moveTo>
                      <a:lnTo>
                        <a:pt x="545" y="441"/>
                      </a:lnTo>
                      <a:lnTo>
                        <a:pt x="361" y="694"/>
                      </a:lnTo>
                      <a:lnTo>
                        <a:pt x="352" y="688"/>
                      </a:lnTo>
                      <a:lnTo>
                        <a:pt x="536" y="435"/>
                      </a:lnTo>
                      <a:close/>
                      <a:moveTo>
                        <a:pt x="1041" y="65"/>
                      </a:moveTo>
                      <a:lnTo>
                        <a:pt x="1052" y="65"/>
                      </a:lnTo>
                      <a:lnTo>
                        <a:pt x="1052" y="755"/>
                      </a:lnTo>
                      <a:lnTo>
                        <a:pt x="1041" y="755"/>
                      </a:lnTo>
                      <a:lnTo>
                        <a:pt x="1041" y="65"/>
                      </a:lnTo>
                      <a:close/>
                      <a:moveTo>
                        <a:pt x="524" y="44"/>
                      </a:moveTo>
                      <a:lnTo>
                        <a:pt x="532" y="52"/>
                      </a:lnTo>
                      <a:lnTo>
                        <a:pt x="8" y="650"/>
                      </a:lnTo>
                      <a:lnTo>
                        <a:pt x="0" y="642"/>
                      </a:lnTo>
                      <a:lnTo>
                        <a:pt x="524" y="44"/>
                      </a:lnTo>
                      <a:close/>
                      <a:moveTo>
                        <a:pt x="610" y="11"/>
                      </a:moveTo>
                      <a:lnTo>
                        <a:pt x="621" y="11"/>
                      </a:lnTo>
                      <a:lnTo>
                        <a:pt x="621" y="733"/>
                      </a:lnTo>
                      <a:lnTo>
                        <a:pt x="610" y="733"/>
                      </a:lnTo>
                      <a:lnTo>
                        <a:pt x="610" y="11"/>
                      </a:lnTo>
                      <a:close/>
                      <a:moveTo>
                        <a:pt x="1106" y="7"/>
                      </a:moveTo>
                      <a:lnTo>
                        <a:pt x="1716" y="679"/>
                      </a:lnTo>
                      <a:lnTo>
                        <a:pt x="1708" y="687"/>
                      </a:lnTo>
                      <a:lnTo>
                        <a:pt x="1098" y="14"/>
                      </a:lnTo>
                      <a:lnTo>
                        <a:pt x="1106" y="7"/>
                      </a:lnTo>
                      <a:close/>
                      <a:moveTo>
                        <a:pt x="966" y="0"/>
                      </a:moveTo>
                      <a:lnTo>
                        <a:pt x="975" y="6"/>
                      </a:lnTo>
                      <a:lnTo>
                        <a:pt x="962" y="22"/>
                      </a:lnTo>
                      <a:lnTo>
                        <a:pt x="949" y="38"/>
                      </a:lnTo>
                      <a:lnTo>
                        <a:pt x="933" y="50"/>
                      </a:lnTo>
                      <a:lnTo>
                        <a:pt x="916" y="61"/>
                      </a:lnTo>
                      <a:lnTo>
                        <a:pt x="899" y="70"/>
                      </a:lnTo>
                      <a:lnTo>
                        <a:pt x="894" y="71"/>
                      </a:lnTo>
                      <a:lnTo>
                        <a:pt x="875" y="78"/>
                      </a:lnTo>
                      <a:lnTo>
                        <a:pt x="855" y="83"/>
                      </a:lnTo>
                      <a:lnTo>
                        <a:pt x="834" y="85"/>
                      </a:lnTo>
                      <a:lnTo>
                        <a:pt x="813" y="86"/>
                      </a:lnTo>
                      <a:lnTo>
                        <a:pt x="792" y="85"/>
                      </a:lnTo>
                      <a:lnTo>
                        <a:pt x="770" y="82"/>
                      </a:lnTo>
                      <a:lnTo>
                        <a:pt x="748" y="77"/>
                      </a:lnTo>
                      <a:lnTo>
                        <a:pt x="726" y="70"/>
                      </a:lnTo>
                      <a:lnTo>
                        <a:pt x="721" y="68"/>
                      </a:lnTo>
                      <a:lnTo>
                        <a:pt x="699" y="59"/>
                      </a:lnTo>
                      <a:lnTo>
                        <a:pt x="678" y="48"/>
                      </a:lnTo>
                      <a:lnTo>
                        <a:pt x="657" y="34"/>
                      </a:lnTo>
                      <a:lnTo>
                        <a:pt x="663" y="25"/>
                      </a:lnTo>
                      <a:lnTo>
                        <a:pt x="686" y="40"/>
                      </a:lnTo>
                      <a:lnTo>
                        <a:pt x="707" y="51"/>
                      </a:lnTo>
                      <a:lnTo>
                        <a:pt x="728" y="60"/>
                      </a:lnTo>
                      <a:lnTo>
                        <a:pt x="748" y="65"/>
                      </a:lnTo>
                      <a:lnTo>
                        <a:pt x="770" y="71"/>
                      </a:lnTo>
                      <a:lnTo>
                        <a:pt x="792" y="74"/>
                      </a:lnTo>
                      <a:lnTo>
                        <a:pt x="813" y="75"/>
                      </a:lnTo>
                      <a:lnTo>
                        <a:pt x="834" y="74"/>
                      </a:lnTo>
                      <a:lnTo>
                        <a:pt x="855" y="72"/>
                      </a:lnTo>
                      <a:lnTo>
                        <a:pt x="875" y="67"/>
                      </a:lnTo>
                      <a:lnTo>
                        <a:pt x="894" y="60"/>
                      </a:lnTo>
                      <a:lnTo>
                        <a:pt x="894" y="61"/>
                      </a:lnTo>
                      <a:lnTo>
                        <a:pt x="909" y="53"/>
                      </a:lnTo>
                      <a:lnTo>
                        <a:pt x="925" y="42"/>
                      </a:lnTo>
                      <a:lnTo>
                        <a:pt x="941" y="30"/>
                      </a:lnTo>
                      <a:lnTo>
                        <a:pt x="954" y="14"/>
                      </a:lnTo>
                      <a:lnTo>
                        <a:pt x="966" y="0"/>
                      </a:lnTo>
                      <a:close/>
                    </a:path>
                  </a:pathLst>
                </a:custGeom>
                <a:solidFill>
                  <a:srgbClr val="237E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9" name="Group 8"/>
            <p:cNvGrpSpPr/>
            <p:nvPr/>
          </p:nvGrpSpPr>
          <p:grpSpPr>
            <a:xfrm>
              <a:off x="9949097" y="1791787"/>
              <a:ext cx="1707737" cy="1219146"/>
              <a:chOff x="9949097" y="1791787"/>
              <a:chExt cx="1707737" cy="1219146"/>
            </a:xfrm>
          </p:grpSpPr>
          <p:grpSp>
            <p:nvGrpSpPr>
              <p:cNvPr id="70" name="Group 69"/>
              <p:cNvGrpSpPr/>
              <p:nvPr/>
            </p:nvGrpSpPr>
            <p:grpSpPr>
              <a:xfrm>
                <a:off x="9949097" y="2550855"/>
                <a:ext cx="1707737" cy="460078"/>
                <a:chOff x="9942438" y="2170061"/>
                <a:chExt cx="1707737" cy="460078"/>
              </a:xfrm>
            </p:grpSpPr>
            <p:pic>
              <p:nvPicPr>
                <p:cNvPr id="71" name="Picture 70"/>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42438" y="2170061"/>
                  <a:ext cx="1707312" cy="401309"/>
                </a:xfrm>
                <a:prstGeom prst="rect">
                  <a:avLst/>
                </a:prstGeom>
              </p:spPr>
            </p:pic>
            <p:sp>
              <p:nvSpPr>
                <p:cNvPr id="72" name="Rectangle 71"/>
                <p:cNvSpPr/>
                <p:nvPr/>
              </p:nvSpPr>
              <p:spPr>
                <a:xfrm>
                  <a:off x="10072148" y="2441901"/>
                  <a:ext cx="1578027"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Active Directory</a:t>
                  </a:r>
                </a:p>
              </p:txBody>
            </p:sp>
          </p:grpSp>
          <p:grpSp>
            <p:nvGrpSpPr>
              <p:cNvPr id="7" name="Group 6"/>
              <p:cNvGrpSpPr/>
              <p:nvPr/>
            </p:nvGrpSpPr>
            <p:grpSpPr>
              <a:xfrm>
                <a:off x="10249780" y="1791787"/>
                <a:ext cx="1236079" cy="814320"/>
                <a:chOff x="10339871" y="1911022"/>
                <a:chExt cx="971551" cy="640051"/>
              </a:xfrm>
            </p:grpSpPr>
            <p:sp>
              <p:nvSpPr>
                <p:cNvPr id="342" name="Freeform 11"/>
                <p:cNvSpPr>
                  <a:spLocks noEditPoints="1"/>
                </p:cNvSpPr>
                <p:nvPr/>
              </p:nvSpPr>
              <p:spPr bwMode="auto">
                <a:xfrm>
                  <a:off x="10339871" y="1911022"/>
                  <a:ext cx="971551" cy="640051"/>
                </a:xfrm>
                <a:custGeom>
                  <a:avLst/>
                  <a:gdLst>
                    <a:gd name="T0" fmla="*/ 380 w 762"/>
                    <a:gd name="T1" fmla="*/ 0 h 502"/>
                    <a:gd name="T2" fmla="*/ 380 w 762"/>
                    <a:gd name="T3" fmla="*/ 0 h 502"/>
                    <a:gd name="T4" fmla="*/ 379 w 762"/>
                    <a:gd name="T5" fmla="*/ 502 h 502"/>
                    <a:gd name="T6" fmla="*/ 0 w 762"/>
                    <a:gd name="T7" fmla="*/ 440 h 502"/>
                    <a:gd name="T8" fmla="*/ 380 w 762"/>
                    <a:gd name="T9" fmla="*/ 0 h 502"/>
                    <a:gd name="T10" fmla="*/ 380 w 762"/>
                    <a:gd name="T11" fmla="*/ 0 h 502"/>
                    <a:gd name="T12" fmla="*/ 383 w 762"/>
                    <a:gd name="T13" fmla="*/ 502 h 502"/>
                    <a:gd name="T14" fmla="*/ 762 w 762"/>
                    <a:gd name="T15" fmla="*/ 440 h 502"/>
                    <a:gd name="T16" fmla="*/ 383 w 762"/>
                    <a:gd name="T17" fmla="*/ 0 h 502"/>
                    <a:gd name="T18" fmla="*/ 383 w 762"/>
                    <a:gd name="T1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2" h="502">
                      <a:moveTo>
                        <a:pt x="380" y="0"/>
                      </a:moveTo>
                      <a:lnTo>
                        <a:pt x="380" y="0"/>
                      </a:lnTo>
                      <a:lnTo>
                        <a:pt x="379" y="502"/>
                      </a:lnTo>
                      <a:lnTo>
                        <a:pt x="0" y="440"/>
                      </a:lnTo>
                      <a:lnTo>
                        <a:pt x="380" y="0"/>
                      </a:lnTo>
                      <a:lnTo>
                        <a:pt x="380" y="0"/>
                      </a:lnTo>
                      <a:close/>
                      <a:moveTo>
                        <a:pt x="383" y="502"/>
                      </a:moveTo>
                      <a:lnTo>
                        <a:pt x="762" y="440"/>
                      </a:lnTo>
                      <a:lnTo>
                        <a:pt x="383" y="0"/>
                      </a:lnTo>
                      <a:lnTo>
                        <a:pt x="383" y="502"/>
                      </a:lnTo>
                      <a:close/>
                    </a:path>
                  </a:pathLst>
                </a:custGeom>
                <a:noFill/>
                <a:ln w="15875"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43" name="Freeform 12"/>
                <p:cNvSpPr>
                  <a:spLocks noEditPoints="1"/>
                </p:cNvSpPr>
                <p:nvPr/>
              </p:nvSpPr>
              <p:spPr bwMode="auto">
                <a:xfrm>
                  <a:off x="10452071" y="2090798"/>
                  <a:ext cx="747151" cy="391426"/>
                </a:xfrm>
                <a:custGeom>
                  <a:avLst/>
                  <a:gdLst>
                    <a:gd name="T0" fmla="*/ 205 w 610"/>
                    <a:gd name="T1" fmla="*/ 34 h 319"/>
                    <a:gd name="T2" fmla="*/ 242 w 610"/>
                    <a:gd name="T3" fmla="*/ 0 h 319"/>
                    <a:gd name="T4" fmla="*/ 280 w 610"/>
                    <a:gd name="T5" fmla="*/ 34 h 319"/>
                    <a:gd name="T6" fmla="*/ 242 w 610"/>
                    <a:gd name="T7" fmla="*/ 69 h 319"/>
                    <a:gd name="T8" fmla="*/ 205 w 610"/>
                    <a:gd name="T9" fmla="*/ 34 h 319"/>
                    <a:gd name="T10" fmla="*/ 403 w 610"/>
                    <a:gd name="T11" fmla="*/ 34 h 319"/>
                    <a:gd name="T12" fmla="*/ 365 w 610"/>
                    <a:gd name="T13" fmla="*/ 0 h 319"/>
                    <a:gd name="T14" fmla="*/ 327 w 610"/>
                    <a:gd name="T15" fmla="*/ 34 h 319"/>
                    <a:gd name="T16" fmla="*/ 365 w 610"/>
                    <a:gd name="T17" fmla="*/ 69 h 319"/>
                    <a:gd name="T18" fmla="*/ 403 w 610"/>
                    <a:gd name="T19" fmla="*/ 34 h 319"/>
                    <a:gd name="T20" fmla="*/ 205 w 610"/>
                    <a:gd name="T21" fmla="*/ 284 h 319"/>
                    <a:gd name="T22" fmla="*/ 242 w 610"/>
                    <a:gd name="T23" fmla="*/ 319 h 319"/>
                    <a:gd name="T24" fmla="*/ 280 w 610"/>
                    <a:gd name="T25" fmla="*/ 284 h 319"/>
                    <a:gd name="T26" fmla="*/ 242 w 610"/>
                    <a:gd name="T27" fmla="*/ 250 h 319"/>
                    <a:gd name="T28" fmla="*/ 205 w 610"/>
                    <a:gd name="T29" fmla="*/ 284 h 319"/>
                    <a:gd name="T30" fmla="*/ 403 w 610"/>
                    <a:gd name="T31" fmla="*/ 284 h 319"/>
                    <a:gd name="T32" fmla="*/ 365 w 610"/>
                    <a:gd name="T33" fmla="*/ 250 h 319"/>
                    <a:gd name="T34" fmla="*/ 327 w 610"/>
                    <a:gd name="T35" fmla="*/ 284 h 319"/>
                    <a:gd name="T36" fmla="*/ 365 w 610"/>
                    <a:gd name="T37" fmla="*/ 319 h 319"/>
                    <a:gd name="T38" fmla="*/ 403 w 610"/>
                    <a:gd name="T39" fmla="*/ 284 h 319"/>
                    <a:gd name="T40" fmla="*/ 506 w 610"/>
                    <a:gd name="T41" fmla="*/ 266 h 319"/>
                    <a:gd name="T42" fmla="*/ 468 w 610"/>
                    <a:gd name="T43" fmla="*/ 232 h 319"/>
                    <a:gd name="T44" fmla="*/ 430 w 610"/>
                    <a:gd name="T45" fmla="*/ 266 h 319"/>
                    <a:gd name="T46" fmla="*/ 468 w 610"/>
                    <a:gd name="T47" fmla="*/ 301 h 319"/>
                    <a:gd name="T48" fmla="*/ 506 w 610"/>
                    <a:gd name="T49" fmla="*/ 266 h 319"/>
                    <a:gd name="T50" fmla="*/ 104 w 610"/>
                    <a:gd name="T51" fmla="*/ 266 h 319"/>
                    <a:gd name="T52" fmla="*/ 141 w 610"/>
                    <a:gd name="T53" fmla="*/ 301 h 319"/>
                    <a:gd name="T54" fmla="*/ 178 w 610"/>
                    <a:gd name="T55" fmla="*/ 266 h 319"/>
                    <a:gd name="T56" fmla="*/ 141 w 610"/>
                    <a:gd name="T57" fmla="*/ 232 h 319"/>
                    <a:gd name="T58" fmla="*/ 104 w 610"/>
                    <a:gd name="T59" fmla="*/ 266 h 319"/>
                    <a:gd name="T60" fmla="*/ 610 w 610"/>
                    <a:gd name="T61" fmla="*/ 255 h 319"/>
                    <a:gd name="T62" fmla="*/ 572 w 610"/>
                    <a:gd name="T63" fmla="*/ 219 h 319"/>
                    <a:gd name="T64" fmla="*/ 533 w 610"/>
                    <a:gd name="T65" fmla="*/ 255 h 319"/>
                    <a:gd name="T66" fmla="*/ 572 w 610"/>
                    <a:gd name="T67" fmla="*/ 290 h 319"/>
                    <a:gd name="T68" fmla="*/ 610 w 610"/>
                    <a:gd name="T69" fmla="*/ 255 h 319"/>
                    <a:gd name="T70" fmla="*/ 77 w 610"/>
                    <a:gd name="T71" fmla="*/ 255 h 319"/>
                    <a:gd name="T72" fmla="*/ 39 w 610"/>
                    <a:gd name="T73" fmla="*/ 219 h 319"/>
                    <a:gd name="T74" fmla="*/ 0 w 610"/>
                    <a:gd name="T75" fmla="*/ 255 h 319"/>
                    <a:gd name="T76" fmla="*/ 39 w 610"/>
                    <a:gd name="T77" fmla="*/ 290 h 319"/>
                    <a:gd name="T78" fmla="*/ 77 w 610"/>
                    <a:gd name="T79" fmla="*/ 255 h 319"/>
                    <a:gd name="T80" fmla="*/ 205 w 610"/>
                    <a:gd name="T81" fmla="*/ 150 h 319"/>
                    <a:gd name="T82" fmla="*/ 242 w 610"/>
                    <a:gd name="T83" fmla="*/ 185 h 319"/>
                    <a:gd name="T84" fmla="*/ 280 w 610"/>
                    <a:gd name="T85" fmla="*/ 150 h 319"/>
                    <a:gd name="T86" fmla="*/ 242 w 610"/>
                    <a:gd name="T87" fmla="*/ 116 h 319"/>
                    <a:gd name="T88" fmla="*/ 205 w 610"/>
                    <a:gd name="T89" fmla="*/ 150 h 319"/>
                    <a:gd name="T90" fmla="*/ 403 w 610"/>
                    <a:gd name="T91" fmla="*/ 150 h 319"/>
                    <a:gd name="T92" fmla="*/ 365 w 610"/>
                    <a:gd name="T93" fmla="*/ 116 h 319"/>
                    <a:gd name="T94" fmla="*/ 327 w 610"/>
                    <a:gd name="T95" fmla="*/ 150 h 319"/>
                    <a:gd name="T96" fmla="*/ 365 w 610"/>
                    <a:gd name="T97" fmla="*/ 185 h 319"/>
                    <a:gd name="T98" fmla="*/ 403 w 610"/>
                    <a:gd name="T99" fmla="*/ 150 h 319"/>
                    <a:gd name="T100" fmla="*/ 506 w 610"/>
                    <a:gd name="T101" fmla="*/ 145 h 319"/>
                    <a:gd name="T102" fmla="*/ 468 w 610"/>
                    <a:gd name="T103" fmla="*/ 110 h 319"/>
                    <a:gd name="T104" fmla="*/ 430 w 610"/>
                    <a:gd name="T105" fmla="*/ 145 h 319"/>
                    <a:gd name="T106" fmla="*/ 468 w 610"/>
                    <a:gd name="T107" fmla="*/ 179 h 319"/>
                    <a:gd name="T108" fmla="*/ 506 w 610"/>
                    <a:gd name="T109" fmla="*/ 145 h 319"/>
                    <a:gd name="T110" fmla="*/ 99 w 610"/>
                    <a:gd name="T111" fmla="*/ 145 h 319"/>
                    <a:gd name="T112" fmla="*/ 137 w 610"/>
                    <a:gd name="T113" fmla="*/ 179 h 319"/>
                    <a:gd name="T114" fmla="*/ 174 w 610"/>
                    <a:gd name="T115" fmla="*/ 145 h 319"/>
                    <a:gd name="T116" fmla="*/ 137 w 610"/>
                    <a:gd name="T117" fmla="*/ 110 h 319"/>
                    <a:gd name="T118" fmla="*/ 99 w 610"/>
                    <a:gd name="T119" fmla="*/ 1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0" h="319">
                      <a:moveTo>
                        <a:pt x="205" y="34"/>
                      </a:moveTo>
                      <a:cubicBezTo>
                        <a:pt x="205" y="15"/>
                        <a:pt x="222" y="0"/>
                        <a:pt x="242" y="0"/>
                      </a:cubicBezTo>
                      <a:cubicBezTo>
                        <a:pt x="263" y="0"/>
                        <a:pt x="280" y="15"/>
                        <a:pt x="280" y="34"/>
                      </a:cubicBezTo>
                      <a:cubicBezTo>
                        <a:pt x="280" y="53"/>
                        <a:pt x="263" y="69"/>
                        <a:pt x="242" y="69"/>
                      </a:cubicBezTo>
                      <a:cubicBezTo>
                        <a:pt x="222" y="69"/>
                        <a:pt x="205" y="53"/>
                        <a:pt x="205" y="34"/>
                      </a:cubicBezTo>
                      <a:close/>
                      <a:moveTo>
                        <a:pt x="403" y="34"/>
                      </a:moveTo>
                      <a:cubicBezTo>
                        <a:pt x="403" y="15"/>
                        <a:pt x="386" y="0"/>
                        <a:pt x="365" y="0"/>
                      </a:cubicBezTo>
                      <a:cubicBezTo>
                        <a:pt x="344" y="0"/>
                        <a:pt x="327" y="15"/>
                        <a:pt x="327" y="34"/>
                      </a:cubicBezTo>
                      <a:cubicBezTo>
                        <a:pt x="327" y="53"/>
                        <a:pt x="344" y="69"/>
                        <a:pt x="365" y="69"/>
                      </a:cubicBezTo>
                      <a:cubicBezTo>
                        <a:pt x="386" y="69"/>
                        <a:pt x="403" y="53"/>
                        <a:pt x="403" y="34"/>
                      </a:cubicBezTo>
                      <a:close/>
                      <a:moveTo>
                        <a:pt x="205" y="284"/>
                      </a:moveTo>
                      <a:cubicBezTo>
                        <a:pt x="205" y="303"/>
                        <a:pt x="222" y="319"/>
                        <a:pt x="242" y="319"/>
                      </a:cubicBezTo>
                      <a:cubicBezTo>
                        <a:pt x="263" y="319"/>
                        <a:pt x="280" y="303"/>
                        <a:pt x="280" y="284"/>
                      </a:cubicBezTo>
                      <a:cubicBezTo>
                        <a:pt x="280" y="265"/>
                        <a:pt x="263" y="250"/>
                        <a:pt x="242" y="250"/>
                      </a:cubicBezTo>
                      <a:cubicBezTo>
                        <a:pt x="222" y="250"/>
                        <a:pt x="205" y="265"/>
                        <a:pt x="205" y="284"/>
                      </a:cubicBezTo>
                      <a:close/>
                      <a:moveTo>
                        <a:pt x="403" y="284"/>
                      </a:moveTo>
                      <a:cubicBezTo>
                        <a:pt x="403" y="265"/>
                        <a:pt x="386" y="250"/>
                        <a:pt x="365" y="250"/>
                      </a:cubicBezTo>
                      <a:cubicBezTo>
                        <a:pt x="344" y="250"/>
                        <a:pt x="327" y="265"/>
                        <a:pt x="327" y="284"/>
                      </a:cubicBezTo>
                      <a:cubicBezTo>
                        <a:pt x="327" y="303"/>
                        <a:pt x="344" y="319"/>
                        <a:pt x="365" y="319"/>
                      </a:cubicBezTo>
                      <a:cubicBezTo>
                        <a:pt x="386" y="319"/>
                        <a:pt x="403" y="303"/>
                        <a:pt x="403" y="284"/>
                      </a:cubicBezTo>
                      <a:close/>
                      <a:moveTo>
                        <a:pt x="506" y="266"/>
                      </a:moveTo>
                      <a:cubicBezTo>
                        <a:pt x="506" y="247"/>
                        <a:pt x="489" y="232"/>
                        <a:pt x="468" y="232"/>
                      </a:cubicBezTo>
                      <a:cubicBezTo>
                        <a:pt x="447" y="232"/>
                        <a:pt x="430" y="247"/>
                        <a:pt x="430" y="266"/>
                      </a:cubicBezTo>
                      <a:cubicBezTo>
                        <a:pt x="430" y="285"/>
                        <a:pt x="447" y="301"/>
                        <a:pt x="468" y="301"/>
                      </a:cubicBezTo>
                      <a:cubicBezTo>
                        <a:pt x="489" y="301"/>
                        <a:pt x="506" y="285"/>
                        <a:pt x="506" y="266"/>
                      </a:cubicBezTo>
                      <a:close/>
                      <a:moveTo>
                        <a:pt x="104" y="266"/>
                      </a:moveTo>
                      <a:cubicBezTo>
                        <a:pt x="104" y="285"/>
                        <a:pt x="120" y="301"/>
                        <a:pt x="141" y="301"/>
                      </a:cubicBezTo>
                      <a:cubicBezTo>
                        <a:pt x="161" y="301"/>
                        <a:pt x="178" y="285"/>
                        <a:pt x="178" y="266"/>
                      </a:cubicBezTo>
                      <a:cubicBezTo>
                        <a:pt x="178" y="247"/>
                        <a:pt x="161" y="232"/>
                        <a:pt x="141" y="232"/>
                      </a:cubicBezTo>
                      <a:cubicBezTo>
                        <a:pt x="120" y="232"/>
                        <a:pt x="104" y="247"/>
                        <a:pt x="104" y="266"/>
                      </a:cubicBezTo>
                      <a:close/>
                      <a:moveTo>
                        <a:pt x="610" y="255"/>
                      </a:moveTo>
                      <a:cubicBezTo>
                        <a:pt x="610" y="235"/>
                        <a:pt x="593" y="219"/>
                        <a:pt x="572" y="219"/>
                      </a:cubicBezTo>
                      <a:cubicBezTo>
                        <a:pt x="551" y="219"/>
                        <a:pt x="533" y="235"/>
                        <a:pt x="533" y="255"/>
                      </a:cubicBezTo>
                      <a:cubicBezTo>
                        <a:pt x="533" y="274"/>
                        <a:pt x="551" y="290"/>
                        <a:pt x="572" y="290"/>
                      </a:cubicBezTo>
                      <a:cubicBezTo>
                        <a:pt x="593" y="290"/>
                        <a:pt x="610" y="274"/>
                        <a:pt x="610" y="255"/>
                      </a:cubicBezTo>
                      <a:close/>
                      <a:moveTo>
                        <a:pt x="77" y="255"/>
                      </a:moveTo>
                      <a:cubicBezTo>
                        <a:pt x="77" y="235"/>
                        <a:pt x="60" y="219"/>
                        <a:pt x="39" y="219"/>
                      </a:cubicBezTo>
                      <a:cubicBezTo>
                        <a:pt x="18" y="219"/>
                        <a:pt x="0" y="235"/>
                        <a:pt x="0" y="255"/>
                      </a:cubicBezTo>
                      <a:cubicBezTo>
                        <a:pt x="0" y="274"/>
                        <a:pt x="18" y="290"/>
                        <a:pt x="39" y="290"/>
                      </a:cubicBezTo>
                      <a:cubicBezTo>
                        <a:pt x="60" y="290"/>
                        <a:pt x="77" y="274"/>
                        <a:pt x="77" y="255"/>
                      </a:cubicBezTo>
                      <a:close/>
                      <a:moveTo>
                        <a:pt x="205" y="150"/>
                      </a:moveTo>
                      <a:cubicBezTo>
                        <a:pt x="205" y="169"/>
                        <a:pt x="222" y="185"/>
                        <a:pt x="242" y="185"/>
                      </a:cubicBezTo>
                      <a:cubicBezTo>
                        <a:pt x="263" y="185"/>
                        <a:pt x="280" y="169"/>
                        <a:pt x="280" y="150"/>
                      </a:cubicBezTo>
                      <a:cubicBezTo>
                        <a:pt x="280" y="131"/>
                        <a:pt x="263" y="116"/>
                        <a:pt x="242" y="116"/>
                      </a:cubicBezTo>
                      <a:cubicBezTo>
                        <a:pt x="222" y="116"/>
                        <a:pt x="205" y="131"/>
                        <a:pt x="205" y="150"/>
                      </a:cubicBezTo>
                      <a:close/>
                      <a:moveTo>
                        <a:pt x="403" y="150"/>
                      </a:moveTo>
                      <a:cubicBezTo>
                        <a:pt x="403" y="131"/>
                        <a:pt x="386" y="116"/>
                        <a:pt x="365" y="116"/>
                      </a:cubicBezTo>
                      <a:cubicBezTo>
                        <a:pt x="344" y="116"/>
                        <a:pt x="327" y="131"/>
                        <a:pt x="327" y="150"/>
                      </a:cubicBezTo>
                      <a:cubicBezTo>
                        <a:pt x="327" y="169"/>
                        <a:pt x="344" y="185"/>
                        <a:pt x="365" y="185"/>
                      </a:cubicBezTo>
                      <a:cubicBezTo>
                        <a:pt x="386" y="185"/>
                        <a:pt x="403" y="169"/>
                        <a:pt x="403" y="150"/>
                      </a:cubicBezTo>
                      <a:close/>
                      <a:moveTo>
                        <a:pt x="506" y="145"/>
                      </a:moveTo>
                      <a:cubicBezTo>
                        <a:pt x="506" y="126"/>
                        <a:pt x="489" y="110"/>
                        <a:pt x="468" y="110"/>
                      </a:cubicBezTo>
                      <a:cubicBezTo>
                        <a:pt x="447" y="110"/>
                        <a:pt x="430" y="126"/>
                        <a:pt x="430" y="145"/>
                      </a:cubicBezTo>
                      <a:cubicBezTo>
                        <a:pt x="430" y="164"/>
                        <a:pt x="447" y="179"/>
                        <a:pt x="468" y="179"/>
                      </a:cubicBezTo>
                      <a:cubicBezTo>
                        <a:pt x="489" y="179"/>
                        <a:pt x="506" y="164"/>
                        <a:pt x="506" y="145"/>
                      </a:cubicBezTo>
                      <a:close/>
                      <a:moveTo>
                        <a:pt x="99" y="145"/>
                      </a:moveTo>
                      <a:cubicBezTo>
                        <a:pt x="99" y="164"/>
                        <a:pt x="116" y="179"/>
                        <a:pt x="137" y="179"/>
                      </a:cubicBezTo>
                      <a:cubicBezTo>
                        <a:pt x="157" y="179"/>
                        <a:pt x="174" y="164"/>
                        <a:pt x="174" y="145"/>
                      </a:cubicBezTo>
                      <a:cubicBezTo>
                        <a:pt x="174" y="126"/>
                        <a:pt x="157" y="110"/>
                        <a:pt x="137" y="110"/>
                      </a:cubicBezTo>
                      <a:cubicBezTo>
                        <a:pt x="116" y="110"/>
                        <a:pt x="99" y="126"/>
                        <a:pt x="99" y="1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44" name="Freeform 13"/>
                <p:cNvSpPr>
                  <a:spLocks noEditPoints="1"/>
                </p:cNvSpPr>
                <p:nvPr/>
              </p:nvSpPr>
              <p:spPr bwMode="auto">
                <a:xfrm>
                  <a:off x="10524747" y="2137972"/>
                  <a:ext cx="595426" cy="286876"/>
                </a:xfrm>
                <a:custGeom>
                  <a:avLst/>
                  <a:gdLst>
                    <a:gd name="T0" fmla="*/ 285 w 487"/>
                    <a:gd name="T1" fmla="*/ 232 h 234"/>
                    <a:gd name="T2" fmla="*/ 265 w 487"/>
                    <a:gd name="T3" fmla="*/ 233 h 234"/>
                    <a:gd name="T4" fmla="*/ 195 w 487"/>
                    <a:gd name="T5" fmla="*/ 140 h 234"/>
                    <a:gd name="T6" fmla="*/ 178 w 487"/>
                    <a:gd name="T7" fmla="*/ 25 h 234"/>
                    <a:gd name="T8" fmla="*/ 178 w 487"/>
                    <a:gd name="T9" fmla="*/ 222 h 234"/>
                    <a:gd name="T10" fmla="*/ 331 w 487"/>
                    <a:gd name="T11" fmla="*/ 14 h 234"/>
                    <a:gd name="T12" fmla="*/ 487 w 487"/>
                    <a:gd name="T13" fmla="*/ 195 h 234"/>
                    <a:gd name="T14" fmla="*/ 153 w 487"/>
                    <a:gd name="T15" fmla="*/ 14 h 234"/>
                    <a:gd name="T16" fmla="*/ 0 w 487"/>
                    <a:gd name="T17" fmla="*/ 195 h 234"/>
                    <a:gd name="T18" fmla="*/ 156 w 487"/>
                    <a:gd name="T19" fmla="*/ 132 h 234"/>
                    <a:gd name="T20" fmla="*/ 103 w 487"/>
                    <a:gd name="T21" fmla="*/ 209 h 234"/>
                    <a:gd name="T22" fmla="*/ 325 w 487"/>
                    <a:gd name="T23" fmla="*/ 132 h 234"/>
                    <a:gd name="T24" fmla="*/ 382 w 487"/>
                    <a:gd name="T25" fmla="*/ 209 h 234"/>
                    <a:gd name="T26" fmla="*/ 191 w 487"/>
                    <a:gd name="T27" fmla="*/ 8 h 234"/>
                    <a:gd name="T28" fmla="*/ 282 w 487"/>
                    <a:gd name="T29" fmla="*/ 0 h 234"/>
                    <a:gd name="T30" fmla="*/ 203 w 487"/>
                    <a:gd name="T31" fmla="*/ 231 h 234"/>
                    <a:gd name="T32" fmla="*/ 222 w 487"/>
                    <a:gd name="T33" fmla="*/ 231 h 234"/>
                    <a:gd name="T34" fmla="*/ 290 w 487"/>
                    <a:gd name="T35" fmla="*/ 138 h 234"/>
                    <a:gd name="T36" fmla="*/ 304 w 487"/>
                    <a:gd name="T37" fmla="*/ 19 h 234"/>
                    <a:gd name="T38" fmla="*/ 304 w 487"/>
                    <a:gd name="T39" fmla="*/ 228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7" h="234">
                      <a:moveTo>
                        <a:pt x="285" y="232"/>
                      </a:moveTo>
                      <a:cubicBezTo>
                        <a:pt x="278" y="233"/>
                        <a:pt x="272" y="234"/>
                        <a:pt x="265" y="233"/>
                      </a:cubicBezTo>
                      <a:cubicBezTo>
                        <a:pt x="221" y="228"/>
                        <a:pt x="190" y="186"/>
                        <a:pt x="195" y="140"/>
                      </a:cubicBezTo>
                      <a:moveTo>
                        <a:pt x="178" y="25"/>
                      </a:moveTo>
                      <a:cubicBezTo>
                        <a:pt x="178" y="222"/>
                        <a:pt x="178" y="222"/>
                        <a:pt x="178" y="222"/>
                      </a:cubicBezTo>
                      <a:moveTo>
                        <a:pt x="331" y="14"/>
                      </a:moveTo>
                      <a:cubicBezTo>
                        <a:pt x="487" y="195"/>
                        <a:pt x="487" y="195"/>
                        <a:pt x="487" y="195"/>
                      </a:cubicBezTo>
                      <a:moveTo>
                        <a:pt x="153" y="14"/>
                      </a:moveTo>
                      <a:cubicBezTo>
                        <a:pt x="0" y="195"/>
                        <a:pt x="0" y="195"/>
                        <a:pt x="0" y="195"/>
                      </a:cubicBezTo>
                      <a:moveTo>
                        <a:pt x="156" y="132"/>
                      </a:moveTo>
                      <a:cubicBezTo>
                        <a:pt x="103" y="209"/>
                        <a:pt x="103" y="209"/>
                        <a:pt x="103" y="209"/>
                      </a:cubicBezTo>
                      <a:moveTo>
                        <a:pt x="325" y="132"/>
                      </a:moveTo>
                      <a:cubicBezTo>
                        <a:pt x="382" y="209"/>
                        <a:pt x="382" y="209"/>
                        <a:pt x="382" y="209"/>
                      </a:cubicBezTo>
                      <a:moveTo>
                        <a:pt x="191" y="8"/>
                      </a:moveTo>
                      <a:cubicBezTo>
                        <a:pt x="224" y="32"/>
                        <a:pt x="264" y="28"/>
                        <a:pt x="282" y="0"/>
                      </a:cubicBezTo>
                      <a:moveTo>
                        <a:pt x="203" y="231"/>
                      </a:moveTo>
                      <a:cubicBezTo>
                        <a:pt x="209" y="232"/>
                        <a:pt x="215" y="232"/>
                        <a:pt x="222" y="231"/>
                      </a:cubicBezTo>
                      <a:cubicBezTo>
                        <a:pt x="264" y="226"/>
                        <a:pt x="295" y="184"/>
                        <a:pt x="290" y="138"/>
                      </a:cubicBezTo>
                      <a:moveTo>
                        <a:pt x="304" y="19"/>
                      </a:moveTo>
                      <a:cubicBezTo>
                        <a:pt x="304" y="228"/>
                        <a:pt x="304" y="228"/>
                        <a:pt x="304" y="228"/>
                      </a:cubicBezTo>
                    </a:path>
                  </a:pathLst>
                </a:custGeom>
                <a:noFill/>
                <a:ln w="158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grpSp>
        <p:nvGrpSpPr>
          <p:cNvPr id="12" name="Group 11"/>
          <p:cNvGrpSpPr/>
          <p:nvPr/>
        </p:nvGrpSpPr>
        <p:grpSpPr>
          <a:xfrm>
            <a:off x="2007990" y="2685972"/>
            <a:ext cx="1622816" cy="1813567"/>
            <a:chOff x="2007391" y="2685856"/>
            <a:chExt cx="1623047" cy="1813824"/>
          </a:xfrm>
        </p:grpSpPr>
        <p:sp>
          <p:nvSpPr>
            <p:cNvPr id="143" name="Rectangle 142"/>
            <p:cNvSpPr/>
            <p:nvPr/>
          </p:nvSpPr>
          <p:spPr>
            <a:xfrm>
              <a:off x="2007391" y="3935553"/>
              <a:ext cx="1623047" cy="564127"/>
            </a:xfrm>
            <a:prstGeom prst="rect">
              <a:avLst/>
            </a:prstGeom>
            <a:ln>
              <a:noFill/>
            </a:ln>
          </p:spPr>
          <p:txBody>
            <a:bodyPr wrap="square" lIns="0" tIns="0" rIns="0" bIns="0" anchor="ctr">
              <a:spAutoFit/>
            </a:bodyPr>
            <a:lstStyle/>
            <a:p>
              <a:pPr algn="ctr" defTabSz="1096269" fontAlgn="base">
                <a:spcAft>
                  <a:spcPct val="0"/>
                </a:spcAft>
              </a:pPr>
              <a:r>
                <a:rPr lang="en-US" sz="1198" dirty="0">
                  <a:ln>
                    <a:solidFill>
                      <a:srgbClr val="FFFFFF">
                        <a:alpha val="0"/>
                      </a:srgbClr>
                    </a:solidFill>
                  </a:ln>
                  <a:solidFill>
                    <a:srgbClr val="FFFFFF"/>
                  </a:solidFill>
                </a:rPr>
                <a:t>Resources in other businesses or identity realms</a:t>
              </a:r>
            </a:p>
          </p:txBody>
        </p:sp>
        <p:pic>
          <p:nvPicPr>
            <p:cNvPr id="11" name="Picture 10"/>
            <p:cNvPicPr>
              <a:picLocks noChangeAspect="1"/>
            </p:cNvPicPr>
            <p:nvPr/>
          </p:nvPicPr>
          <p:blipFill>
            <a:blip r:embed="rId14" cstate="print">
              <a:biLevel thresh="25000"/>
              <a:extLst>
                <a:ext uri="{28A0092B-C50C-407E-A947-70E740481C1C}">
                  <a14:useLocalDpi xmlns:a14="http://schemas.microsoft.com/office/drawing/2010/main" val="0"/>
                </a:ext>
              </a:extLst>
            </a:blip>
            <a:stretch>
              <a:fillRect/>
            </a:stretch>
          </p:blipFill>
          <p:spPr>
            <a:xfrm>
              <a:off x="2305153" y="2685856"/>
              <a:ext cx="1013210" cy="1234748"/>
            </a:xfrm>
            <a:prstGeom prst="rect">
              <a:avLst/>
            </a:prstGeom>
          </p:spPr>
        </p:pic>
      </p:grpSp>
      <p:grpSp>
        <p:nvGrpSpPr>
          <p:cNvPr id="345" name="Group 344"/>
          <p:cNvGrpSpPr>
            <a:grpSpLocks noChangeAspect="1"/>
          </p:cNvGrpSpPr>
          <p:nvPr/>
        </p:nvGrpSpPr>
        <p:grpSpPr>
          <a:xfrm>
            <a:off x="2113056" y="1688721"/>
            <a:ext cx="582436" cy="619706"/>
            <a:chOff x="8956177" y="3970370"/>
            <a:chExt cx="1215849" cy="1293648"/>
          </a:xfrm>
        </p:grpSpPr>
        <p:sp>
          <p:nvSpPr>
            <p:cNvPr id="346" name="Rectangle 345"/>
            <p:cNvSpPr>
              <a:spLocks noChangeAspect="1"/>
            </p:cNvSpPr>
            <p:nvPr/>
          </p:nvSpPr>
          <p:spPr>
            <a:xfrm>
              <a:off x="8956177" y="4983820"/>
              <a:ext cx="1215849" cy="280198"/>
            </a:xfrm>
            <a:prstGeom prst="rect">
              <a:avLst/>
            </a:prstGeom>
            <a:noFill/>
            <a:ln>
              <a:noFill/>
            </a:ln>
          </p:spPr>
          <p:txBody>
            <a:bodyPr wrap="square" lIns="0" tIns="0" rIns="0" bIns="0" anchor="ctr">
              <a:spAutoFit/>
            </a:bodyPr>
            <a:lstStyle/>
            <a:p>
              <a:pPr algn="ctr" defTabSz="1118108" fontAlgn="base">
                <a:spcAft>
                  <a:spcPct val="0"/>
                </a:spcAft>
              </a:pPr>
              <a:endParaRPr lang="en-US" sz="1224" dirty="0">
                <a:ln>
                  <a:solidFill>
                    <a:srgbClr val="FFFFFF">
                      <a:alpha val="0"/>
                    </a:srgbClr>
                  </a:solidFill>
                </a:ln>
                <a:solidFill>
                  <a:srgbClr val="FFFFFF"/>
                </a:solidFill>
                <a:latin typeface="Segoe"/>
              </a:endParaRPr>
            </a:p>
          </p:txBody>
        </p:sp>
        <p:sp>
          <p:nvSpPr>
            <p:cNvPr id="347"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spTree>
    <p:extLst>
      <p:ext uri="{BB962C8B-B14F-4D97-AF65-F5344CB8AC3E}">
        <p14:creationId xmlns:p14="http://schemas.microsoft.com/office/powerpoint/2010/main" val="4107661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5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5" grpId="0"/>
      <p:bldP spid="53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place Join</a:t>
            </a:r>
            <a:endParaRPr lang="en-US" dirty="0"/>
          </a:p>
        </p:txBody>
      </p:sp>
      <p:sp>
        <p:nvSpPr>
          <p:cNvPr id="27" name="Text Placeholder 4"/>
          <p:cNvSpPr txBox="1">
            <a:spLocks/>
          </p:cNvSpPr>
          <p:nvPr/>
        </p:nvSpPr>
        <p:spPr>
          <a:xfrm>
            <a:off x="276684" y="1403457"/>
            <a:ext cx="11887200" cy="453047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Associates the device with </a:t>
            </a:r>
            <a:r>
              <a:rPr lang="en-US" dirty="0" smtClean="0">
                <a:solidFill>
                  <a:schemeClr val="tx1"/>
                </a:solidFill>
              </a:rPr>
              <a:t>a user</a:t>
            </a:r>
          </a:p>
          <a:p>
            <a:pPr lvl="1">
              <a:buFont typeface="Wingdings" panose="05000000000000000000" pitchFamily="2" charset="2"/>
              <a:buChar char="Ø"/>
            </a:pPr>
            <a:r>
              <a:rPr lang="en-US" dirty="0">
                <a:solidFill>
                  <a:schemeClr val="tx1"/>
                </a:solidFill>
              </a:rPr>
              <a:t> </a:t>
            </a:r>
            <a:r>
              <a:rPr lang="en-US" dirty="0" smtClean="0">
                <a:solidFill>
                  <a:schemeClr val="tx1"/>
                </a:solidFill>
              </a:rPr>
              <a:t>Provides a </a:t>
            </a:r>
            <a:r>
              <a:rPr lang="en-US" dirty="0">
                <a:solidFill>
                  <a:schemeClr val="tx1"/>
                </a:solidFill>
              </a:rPr>
              <a:t>seamless second factor </a:t>
            </a:r>
            <a:r>
              <a:rPr lang="en-US" dirty="0" smtClean="0">
                <a:solidFill>
                  <a:schemeClr val="tx1"/>
                </a:solidFill>
              </a:rPr>
              <a:t>authentication</a:t>
            </a:r>
          </a:p>
          <a:p>
            <a:pPr lvl="1">
              <a:buFont typeface="Wingdings" panose="05000000000000000000" pitchFamily="2" charset="2"/>
              <a:buChar char="Ø"/>
            </a:pPr>
            <a:r>
              <a:rPr lang="en-US" dirty="0" smtClean="0">
                <a:solidFill>
                  <a:schemeClr val="tx1"/>
                </a:solidFill>
              </a:rPr>
              <a:t> Enables IT to conditionally restrict access only to workplace joined devices</a:t>
            </a:r>
          </a:p>
          <a:p>
            <a:pPr marL="342900" lvl="1" indent="0">
              <a:buNone/>
            </a:pPr>
            <a:endParaRPr lang="en-US" dirty="0" smtClean="0">
              <a:solidFill>
                <a:schemeClr val="tx1"/>
              </a:solidFill>
            </a:endParaRPr>
          </a:p>
          <a:p>
            <a:pPr marL="0" indent="0">
              <a:buNone/>
            </a:pPr>
            <a:r>
              <a:rPr lang="en-US" dirty="0" smtClean="0">
                <a:solidFill>
                  <a:schemeClr val="tx1"/>
                </a:solidFill>
              </a:rPr>
              <a:t>Enables </a:t>
            </a:r>
            <a:r>
              <a:rPr lang="en-US" dirty="0">
                <a:solidFill>
                  <a:schemeClr val="tx1"/>
                </a:solidFill>
              </a:rPr>
              <a:t>a better end user experience with </a:t>
            </a:r>
            <a:r>
              <a:rPr lang="en-US" dirty="0" smtClean="0">
                <a:solidFill>
                  <a:schemeClr val="tx1"/>
                </a:solidFill>
              </a:rPr>
              <a:t>SSO</a:t>
            </a:r>
          </a:p>
          <a:p>
            <a:pPr lvl="1">
              <a:buFont typeface="Wingdings" panose="05000000000000000000" pitchFamily="2" charset="2"/>
              <a:buChar char="Ø"/>
            </a:pPr>
            <a:r>
              <a:rPr lang="en-US" dirty="0" smtClean="0">
                <a:solidFill>
                  <a:schemeClr val="tx1"/>
                </a:solidFill>
              </a:rPr>
              <a:t> Avoids risks involved in saving passwords with each application</a:t>
            </a:r>
          </a:p>
          <a:p>
            <a:pPr lvl="1">
              <a:buFont typeface="Wingdings" panose="05000000000000000000" pitchFamily="2" charset="2"/>
              <a:buChar char="Ø"/>
            </a:pPr>
            <a:r>
              <a:rPr lang="en-US" dirty="0" smtClean="0">
                <a:solidFill>
                  <a:schemeClr val="tx1"/>
                </a:solidFill>
              </a:rPr>
              <a:t> Avoids users having to repeatedly enter their credentials</a:t>
            </a:r>
          </a:p>
          <a:p>
            <a:pPr marL="342900" lvl="1" indent="0">
              <a:buNone/>
            </a:pPr>
            <a:endParaRPr lang="en-US" dirty="0" smtClean="0">
              <a:solidFill>
                <a:schemeClr val="tx1"/>
              </a:solidFill>
            </a:endParaRPr>
          </a:p>
          <a:p>
            <a:pPr marL="0" indent="0">
              <a:buNone/>
            </a:pPr>
            <a:r>
              <a:rPr lang="en-US" dirty="0" smtClean="0">
                <a:solidFill>
                  <a:schemeClr val="tx1"/>
                </a:solidFill>
              </a:rPr>
              <a:t>Enabled by device </a:t>
            </a:r>
            <a:r>
              <a:rPr lang="en-US" dirty="0">
                <a:solidFill>
                  <a:schemeClr val="tx1"/>
                </a:solidFill>
              </a:rPr>
              <a:t>registration service in AD FS </a:t>
            </a:r>
          </a:p>
        </p:txBody>
      </p:sp>
    </p:spTree>
    <p:extLst>
      <p:ext uri="{BB962C8B-B14F-4D97-AF65-F5344CB8AC3E}">
        <p14:creationId xmlns:p14="http://schemas.microsoft.com/office/powerpoint/2010/main" val="161574002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anding device support</a:t>
            </a:r>
          </a:p>
        </p:txBody>
      </p:sp>
      <p:sp>
        <p:nvSpPr>
          <p:cNvPr id="4" name="Pie 3"/>
          <p:cNvSpPr/>
          <p:nvPr/>
        </p:nvSpPr>
        <p:spPr bwMode="auto">
          <a:xfrm rot="16200000">
            <a:off x="4460068" y="4024387"/>
            <a:ext cx="780548" cy="780548"/>
          </a:xfrm>
          <a:prstGeom prst="pie">
            <a:avLst>
              <a:gd name="adj1" fmla="val 4458917"/>
              <a:gd name="adj2" fmla="val 17316304"/>
            </a:avLst>
          </a:prstGeom>
          <a:solidFill>
            <a:schemeClr val="tx1"/>
          </a:solidFill>
          <a:ln w="28575">
            <a:solidFill>
              <a:schemeClr val="tx2"/>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5" name="Oval 4"/>
          <p:cNvSpPr/>
          <p:nvPr/>
        </p:nvSpPr>
        <p:spPr bwMode="auto">
          <a:xfrm>
            <a:off x="7506199" y="4036476"/>
            <a:ext cx="780549" cy="780549"/>
          </a:xfrm>
          <a:prstGeom prst="ellipse">
            <a:avLst/>
          </a:prstGeom>
          <a:solidFill>
            <a:schemeClr val="tx1"/>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sp>
        <p:nvSpPr>
          <p:cNvPr id="6" name="Oval 5"/>
          <p:cNvSpPr/>
          <p:nvPr/>
        </p:nvSpPr>
        <p:spPr bwMode="auto">
          <a:xfrm>
            <a:off x="1465103" y="4019201"/>
            <a:ext cx="780549" cy="780549"/>
          </a:xfrm>
          <a:prstGeom prst="ellipse">
            <a:avLst/>
          </a:prstGeom>
          <a:noFill/>
          <a:ln w="28575">
            <a:solidFill>
              <a:schemeClr val="tx2"/>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cxnSp>
        <p:nvCxnSpPr>
          <p:cNvPr id="7" name="Straight Arrow Connector 6"/>
          <p:cNvCxnSpPr/>
          <p:nvPr/>
        </p:nvCxnSpPr>
        <p:spPr>
          <a:xfrm flipV="1">
            <a:off x="1041183" y="3827747"/>
            <a:ext cx="8246799" cy="403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35"/>
          <p:cNvSpPr txBox="1"/>
          <p:nvPr/>
        </p:nvSpPr>
        <p:spPr>
          <a:xfrm>
            <a:off x="1249148" y="4899278"/>
            <a:ext cx="1345433" cy="531812"/>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smtClean="0">
                <a:solidFill>
                  <a:srgbClr val="FFFFFF"/>
                </a:solidFill>
                <a:latin typeface="Segoe UI"/>
              </a:rPr>
              <a:t>Limited access</a:t>
            </a:r>
          </a:p>
          <a:p>
            <a:pPr defTabSz="932597">
              <a:defRPr/>
            </a:pPr>
            <a:r>
              <a:rPr lang="en-US" sz="1428" dirty="0" smtClean="0">
                <a:solidFill>
                  <a:srgbClr val="FFFFFF"/>
                </a:solidFill>
                <a:latin typeface="Segoe UI"/>
              </a:rPr>
              <a:t>No IT Control</a:t>
            </a:r>
            <a:endParaRPr lang="en-US" sz="1428" dirty="0">
              <a:solidFill>
                <a:srgbClr val="FFFFFF"/>
              </a:solidFill>
              <a:latin typeface="Segoe UI"/>
            </a:endParaRPr>
          </a:p>
        </p:txBody>
      </p:sp>
      <p:sp>
        <p:nvSpPr>
          <p:cNvPr id="9" name="TextBox 35"/>
          <p:cNvSpPr txBox="1"/>
          <p:nvPr/>
        </p:nvSpPr>
        <p:spPr>
          <a:xfrm>
            <a:off x="3694015" y="4912495"/>
            <a:ext cx="2296633" cy="1296958"/>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600" dirty="0">
                <a:gradFill>
                  <a:gsLst>
                    <a:gs pos="0">
                      <a:srgbClr val="FFFFFF"/>
                    </a:gs>
                    <a:gs pos="100000">
                      <a:srgbClr val="FFFFFF"/>
                    </a:gs>
                  </a:gsLst>
                  <a:lin ang="5400000" scaled="0"/>
                </a:gradFill>
                <a:ea typeface="Segoe UI" pitchFamily="34" charset="0"/>
                <a:cs typeface="Segoe UI" pitchFamily="34" charset="0"/>
              </a:rPr>
              <a:t>Device at work with IT governance &amp; controlled access to apps</a:t>
            </a:r>
          </a:p>
          <a:p>
            <a:pPr defTabSz="932597">
              <a:defRPr/>
            </a:pPr>
            <a:endParaRPr lang="en-US" sz="1428" dirty="0">
              <a:solidFill>
                <a:srgbClr val="FFFFFF"/>
              </a:solidFill>
              <a:latin typeface="Segoe UI"/>
            </a:endParaRPr>
          </a:p>
        </p:txBody>
      </p:sp>
      <p:sp>
        <p:nvSpPr>
          <p:cNvPr id="10" name="TextBox 35"/>
          <p:cNvSpPr txBox="1"/>
          <p:nvPr/>
        </p:nvSpPr>
        <p:spPr>
          <a:xfrm>
            <a:off x="6943061" y="4912495"/>
            <a:ext cx="2185433" cy="757130"/>
          </a:xfrm>
          <a:prstGeom prst="rect">
            <a:avLst/>
          </a:prstGeom>
          <a:noFill/>
        </p:spPr>
        <p:txBody>
          <a:bodyPr wrap="squar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472"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Company owned device with full IT control &amp; full access</a:t>
            </a:r>
          </a:p>
        </p:txBody>
      </p:sp>
      <p:sp>
        <p:nvSpPr>
          <p:cNvPr id="14" name="TextBox 35"/>
          <p:cNvSpPr txBox="1"/>
          <p:nvPr/>
        </p:nvSpPr>
        <p:spPr>
          <a:xfrm>
            <a:off x="9294840" y="4147308"/>
            <a:ext cx="1501964" cy="318285"/>
          </a:xfrm>
          <a:prstGeom prst="rect">
            <a:avLst/>
          </a:prstGeom>
          <a:solidFill>
            <a:schemeClr val="accent1">
              <a:lumMod val="50000"/>
            </a:schemeClr>
          </a:solid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1428" dirty="0">
                <a:solidFill>
                  <a:srgbClr val="FFFFFF"/>
                </a:solidFill>
                <a:latin typeface="Segoe UI"/>
              </a:rPr>
              <a:t>Active Directory</a:t>
            </a:r>
          </a:p>
        </p:txBody>
      </p:sp>
      <p:grpSp>
        <p:nvGrpSpPr>
          <p:cNvPr id="15" name="Group 14"/>
          <p:cNvGrpSpPr/>
          <p:nvPr/>
        </p:nvGrpSpPr>
        <p:grpSpPr>
          <a:xfrm>
            <a:off x="7301249" y="2909171"/>
            <a:ext cx="1190451" cy="717920"/>
            <a:chOff x="3878534" y="2679558"/>
            <a:chExt cx="1132329" cy="869667"/>
          </a:xfrm>
        </p:grpSpPr>
        <p:grpSp>
          <p:nvGrpSpPr>
            <p:cNvPr id="16" name="Group 15"/>
            <p:cNvGrpSpPr/>
            <p:nvPr/>
          </p:nvGrpSpPr>
          <p:grpSpPr>
            <a:xfrm>
              <a:off x="3878534" y="2679558"/>
              <a:ext cx="1132329" cy="869667"/>
              <a:chOff x="4214757" y="1611143"/>
              <a:chExt cx="529892" cy="406975"/>
            </a:xfrm>
          </p:grpSpPr>
          <p:sp>
            <p:nvSpPr>
              <p:cNvPr id="18" name="Round Same Side Corner Rectangle 11"/>
              <p:cNvSpPr/>
              <p:nvPr/>
            </p:nvSpPr>
            <p:spPr>
              <a:xfrm>
                <a:off x="4255259" y="1611143"/>
                <a:ext cx="448888" cy="311084"/>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sp>
            <p:nvSpPr>
              <p:cNvPr id="19" name="Trapezoid 12"/>
              <p:cNvSpPr/>
              <p:nvPr/>
            </p:nvSpPr>
            <p:spPr>
              <a:xfrm>
                <a:off x="4214757" y="1922191"/>
                <a:ext cx="529892" cy="7234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sp>
            <p:nvSpPr>
              <p:cNvPr id="20" name="Rectangle 19"/>
              <p:cNvSpPr/>
              <p:nvPr/>
            </p:nvSpPr>
            <p:spPr>
              <a:xfrm>
                <a:off x="4214992" y="1994530"/>
                <a:ext cx="529422" cy="23588"/>
              </a:xfrm>
              <a:prstGeom prst="rect">
                <a:avLst/>
              </a:prstGeom>
              <a:solidFill>
                <a:srgbClr val="FFFFFF"/>
              </a:solidFill>
              <a:ln w="25400"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32597">
                  <a:defRPr/>
                </a:pPr>
                <a:endParaRPr lang="en-US" sz="1836"/>
              </a:p>
            </p:txBody>
          </p:sp>
        </p:grpSp>
        <p:pic>
          <p:nvPicPr>
            <p:cNvPr id="17" name="Picture 16"/>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026448" y="2719909"/>
              <a:ext cx="894912" cy="52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1" name="TextBox 35"/>
          <p:cNvSpPr txBox="1"/>
          <p:nvPr/>
        </p:nvSpPr>
        <p:spPr>
          <a:xfrm>
            <a:off x="918100" y="2430750"/>
            <a:ext cx="2141548"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smtClean="0">
                <a:solidFill>
                  <a:srgbClr val="FFFFFF"/>
                </a:solidFill>
                <a:latin typeface="Segoe UI"/>
              </a:rPr>
              <a:t>Not Joined to AD</a:t>
            </a:r>
            <a:endParaRPr lang="en-US" sz="2000" dirty="0">
              <a:solidFill>
                <a:srgbClr val="FFFFFF"/>
              </a:solidFill>
              <a:latin typeface="Segoe UI"/>
            </a:endParaRPr>
          </a:p>
        </p:txBody>
      </p:sp>
      <p:sp>
        <p:nvSpPr>
          <p:cNvPr id="22" name="TextBox 35"/>
          <p:cNvSpPr txBox="1"/>
          <p:nvPr/>
        </p:nvSpPr>
        <p:spPr>
          <a:xfrm>
            <a:off x="3932238" y="2432414"/>
            <a:ext cx="2188676"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a:solidFill>
                  <a:srgbClr val="FFFFFF"/>
                </a:solidFill>
                <a:latin typeface="Segoe UI"/>
              </a:rPr>
              <a:t>Workplace Joined</a:t>
            </a:r>
          </a:p>
        </p:txBody>
      </p:sp>
      <p:sp>
        <p:nvSpPr>
          <p:cNvPr id="23" name="TextBox 35"/>
          <p:cNvSpPr txBox="1"/>
          <p:nvPr/>
        </p:nvSpPr>
        <p:spPr>
          <a:xfrm>
            <a:off x="7044563" y="2461326"/>
            <a:ext cx="1880643" cy="400110"/>
          </a:xfrm>
          <a:prstGeom prst="rect">
            <a:avLst/>
          </a:prstGeom>
          <a:noFill/>
        </p:spPr>
        <p:txBody>
          <a:bodyPr wrap="none" rtlCol="0">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97">
              <a:defRPr/>
            </a:pPr>
            <a:r>
              <a:rPr lang="en-US" sz="2000" dirty="0">
                <a:solidFill>
                  <a:srgbClr val="FFFFFF"/>
                </a:solidFill>
                <a:latin typeface="Segoe UI"/>
              </a:rPr>
              <a:t>Domain Joined</a:t>
            </a:r>
          </a:p>
        </p:txBody>
      </p:sp>
      <p:sp>
        <p:nvSpPr>
          <p:cNvPr id="24" name="Oval 23"/>
          <p:cNvSpPr/>
          <p:nvPr/>
        </p:nvSpPr>
        <p:spPr bwMode="auto">
          <a:xfrm>
            <a:off x="4452058" y="4019201"/>
            <a:ext cx="780549" cy="780549"/>
          </a:xfrm>
          <a:prstGeom prst="ellipse">
            <a:avLst/>
          </a:prstGeom>
          <a:noFill/>
          <a:ln w="28575">
            <a:solidFill>
              <a:schemeClr val="tx1"/>
            </a:solid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err="1">
              <a:gradFill>
                <a:gsLst>
                  <a:gs pos="0">
                    <a:srgbClr val="FFFFFF"/>
                  </a:gs>
                  <a:gs pos="100000">
                    <a:srgbClr val="FFFFFF"/>
                  </a:gs>
                </a:gsLst>
                <a:lin ang="5400000" scaled="0"/>
              </a:gradFill>
            </a:endParaRPr>
          </a:p>
        </p:txBody>
      </p:sp>
      <p:grpSp>
        <p:nvGrpSpPr>
          <p:cNvPr id="72" name="Group 71"/>
          <p:cNvGrpSpPr/>
          <p:nvPr/>
        </p:nvGrpSpPr>
        <p:grpSpPr>
          <a:xfrm>
            <a:off x="4429380" y="2891024"/>
            <a:ext cx="913525" cy="740352"/>
            <a:chOff x="3654692" y="1754478"/>
            <a:chExt cx="375472" cy="271011"/>
          </a:xfrm>
        </p:grpSpPr>
        <p:sp>
          <p:nvSpPr>
            <p:cNvPr id="73" name="Freeform 107"/>
            <p:cNvSpPr>
              <a:spLocks noEditPoints="1"/>
            </p:cNvSpPr>
            <p:nvPr/>
          </p:nvSpPr>
          <p:spPr bwMode="auto">
            <a:xfrm>
              <a:off x="3654692" y="1754478"/>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74"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5" name="Group 74"/>
          <p:cNvGrpSpPr/>
          <p:nvPr/>
        </p:nvGrpSpPr>
        <p:grpSpPr>
          <a:xfrm>
            <a:off x="1431854" y="2886738"/>
            <a:ext cx="913525" cy="740352"/>
            <a:chOff x="3641026" y="1756716"/>
            <a:chExt cx="375472" cy="271011"/>
          </a:xfrm>
        </p:grpSpPr>
        <p:sp>
          <p:nvSpPr>
            <p:cNvPr id="76" name="Freeform 107"/>
            <p:cNvSpPr>
              <a:spLocks noEditPoints="1"/>
            </p:cNvSpPr>
            <p:nvPr/>
          </p:nvSpPr>
          <p:spPr bwMode="auto">
            <a:xfrm>
              <a:off x="3641026" y="1756716"/>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77" name="Picture 2"/>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 name="Freeform 5"/>
          <p:cNvSpPr>
            <a:spLocks noEditPoints="1"/>
          </p:cNvSpPr>
          <p:nvPr/>
        </p:nvSpPr>
        <p:spPr bwMode="auto">
          <a:xfrm>
            <a:off x="1035432" y="3017215"/>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2" name="Freeform 5"/>
          <p:cNvSpPr>
            <a:spLocks noEditPoints="1"/>
          </p:cNvSpPr>
          <p:nvPr/>
        </p:nvSpPr>
        <p:spPr bwMode="auto">
          <a:xfrm>
            <a:off x="4009009" y="3040063"/>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53" name="Freeform 5"/>
          <p:cNvSpPr>
            <a:spLocks noEditPoints="1"/>
          </p:cNvSpPr>
          <p:nvPr/>
        </p:nvSpPr>
        <p:spPr bwMode="auto">
          <a:xfrm>
            <a:off x="6909788" y="3037054"/>
            <a:ext cx="343140" cy="618332"/>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pic>
        <p:nvPicPr>
          <p:cNvPr id="33" name="Picture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74512" y="3238659"/>
            <a:ext cx="1330565" cy="889239"/>
          </a:xfrm>
          <a:prstGeom prst="rect">
            <a:avLst/>
          </a:prstGeom>
        </p:spPr>
      </p:pic>
    </p:spTree>
    <p:extLst>
      <p:ext uri="{BB962C8B-B14F-4D97-AF65-F5344CB8AC3E}">
        <p14:creationId xmlns:p14="http://schemas.microsoft.com/office/powerpoint/2010/main" val="11872808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8" grpId="0"/>
      <p:bldP spid="9" grpId="0"/>
      <p:bldP spid="10" grpId="0"/>
      <p:bldP spid="2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 name="Group 418"/>
          <p:cNvGrpSpPr/>
          <p:nvPr/>
        </p:nvGrpSpPr>
        <p:grpSpPr>
          <a:xfrm>
            <a:off x="2564608" y="958554"/>
            <a:ext cx="2114904" cy="1535522"/>
            <a:chOff x="2711279" y="955944"/>
            <a:chExt cx="2115204" cy="1535739"/>
          </a:xfrm>
        </p:grpSpPr>
        <p:grpSp>
          <p:nvGrpSpPr>
            <p:cNvPr id="469" name="Group 468"/>
            <p:cNvGrpSpPr/>
            <p:nvPr/>
          </p:nvGrpSpPr>
          <p:grpSpPr>
            <a:xfrm>
              <a:off x="2711279" y="955944"/>
              <a:ext cx="2115204" cy="1535739"/>
              <a:chOff x="7292775" y="5113197"/>
              <a:chExt cx="1764250" cy="1382158"/>
            </a:xfrm>
          </p:grpSpPr>
          <p:sp>
            <p:nvSpPr>
              <p:cNvPr id="471" name="Oval 470"/>
              <p:cNvSpPr/>
              <p:nvPr>
                <p:custDataLst>
                  <p:tags r:id="rId3"/>
                </p:custDataLst>
              </p:nvPr>
            </p:nvSpPr>
            <p:spPr bwMode="auto">
              <a:xfrm>
                <a:off x="7292775" y="5113197"/>
                <a:ext cx="1764250" cy="1382158"/>
              </a:xfrm>
              <a:prstGeom prst="ellipse">
                <a:avLst/>
              </a:prstGeom>
              <a:noFill/>
              <a:ln w="19050" cap="flat" cmpd="sng" algn="ctr">
                <a:solidFill>
                  <a:srgbClr val="FFFFFF"/>
                </a:solidFill>
                <a:prstDash val="solid"/>
                <a:headEnd type="none" w="med" len="med"/>
                <a:tailEnd type="none" w="med" len="med"/>
              </a:ln>
              <a:effectLst/>
            </p:spPr>
            <p:txBody>
              <a:bodyPr vert="horz" wrap="square" lIns="111899" tIns="55949" rIns="111899" bIns="55949" numCol="1" rtlCol="0" anchor="ctr" anchorCtr="0" compatLnSpc="1">
                <a:prstTxWarp prst="textNoShape">
                  <a:avLst/>
                </a:prstTxWarp>
              </a:bodyPr>
              <a:lstStyle/>
              <a:p>
                <a:pPr algn="ctr" defTabSz="1118705" fontAlgn="base">
                  <a:spcBef>
                    <a:spcPct val="0"/>
                  </a:spcBef>
                  <a:spcAft>
                    <a:spcPct val="0"/>
                  </a:spcAft>
                  <a:defRPr/>
                </a:pPr>
                <a:endParaRPr lang="en-US" sz="2754" kern="0" dirty="0">
                  <a:solidFill>
                    <a:srgbClr val="FFFFFF"/>
                  </a:solidFill>
                </a:endParaRPr>
              </a:p>
            </p:txBody>
          </p:sp>
          <p:sp>
            <p:nvSpPr>
              <p:cNvPr id="472"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51" tIns="46625" rIns="46625" bIns="93251" numCol="1" spcCol="0" rtlCol="0" fromWordArt="0" anchor="b" anchorCtr="0" forceAA="0" compatLnSpc="1">
                <a:prstTxWarp prst="textNoShape">
                  <a:avLst/>
                </a:prstTxWarp>
                <a:noAutofit/>
              </a:bodyPr>
              <a:lstStyle/>
              <a:p>
                <a:pPr algn="ctr" defTabSz="932212" fontAlgn="base">
                  <a:spcBef>
                    <a:spcPct val="0"/>
                  </a:spcBef>
                  <a:spcAft>
                    <a:spcPct val="0"/>
                  </a:spcAft>
                  <a:defRPr/>
                </a:pPr>
                <a:endParaRPr lang="en-US" kern="0" spc="-51" dirty="0">
                  <a:ea typeface="Segoe UI" pitchFamily="34" charset="0"/>
                  <a:cs typeface="Segoe UI" pitchFamily="34" charset="0"/>
                </a:endParaRPr>
              </a:p>
            </p:txBody>
          </p:sp>
        </p:grpSp>
        <p:sp>
          <p:nvSpPr>
            <p:cNvPr id="470" name="Freeform 21"/>
            <p:cNvSpPr>
              <a:spLocks noChangeAspect="1" noEditPoints="1"/>
            </p:cNvSpPr>
            <p:nvPr/>
          </p:nvSpPr>
          <p:spPr bwMode="auto">
            <a:xfrm>
              <a:off x="2934162" y="1878289"/>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sp>
        <p:nvSpPr>
          <p:cNvPr id="10" name="Rectangle 9"/>
          <p:cNvSpPr/>
          <p:nvPr/>
        </p:nvSpPr>
        <p:spPr bwMode="auto">
          <a:xfrm>
            <a:off x="3962198" y="1169350"/>
            <a:ext cx="884440" cy="6153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20" name="Group 419"/>
          <p:cNvGrpSpPr/>
          <p:nvPr/>
        </p:nvGrpSpPr>
        <p:grpSpPr>
          <a:xfrm>
            <a:off x="3945674" y="833584"/>
            <a:ext cx="1855581" cy="951137"/>
            <a:chOff x="6975298" y="1331295"/>
            <a:chExt cx="1855844" cy="951272"/>
          </a:xfrm>
        </p:grpSpPr>
        <p:sp>
          <p:nvSpPr>
            <p:cNvPr id="468" name="Freeform 10"/>
            <p:cNvSpPr>
              <a:spLocks noChangeAspect="1" noEditPoints="1"/>
            </p:cNvSpPr>
            <p:nvPr/>
          </p:nvSpPr>
          <p:spPr bwMode="auto">
            <a:xfrm>
              <a:off x="7200682" y="1892133"/>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467" name="Freeform 466"/>
            <p:cNvSpPr>
              <a:spLocks/>
            </p:cNvSpPr>
            <p:nvPr/>
          </p:nvSpPr>
          <p:spPr bwMode="auto">
            <a:xfrm>
              <a:off x="6975298" y="1331295"/>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rgbClr val="FFFFFF"/>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grpSp>
      <p:sp>
        <p:nvSpPr>
          <p:cNvPr id="3" name="Title 2"/>
          <p:cNvSpPr>
            <a:spLocks noGrp="1"/>
          </p:cNvSpPr>
          <p:nvPr>
            <p:ph type="title"/>
          </p:nvPr>
        </p:nvSpPr>
        <p:spPr>
          <a:xfrm>
            <a:off x="269754" y="298774"/>
            <a:ext cx="11370697" cy="636505"/>
          </a:xfrm>
        </p:spPr>
        <p:txBody>
          <a:bodyPr vert="horz" wrap="square" lIns="146262" tIns="91414" rIns="146262" bIns="91414" rtlCol="0" anchor="t">
            <a:spAutoFit/>
          </a:bodyPr>
          <a:lstStyle/>
          <a:p>
            <a:r>
              <a:rPr lang="en-US" sz="3200" dirty="0"/>
              <a:t>Enabling work from anywhere</a:t>
            </a:r>
            <a:endParaRPr lang="en-US" sz="3198" dirty="0"/>
          </a:p>
        </p:txBody>
      </p:sp>
      <p:sp>
        <p:nvSpPr>
          <p:cNvPr id="2" name="Slide Number Placeholder 1"/>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solidFill>
                  <a:srgbClr val="FFFFFF"/>
                </a:solidFill>
              </a:rPr>
              <a:pPr>
                <a:lnSpc>
                  <a:spcPct val="90000"/>
                </a:lnSpc>
              </a:pPr>
              <a:t>15</a:t>
            </a:fld>
            <a:endParaRPr dirty="0">
              <a:solidFill>
                <a:srgbClr val="FFFFFF"/>
              </a:solidFill>
            </a:endParaRPr>
          </a:p>
        </p:txBody>
      </p:sp>
      <p:sp>
        <p:nvSpPr>
          <p:cNvPr id="459" name="Rectangle 458"/>
          <p:cNvSpPr/>
          <p:nvPr>
            <p:custDataLst>
              <p:tags r:id="rId1"/>
            </p:custDataLst>
          </p:nvPr>
        </p:nvSpPr>
        <p:spPr bwMode="auto">
          <a:xfrm>
            <a:off x="10016736" y="3269108"/>
            <a:ext cx="2172832" cy="1355278"/>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a:t>
            </a:r>
            <a:r>
              <a:rPr lang="en-US" sz="1599" b="1" spc="-31" dirty="0">
                <a:solidFill>
                  <a:srgbClr val="FFFFFF"/>
                </a:solidFill>
              </a:rPr>
              <a:t>publish access</a:t>
            </a:r>
            <a:r>
              <a:rPr lang="en-US" sz="1599" spc="-31" dirty="0">
                <a:solidFill>
                  <a:srgbClr val="FFFFFF"/>
                </a:solidFill>
              </a:rPr>
              <a:t> to resources with the </a:t>
            </a:r>
            <a:r>
              <a:rPr lang="en-US" sz="1599" b="1" spc="-31" dirty="0">
                <a:solidFill>
                  <a:srgbClr val="FFFFFF"/>
                </a:solidFill>
              </a:rPr>
              <a:t>Web Application Proxy</a:t>
            </a:r>
            <a:r>
              <a:rPr lang="en-US" sz="1599" spc="-31" dirty="0">
                <a:solidFill>
                  <a:srgbClr val="FFFFFF"/>
                </a:solidFill>
              </a:rPr>
              <a:t> based on device awareness and the users identity</a:t>
            </a:r>
          </a:p>
        </p:txBody>
      </p:sp>
      <p:sp>
        <p:nvSpPr>
          <p:cNvPr id="415" name="Rectangle 414"/>
          <p:cNvSpPr/>
          <p:nvPr/>
        </p:nvSpPr>
        <p:spPr>
          <a:xfrm>
            <a:off x="10033665" y="4970663"/>
            <a:ext cx="2117807" cy="1129399"/>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rovide seamless corporate access with </a:t>
            </a:r>
            <a:r>
              <a:rPr lang="en-US" sz="1599" b="1" spc="-31" dirty="0" err="1">
                <a:solidFill>
                  <a:srgbClr val="FFFFFF"/>
                </a:solidFill>
              </a:rPr>
              <a:t>DirectAccess</a:t>
            </a:r>
            <a:r>
              <a:rPr lang="en-US" sz="1599" spc="-31" dirty="0">
                <a:solidFill>
                  <a:srgbClr val="FFFFFF"/>
                </a:solidFill>
              </a:rPr>
              <a:t> and </a:t>
            </a:r>
            <a:r>
              <a:rPr lang="en-US" sz="1599" b="1" spc="-31" dirty="0">
                <a:solidFill>
                  <a:srgbClr val="FFFFFF"/>
                </a:solidFill>
              </a:rPr>
              <a:t>automatic VPN connections.</a:t>
            </a:r>
          </a:p>
        </p:txBody>
      </p:sp>
      <p:sp>
        <p:nvSpPr>
          <p:cNvPr id="618" name="Rectangle 617"/>
          <p:cNvSpPr/>
          <p:nvPr/>
        </p:nvSpPr>
        <p:spPr bwMode="auto">
          <a:xfrm>
            <a:off x="441996" y="1901246"/>
            <a:ext cx="1813162"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work from anywhere </a:t>
            </a:r>
            <a:r>
              <a:rPr lang="en-US" sz="1599" spc="-30" dirty="0">
                <a:solidFill>
                  <a:srgbClr val="FFFFFF"/>
                </a:solidFill>
              </a:rPr>
              <a:t>on their device with access to their corporate resources. </a:t>
            </a:r>
            <a:endParaRPr lang="en-US" sz="1599" b="1" spc="-30" dirty="0">
              <a:solidFill>
                <a:srgbClr val="FFFFFF"/>
              </a:solidFill>
            </a:endParaRPr>
          </a:p>
        </p:txBody>
      </p:sp>
      <p:sp>
        <p:nvSpPr>
          <p:cNvPr id="624" name="Rectangle 623"/>
          <p:cNvSpPr/>
          <p:nvPr/>
        </p:nvSpPr>
        <p:spPr bwMode="auto">
          <a:xfrm>
            <a:off x="541095" y="5527054"/>
            <a:ext cx="1915745"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register devices for </a:t>
            </a:r>
            <a:r>
              <a:rPr lang="en-US" sz="1599" b="1" spc="-30" dirty="0">
                <a:solidFill>
                  <a:srgbClr val="FFFFFF"/>
                </a:solidFill>
              </a:rPr>
              <a:t>single sign-on </a:t>
            </a:r>
            <a:r>
              <a:rPr lang="en-US" sz="1599" spc="-30" dirty="0">
                <a:solidFill>
                  <a:srgbClr val="FFFFFF"/>
                </a:solidFill>
              </a:rPr>
              <a:t>and access to corporate data with </a:t>
            </a:r>
            <a:r>
              <a:rPr lang="en-US" sz="1599" b="1" spc="-30" dirty="0">
                <a:solidFill>
                  <a:srgbClr val="FFFFFF"/>
                </a:solidFill>
              </a:rPr>
              <a:t>Workplace Join</a:t>
            </a:r>
          </a:p>
        </p:txBody>
      </p:sp>
      <p:sp>
        <p:nvSpPr>
          <p:cNvPr id="637" name="Rectangle 636"/>
          <p:cNvSpPr/>
          <p:nvPr/>
        </p:nvSpPr>
        <p:spPr bwMode="auto">
          <a:xfrm>
            <a:off x="6010082" y="350633"/>
            <a:ext cx="2652656" cy="90352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enroll devices </a:t>
            </a:r>
            <a:r>
              <a:rPr lang="en-US" sz="1599" spc="-30" dirty="0">
                <a:solidFill>
                  <a:srgbClr val="FFFFFF"/>
                </a:solidFill>
              </a:rPr>
              <a:t>for access to the </a:t>
            </a:r>
            <a:r>
              <a:rPr lang="en-US" sz="1599" b="1" spc="-30" dirty="0">
                <a:solidFill>
                  <a:srgbClr val="FFFFFF"/>
                </a:solidFill>
              </a:rPr>
              <a:t>Company Portal </a:t>
            </a:r>
            <a:r>
              <a:rPr lang="en-US" sz="1599" spc="-30" dirty="0">
                <a:solidFill>
                  <a:srgbClr val="FFFFFF"/>
                </a:solidFill>
              </a:rPr>
              <a:t>for easy access to corporate applications</a:t>
            </a:r>
          </a:p>
        </p:txBody>
      </p:sp>
      <p:sp>
        <p:nvSpPr>
          <p:cNvPr id="369" name="Rectangle 368"/>
          <p:cNvSpPr/>
          <p:nvPr/>
        </p:nvSpPr>
        <p:spPr>
          <a:xfrm>
            <a:off x="9844366" y="768452"/>
            <a:ext cx="2122344" cy="903520"/>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ublish </a:t>
            </a:r>
            <a:r>
              <a:rPr lang="en-US" sz="1599" b="1" spc="-31" dirty="0">
                <a:solidFill>
                  <a:srgbClr val="FFFFFF"/>
                </a:solidFill>
              </a:rPr>
              <a:t>Desktop Virtualization (VDI) </a:t>
            </a:r>
            <a:r>
              <a:rPr lang="en-US" sz="1599" spc="-31" dirty="0">
                <a:solidFill>
                  <a:srgbClr val="FFFFFF"/>
                </a:solidFill>
              </a:rPr>
              <a:t>for access to centralized resources</a:t>
            </a:r>
            <a:endParaRPr lang="en-US" sz="1599" b="1" spc="-31" dirty="0">
              <a:solidFill>
                <a:srgbClr val="FFFFFF"/>
              </a:solidFill>
            </a:endParaRPr>
          </a:p>
        </p:txBody>
      </p:sp>
      <p:pic>
        <p:nvPicPr>
          <p:cNvPr id="362" name="Picture 3"/>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tretch>
            <a:fillRect/>
          </a:stretch>
        </p:blipFill>
        <p:spPr bwMode="auto">
          <a:xfrm>
            <a:off x="462072" y="3035370"/>
            <a:ext cx="938314" cy="1418382"/>
          </a:xfrm>
          <a:prstGeom prst="rect">
            <a:avLst/>
          </a:prstGeom>
          <a:blipFill dpi="0" rotWithShape="1">
            <a:blip r:embed="rId7">
              <a:alphaModFix amt="95000"/>
              <a:biLevel thresh="25000"/>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2596575" y="5195883"/>
            <a:ext cx="1943385" cy="1476922"/>
            <a:chOff x="3435182" y="5042873"/>
            <a:chExt cx="1943660" cy="1477131"/>
          </a:xfrm>
        </p:grpSpPr>
        <p:sp>
          <p:nvSpPr>
            <p:cNvPr id="413" name="Oval 412"/>
            <p:cNvSpPr/>
            <p:nvPr>
              <p:custDataLst>
                <p:tags r:id="rId2"/>
              </p:custDataLst>
            </p:nvPr>
          </p:nvSpPr>
          <p:spPr bwMode="auto">
            <a:xfrm>
              <a:off x="3435182" y="5042873"/>
              <a:ext cx="1943660" cy="1477131"/>
            </a:xfrm>
            <a:prstGeom prst="ellipse">
              <a:avLst/>
            </a:prstGeom>
            <a:noFill/>
            <a:ln w="19050" cap="flat" cmpd="sng" algn="ctr">
              <a:solidFill>
                <a:srgbClr val="FFFFFF"/>
              </a:solidFill>
              <a:prstDash val="solid"/>
              <a:headEnd type="none" w="med" len="med"/>
              <a:tailEnd type="none" w="med" len="med"/>
            </a:ln>
            <a:effectLst/>
          </p:spPr>
          <p:txBody>
            <a:bodyPr vert="horz" wrap="square" lIns="114127" tIns="57063" rIns="114127" bIns="57063" numCol="1" rtlCol="0" anchor="ctr" anchorCtr="0" compatLnSpc="1">
              <a:prstTxWarp prst="textNoShape">
                <a:avLst/>
              </a:prstTxWarp>
            </a:bodyPr>
            <a:lstStyle/>
            <a:p>
              <a:pPr algn="ctr" defTabSz="1140968" fontAlgn="base">
                <a:spcBef>
                  <a:spcPct val="0"/>
                </a:spcBef>
                <a:spcAft>
                  <a:spcPct val="0"/>
                </a:spcAft>
                <a:defRPr/>
              </a:pPr>
              <a:endParaRPr lang="en-US" sz="2809" kern="0" dirty="0">
                <a:solidFill>
                  <a:srgbClr val="FFFFFF"/>
                </a:solidFill>
              </a:endParaRPr>
            </a:p>
          </p:txBody>
        </p:sp>
        <p:pic>
          <p:nvPicPr>
            <p:cNvPr id="416" name="Picture 4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76338" y="5795665"/>
              <a:ext cx="1740759" cy="446655"/>
            </a:xfrm>
            <a:prstGeom prst="rect">
              <a:avLst/>
            </a:prstGeom>
          </p:spPr>
        </p:pic>
        <p:sp>
          <p:nvSpPr>
            <p:cNvPr id="414" name="Rectangle 413"/>
            <p:cNvSpPr/>
            <p:nvPr/>
          </p:nvSpPr>
          <p:spPr>
            <a:xfrm>
              <a:off x="3942331" y="6086367"/>
              <a:ext cx="1020331" cy="176138"/>
            </a:xfrm>
            <a:prstGeom prst="rect">
              <a:avLst/>
            </a:prstGeom>
            <a:ln>
              <a:noFill/>
            </a:ln>
          </p:spPr>
          <p:txBody>
            <a:bodyPr wrap="none" lIns="0" tIns="0" rIns="0" bIns="0" anchor="ctr">
              <a:spAutoFit/>
            </a:bodyPr>
            <a:lstStyle/>
            <a:p>
              <a:pPr algn="ctr" defTabSz="1140578" fontAlgn="base">
                <a:spcBef>
                  <a:spcPts val="1497"/>
                </a:spcBef>
                <a:spcAft>
                  <a:spcPct val="0"/>
                </a:spcAft>
              </a:pPr>
              <a:r>
                <a:rPr lang="en-US" sz="1122" dirty="0">
                  <a:ln>
                    <a:solidFill>
                      <a:srgbClr val="FFFFFF">
                        <a:alpha val="0"/>
                      </a:srgbClr>
                    </a:solidFill>
                  </a:ln>
                  <a:solidFill>
                    <a:srgbClr val="FFFFFF"/>
                  </a:solidFill>
                  <a:latin typeface="Segoe"/>
                </a:rPr>
                <a:t>Active Directory</a:t>
              </a:r>
            </a:p>
          </p:txBody>
        </p:sp>
        <p:pic>
          <p:nvPicPr>
            <p:cNvPr id="417" name="Picture 4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grpSp>
        <p:nvGrpSpPr>
          <p:cNvPr id="366" name="Group 365"/>
          <p:cNvGrpSpPr>
            <a:grpSpLocks noChangeAspect="1"/>
          </p:cNvGrpSpPr>
          <p:nvPr/>
        </p:nvGrpSpPr>
        <p:grpSpPr>
          <a:xfrm>
            <a:off x="8937745" y="3453070"/>
            <a:ext cx="833721" cy="887070"/>
            <a:chOff x="8956177" y="3970370"/>
            <a:chExt cx="1215849" cy="1293648"/>
          </a:xfrm>
        </p:grpSpPr>
        <p:sp>
          <p:nvSpPr>
            <p:cNvPr id="374" name="Rectangle 373"/>
            <p:cNvSpPr>
              <a:spLocks noChangeAspect="1"/>
            </p:cNvSpPr>
            <p:nvPr/>
          </p:nvSpPr>
          <p:spPr>
            <a:xfrm>
              <a:off x="8956177" y="4983820"/>
              <a:ext cx="1215849" cy="280198"/>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Web Apps</a:t>
              </a: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cxnSp>
        <p:nvCxnSpPr>
          <p:cNvPr id="77" name="Straight Connector 76"/>
          <p:cNvCxnSpPr/>
          <p:nvPr/>
        </p:nvCxnSpPr>
        <p:spPr>
          <a:xfrm flipV="1">
            <a:off x="1528966" y="3545969"/>
            <a:ext cx="78775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568708" y="4708157"/>
            <a:ext cx="0" cy="343159"/>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556076" y="2538282"/>
            <a:ext cx="0" cy="404138"/>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4439395" y="2538785"/>
            <a:ext cx="1341000" cy="922124"/>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439395" y="4221493"/>
            <a:ext cx="1341000" cy="1015656"/>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525353" y="3835172"/>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7468923" y="3842927"/>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459331" y="5548498"/>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7426450" y="2231691"/>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2402505" y="2962218"/>
            <a:ext cx="1861850" cy="1699478"/>
            <a:chOff x="4727196" y="1953441"/>
            <a:chExt cx="1913060" cy="1746223"/>
          </a:xfrm>
        </p:grpSpPr>
        <p:grpSp>
          <p:nvGrpSpPr>
            <p:cNvPr id="106" name="Group 105"/>
            <p:cNvGrpSpPr/>
            <p:nvPr/>
          </p:nvGrpSpPr>
          <p:grpSpPr>
            <a:xfrm>
              <a:off x="4727196" y="1953441"/>
              <a:ext cx="1913060" cy="1746223"/>
              <a:chOff x="3577666" y="3115374"/>
              <a:chExt cx="1565257" cy="1428748"/>
            </a:xfrm>
          </p:grpSpPr>
          <p:pic>
            <p:nvPicPr>
              <p:cNvPr id="108" name="Picture 10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77666" y="3902212"/>
                <a:ext cx="1061011" cy="641910"/>
              </a:xfrm>
              <a:prstGeom prst="rect">
                <a:avLst/>
              </a:prstGeom>
            </p:spPr>
          </p:pic>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45390" y="3878001"/>
                <a:ext cx="351007" cy="648810"/>
              </a:xfrm>
              <a:prstGeom prst="rect">
                <a:avLst/>
              </a:prstGeom>
            </p:spPr>
          </p:pic>
          <p:pic>
            <p:nvPicPr>
              <p:cNvPr id="110" name="Picture 10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98507" y="3115374"/>
                <a:ext cx="444416" cy="664407"/>
              </a:xfrm>
              <a:prstGeom prst="rect">
                <a:avLst/>
              </a:prstGeom>
            </p:spPr>
          </p:pic>
        </p:grpSp>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14946" y="1962709"/>
              <a:ext cx="937254" cy="802914"/>
            </a:xfrm>
            <a:prstGeom prst="rect">
              <a:avLst/>
            </a:prstGeom>
          </p:spPr>
        </p:pic>
      </p:grpSp>
      <p:grpSp>
        <p:nvGrpSpPr>
          <p:cNvPr id="12" name="Group 11"/>
          <p:cNvGrpSpPr/>
          <p:nvPr/>
        </p:nvGrpSpPr>
        <p:grpSpPr>
          <a:xfrm>
            <a:off x="5932811" y="3163135"/>
            <a:ext cx="1983812" cy="1509253"/>
            <a:chOff x="5932770" y="3163088"/>
            <a:chExt cx="1984093" cy="1509467"/>
          </a:xfrm>
        </p:grpSpPr>
        <p:grpSp>
          <p:nvGrpSpPr>
            <p:cNvPr id="5" name="Group 4"/>
            <p:cNvGrpSpPr/>
            <p:nvPr/>
          </p:nvGrpSpPr>
          <p:grpSpPr>
            <a:xfrm>
              <a:off x="5932770" y="4206398"/>
              <a:ext cx="1984093" cy="466157"/>
              <a:chOff x="5990420" y="3901598"/>
              <a:chExt cx="1984093" cy="466157"/>
            </a:xfrm>
          </p:grpSpPr>
          <p:pic>
            <p:nvPicPr>
              <p:cNvPr id="384" name="Picture 383"/>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90420" y="3901598"/>
                <a:ext cx="1440560" cy="338609"/>
              </a:xfrm>
              <a:prstGeom prst="rect">
                <a:avLst/>
              </a:prstGeom>
            </p:spPr>
          </p:pic>
          <p:sp>
            <p:nvSpPr>
              <p:cNvPr id="385" name="Rectangle 384"/>
              <p:cNvSpPr/>
              <p:nvPr/>
            </p:nvSpPr>
            <p:spPr>
              <a:xfrm>
                <a:off x="6161070" y="4179516"/>
                <a:ext cx="1813443"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Web Application Proxy</a:t>
                </a:r>
              </a:p>
            </p:txBody>
          </p:sp>
        </p:grpSp>
        <p:grpSp>
          <p:nvGrpSpPr>
            <p:cNvPr id="7" name="Group 6"/>
            <p:cNvGrpSpPr/>
            <p:nvPr/>
          </p:nvGrpSpPr>
          <p:grpSpPr>
            <a:xfrm>
              <a:off x="6190114" y="3163088"/>
              <a:ext cx="836613" cy="1081087"/>
              <a:chOff x="6190114" y="3163088"/>
              <a:chExt cx="836613" cy="1081087"/>
            </a:xfrm>
          </p:grpSpPr>
          <p:sp>
            <p:nvSpPr>
              <p:cNvPr id="91" name="Freeform 7"/>
              <p:cNvSpPr>
                <a:spLocks noEditPoints="1"/>
              </p:cNvSpPr>
              <p:nvPr/>
            </p:nvSpPr>
            <p:spPr bwMode="auto">
              <a:xfrm>
                <a:off x="6467927" y="31630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2" name="Freeform 8"/>
              <p:cNvSpPr>
                <a:spLocks noEditPoints="1"/>
              </p:cNvSpPr>
              <p:nvPr/>
            </p:nvSpPr>
            <p:spPr bwMode="auto">
              <a:xfrm>
                <a:off x="6190114" y="34059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3" name="Freeform 10"/>
              <p:cNvSpPr>
                <a:spLocks noEditPoints="1"/>
              </p:cNvSpPr>
              <p:nvPr/>
            </p:nvSpPr>
            <p:spPr bwMode="auto">
              <a:xfrm>
                <a:off x="6528252" y="32472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3" name="Group 12"/>
          <p:cNvGrpSpPr/>
          <p:nvPr/>
        </p:nvGrpSpPr>
        <p:grpSpPr>
          <a:xfrm>
            <a:off x="6027067" y="4803753"/>
            <a:ext cx="1440356" cy="1493822"/>
            <a:chOff x="6027040" y="4803938"/>
            <a:chExt cx="1440560" cy="1494033"/>
          </a:xfrm>
        </p:grpSpPr>
        <p:grpSp>
          <p:nvGrpSpPr>
            <p:cNvPr id="351" name="Group 350"/>
            <p:cNvGrpSpPr/>
            <p:nvPr/>
          </p:nvGrpSpPr>
          <p:grpSpPr>
            <a:xfrm>
              <a:off x="6027040" y="5844959"/>
              <a:ext cx="1440560" cy="453012"/>
              <a:chOff x="4789049" y="3095489"/>
              <a:chExt cx="1440560" cy="453012"/>
            </a:xfrm>
          </p:grpSpPr>
          <p:pic>
            <p:nvPicPr>
              <p:cNvPr id="367" name="Picture 36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370" name="Rectangle 369"/>
              <p:cNvSpPr/>
              <p:nvPr/>
            </p:nvSpPr>
            <p:spPr>
              <a:xfrm>
                <a:off x="5036598" y="3360263"/>
                <a:ext cx="1156250"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emote Access</a:t>
                </a:r>
              </a:p>
            </p:txBody>
          </p:sp>
        </p:grpSp>
        <p:grpSp>
          <p:nvGrpSpPr>
            <p:cNvPr id="4" name="Group 3"/>
            <p:cNvGrpSpPr/>
            <p:nvPr/>
          </p:nvGrpSpPr>
          <p:grpSpPr>
            <a:xfrm>
              <a:off x="6218374" y="4803938"/>
              <a:ext cx="836613" cy="1081087"/>
              <a:chOff x="6342514" y="3315488"/>
              <a:chExt cx="836613" cy="1081087"/>
            </a:xfrm>
          </p:grpSpPr>
          <p:sp>
            <p:nvSpPr>
              <p:cNvPr id="113" name="Freeform 7"/>
              <p:cNvSpPr>
                <a:spLocks noEditPoints="1"/>
              </p:cNvSpPr>
              <p:nvPr/>
            </p:nvSpPr>
            <p:spPr bwMode="auto">
              <a:xfrm>
                <a:off x="6620327" y="33154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4" name="Freeform 8"/>
              <p:cNvSpPr>
                <a:spLocks noEditPoints="1"/>
              </p:cNvSpPr>
              <p:nvPr/>
            </p:nvSpPr>
            <p:spPr bwMode="auto">
              <a:xfrm>
                <a:off x="6342514" y="35583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5" name="Freeform 10"/>
              <p:cNvSpPr>
                <a:spLocks noEditPoints="1"/>
              </p:cNvSpPr>
              <p:nvPr/>
            </p:nvSpPr>
            <p:spPr bwMode="auto">
              <a:xfrm>
                <a:off x="6680652" y="33996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6" name="Group 5"/>
          <p:cNvGrpSpPr/>
          <p:nvPr/>
        </p:nvGrpSpPr>
        <p:grpSpPr>
          <a:xfrm>
            <a:off x="5932810" y="1394342"/>
            <a:ext cx="1440356" cy="1553545"/>
            <a:chOff x="5932770" y="1394043"/>
            <a:chExt cx="1440560" cy="1553766"/>
          </a:xfrm>
        </p:grpSpPr>
        <p:grpSp>
          <p:nvGrpSpPr>
            <p:cNvPr id="386" name="Group 385"/>
            <p:cNvGrpSpPr/>
            <p:nvPr/>
          </p:nvGrpSpPr>
          <p:grpSpPr>
            <a:xfrm>
              <a:off x="5932770" y="2515081"/>
              <a:ext cx="1440560" cy="432728"/>
              <a:chOff x="4789049" y="3095489"/>
              <a:chExt cx="1440560" cy="432728"/>
            </a:xfrm>
          </p:grpSpPr>
          <p:pic>
            <p:nvPicPr>
              <p:cNvPr id="396" name="Picture 395"/>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409" name="Rectangle 408"/>
              <p:cNvSpPr/>
              <p:nvPr/>
            </p:nvSpPr>
            <p:spPr>
              <a:xfrm>
                <a:off x="4989021" y="3339978"/>
                <a:ext cx="1156250"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DS Gateway</a:t>
                </a:r>
              </a:p>
            </p:txBody>
          </p:sp>
        </p:grpSp>
        <p:grpSp>
          <p:nvGrpSpPr>
            <p:cNvPr id="116" name="Group 4"/>
            <p:cNvGrpSpPr>
              <a:grpSpLocks noChangeAspect="1"/>
            </p:cNvGrpSpPr>
            <p:nvPr/>
          </p:nvGrpSpPr>
          <p:grpSpPr bwMode="auto">
            <a:xfrm>
              <a:off x="6200283" y="1394043"/>
              <a:ext cx="811213" cy="1130465"/>
              <a:chOff x="4012" y="1218"/>
              <a:chExt cx="620" cy="864"/>
            </a:xfrm>
            <a:solidFill>
              <a:schemeClr val="accent3"/>
            </a:solidFill>
          </p:grpSpPr>
          <p:sp>
            <p:nvSpPr>
              <p:cNvPr id="117" name="Freeform 6"/>
              <p:cNvSpPr>
                <a:spLocks noEditPoints="1"/>
              </p:cNvSpPr>
              <p:nvPr/>
            </p:nvSpPr>
            <p:spPr bwMode="auto">
              <a:xfrm>
                <a:off x="4190" y="1218"/>
                <a:ext cx="442" cy="864"/>
              </a:xfrm>
              <a:custGeom>
                <a:avLst/>
                <a:gdLst>
                  <a:gd name="T0" fmla="*/ 1547 w 1766"/>
                  <a:gd name="T1" fmla="*/ 3217 h 3458"/>
                  <a:gd name="T2" fmla="*/ 195 w 1766"/>
                  <a:gd name="T3" fmla="*/ 3054 h 3458"/>
                  <a:gd name="T4" fmla="*/ 195 w 1766"/>
                  <a:gd name="T5" fmla="*/ 3240 h 3458"/>
                  <a:gd name="T6" fmla="*/ 218 w 1766"/>
                  <a:gd name="T7" fmla="*/ 2908 h 3458"/>
                  <a:gd name="T8" fmla="*/ 218 w 1766"/>
                  <a:gd name="T9" fmla="*/ 2724 h 3458"/>
                  <a:gd name="T10" fmla="*/ 489 w 1766"/>
                  <a:gd name="T11" fmla="*/ 2931 h 3458"/>
                  <a:gd name="T12" fmla="*/ 314 w 1766"/>
                  <a:gd name="T13" fmla="*/ 2348 h 3458"/>
                  <a:gd name="T14" fmla="*/ 195 w 1766"/>
                  <a:gd name="T15" fmla="*/ 2578 h 3458"/>
                  <a:gd name="T16" fmla="*/ 218 w 1766"/>
                  <a:gd name="T17" fmla="*/ 2556 h 3458"/>
                  <a:gd name="T18" fmla="*/ 316 w 1766"/>
                  <a:gd name="T19" fmla="*/ 2372 h 3458"/>
                  <a:gd name="T20" fmla="*/ 22 w 1766"/>
                  <a:gd name="T21" fmla="*/ 1204 h 3458"/>
                  <a:gd name="T22" fmla="*/ 0 w 1766"/>
                  <a:gd name="T23" fmla="*/ 1204 h 3458"/>
                  <a:gd name="T24" fmla="*/ 1547 w 1766"/>
                  <a:gd name="T25" fmla="*/ 775 h 3458"/>
                  <a:gd name="T26" fmla="*/ 195 w 1766"/>
                  <a:gd name="T27" fmla="*/ 595 h 3458"/>
                  <a:gd name="T28" fmla="*/ 195 w 1766"/>
                  <a:gd name="T29" fmla="*/ 797 h 3458"/>
                  <a:gd name="T30" fmla="*/ 218 w 1766"/>
                  <a:gd name="T31" fmla="*/ 429 h 3458"/>
                  <a:gd name="T32" fmla="*/ 218 w 1766"/>
                  <a:gd name="T33" fmla="*/ 288 h 3458"/>
                  <a:gd name="T34" fmla="*/ 1569 w 1766"/>
                  <a:gd name="T35" fmla="*/ 452 h 3458"/>
                  <a:gd name="T36" fmla="*/ 243 w 1766"/>
                  <a:gd name="T37" fmla="*/ 0 h 3458"/>
                  <a:gd name="T38" fmla="*/ 1599 w 1766"/>
                  <a:gd name="T39" fmla="*/ 12 h 3458"/>
                  <a:gd name="T40" fmla="*/ 1694 w 1766"/>
                  <a:gd name="T41" fmla="*/ 64 h 3458"/>
                  <a:gd name="T42" fmla="*/ 1753 w 1766"/>
                  <a:gd name="T43" fmla="*/ 149 h 3458"/>
                  <a:gd name="T44" fmla="*/ 1766 w 1766"/>
                  <a:gd name="T45" fmla="*/ 3241 h 3458"/>
                  <a:gd name="T46" fmla="*/ 1739 w 1766"/>
                  <a:gd name="T47" fmla="*/ 3340 h 3458"/>
                  <a:gd name="T48" fmla="*/ 1666 w 1766"/>
                  <a:gd name="T49" fmla="*/ 3416 h 3458"/>
                  <a:gd name="T50" fmla="*/ 1562 w 1766"/>
                  <a:gd name="T51" fmla="*/ 3455 h 3458"/>
                  <a:gd name="T52" fmla="*/ 204 w 1766"/>
                  <a:gd name="T53" fmla="*/ 3455 h 3458"/>
                  <a:gd name="T54" fmla="*/ 100 w 1766"/>
                  <a:gd name="T55" fmla="*/ 3416 h 3458"/>
                  <a:gd name="T56" fmla="*/ 27 w 1766"/>
                  <a:gd name="T57" fmla="*/ 3340 h 3458"/>
                  <a:gd name="T58" fmla="*/ 0 w 1766"/>
                  <a:gd name="T59" fmla="*/ 3241 h 3458"/>
                  <a:gd name="T60" fmla="*/ 22 w 1766"/>
                  <a:gd name="T61" fmla="*/ 3241 h 3458"/>
                  <a:gd name="T62" fmla="*/ 47 w 1766"/>
                  <a:gd name="T63" fmla="*/ 3330 h 3458"/>
                  <a:gd name="T64" fmla="*/ 112 w 1766"/>
                  <a:gd name="T65" fmla="*/ 3398 h 3458"/>
                  <a:gd name="T66" fmla="*/ 207 w 1766"/>
                  <a:gd name="T67" fmla="*/ 3433 h 3458"/>
                  <a:gd name="T68" fmla="*/ 1558 w 1766"/>
                  <a:gd name="T69" fmla="*/ 3433 h 3458"/>
                  <a:gd name="T70" fmla="*/ 1652 w 1766"/>
                  <a:gd name="T71" fmla="*/ 3398 h 3458"/>
                  <a:gd name="T72" fmla="*/ 1719 w 1766"/>
                  <a:gd name="T73" fmla="*/ 3330 h 3458"/>
                  <a:gd name="T74" fmla="*/ 1743 w 1766"/>
                  <a:gd name="T75" fmla="*/ 3241 h 3458"/>
                  <a:gd name="T76" fmla="*/ 1731 w 1766"/>
                  <a:gd name="T77" fmla="*/ 156 h 3458"/>
                  <a:gd name="T78" fmla="*/ 1678 w 1766"/>
                  <a:gd name="T79" fmla="*/ 80 h 3458"/>
                  <a:gd name="T80" fmla="*/ 1591 w 1766"/>
                  <a:gd name="T81" fmla="*/ 33 h 3458"/>
                  <a:gd name="T82" fmla="*/ 243 w 1766"/>
                  <a:gd name="T83" fmla="*/ 23 h 3458"/>
                  <a:gd name="T84" fmla="*/ 142 w 1766"/>
                  <a:gd name="T85" fmla="*/ 45 h 3458"/>
                  <a:gd name="T86" fmla="*/ 65 w 1766"/>
                  <a:gd name="T87" fmla="*/ 103 h 3458"/>
                  <a:gd name="T88" fmla="*/ 25 w 1766"/>
                  <a:gd name="T89" fmla="*/ 186 h 3458"/>
                  <a:gd name="T90" fmla="*/ 0 w 1766"/>
                  <a:gd name="T91" fmla="*/ 1011 h 3458"/>
                  <a:gd name="T92" fmla="*/ 12 w 1766"/>
                  <a:gd name="T93" fmla="*/ 149 h 3458"/>
                  <a:gd name="T94" fmla="*/ 71 w 1766"/>
                  <a:gd name="T95" fmla="*/ 64 h 3458"/>
                  <a:gd name="T96" fmla="*/ 166 w 1766"/>
                  <a:gd name="T97" fmla="*/ 12 h 3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6" h="3458">
                    <a:moveTo>
                      <a:pt x="218" y="3076"/>
                    </a:moveTo>
                    <a:lnTo>
                      <a:pt x="218" y="3217"/>
                    </a:lnTo>
                    <a:lnTo>
                      <a:pt x="1547" y="3217"/>
                    </a:lnTo>
                    <a:lnTo>
                      <a:pt x="1547" y="3076"/>
                    </a:lnTo>
                    <a:lnTo>
                      <a:pt x="218" y="3076"/>
                    </a:lnTo>
                    <a:close/>
                    <a:moveTo>
                      <a:pt x="195" y="3054"/>
                    </a:moveTo>
                    <a:lnTo>
                      <a:pt x="1569" y="3054"/>
                    </a:lnTo>
                    <a:lnTo>
                      <a:pt x="1569" y="3240"/>
                    </a:lnTo>
                    <a:lnTo>
                      <a:pt x="195" y="3240"/>
                    </a:lnTo>
                    <a:lnTo>
                      <a:pt x="195" y="3054"/>
                    </a:lnTo>
                    <a:close/>
                    <a:moveTo>
                      <a:pt x="218" y="2724"/>
                    </a:moveTo>
                    <a:lnTo>
                      <a:pt x="218" y="2908"/>
                    </a:lnTo>
                    <a:lnTo>
                      <a:pt x="465" y="2908"/>
                    </a:lnTo>
                    <a:lnTo>
                      <a:pt x="465" y="2724"/>
                    </a:lnTo>
                    <a:lnTo>
                      <a:pt x="218" y="2724"/>
                    </a:lnTo>
                    <a:close/>
                    <a:moveTo>
                      <a:pt x="195" y="2701"/>
                    </a:moveTo>
                    <a:lnTo>
                      <a:pt x="489" y="2701"/>
                    </a:lnTo>
                    <a:lnTo>
                      <a:pt x="489" y="2931"/>
                    </a:lnTo>
                    <a:lnTo>
                      <a:pt x="195" y="2931"/>
                    </a:lnTo>
                    <a:lnTo>
                      <a:pt x="195" y="2701"/>
                    </a:lnTo>
                    <a:close/>
                    <a:moveTo>
                      <a:pt x="314" y="2348"/>
                    </a:moveTo>
                    <a:lnTo>
                      <a:pt x="489" y="2348"/>
                    </a:lnTo>
                    <a:lnTo>
                      <a:pt x="489" y="2578"/>
                    </a:lnTo>
                    <a:lnTo>
                      <a:pt x="195" y="2578"/>
                    </a:lnTo>
                    <a:lnTo>
                      <a:pt x="195" y="2445"/>
                    </a:lnTo>
                    <a:lnTo>
                      <a:pt x="218" y="2445"/>
                    </a:lnTo>
                    <a:lnTo>
                      <a:pt x="218" y="2556"/>
                    </a:lnTo>
                    <a:lnTo>
                      <a:pt x="465" y="2556"/>
                    </a:lnTo>
                    <a:lnTo>
                      <a:pt x="465" y="2372"/>
                    </a:lnTo>
                    <a:lnTo>
                      <a:pt x="316" y="2372"/>
                    </a:lnTo>
                    <a:lnTo>
                      <a:pt x="314" y="2348"/>
                    </a:lnTo>
                    <a:close/>
                    <a:moveTo>
                      <a:pt x="0" y="1204"/>
                    </a:moveTo>
                    <a:lnTo>
                      <a:pt x="22" y="1204"/>
                    </a:lnTo>
                    <a:lnTo>
                      <a:pt x="22" y="1558"/>
                    </a:lnTo>
                    <a:lnTo>
                      <a:pt x="0" y="1558"/>
                    </a:lnTo>
                    <a:lnTo>
                      <a:pt x="0" y="1204"/>
                    </a:lnTo>
                    <a:close/>
                    <a:moveTo>
                      <a:pt x="218" y="618"/>
                    </a:moveTo>
                    <a:lnTo>
                      <a:pt x="218" y="775"/>
                    </a:lnTo>
                    <a:lnTo>
                      <a:pt x="1547" y="775"/>
                    </a:lnTo>
                    <a:lnTo>
                      <a:pt x="1547" y="618"/>
                    </a:lnTo>
                    <a:lnTo>
                      <a:pt x="218" y="618"/>
                    </a:lnTo>
                    <a:close/>
                    <a:moveTo>
                      <a:pt x="195" y="595"/>
                    </a:moveTo>
                    <a:lnTo>
                      <a:pt x="1569" y="595"/>
                    </a:lnTo>
                    <a:lnTo>
                      <a:pt x="1569" y="797"/>
                    </a:lnTo>
                    <a:lnTo>
                      <a:pt x="195" y="797"/>
                    </a:lnTo>
                    <a:lnTo>
                      <a:pt x="195" y="595"/>
                    </a:lnTo>
                    <a:close/>
                    <a:moveTo>
                      <a:pt x="218" y="288"/>
                    </a:moveTo>
                    <a:lnTo>
                      <a:pt x="218" y="429"/>
                    </a:lnTo>
                    <a:lnTo>
                      <a:pt x="1547" y="429"/>
                    </a:lnTo>
                    <a:lnTo>
                      <a:pt x="1547" y="288"/>
                    </a:lnTo>
                    <a:lnTo>
                      <a:pt x="218" y="288"/>
                    </a:lnTo>
                    <a:close/>
                    <a:moveTo>
                      <a:pt x="195" y="265"/>
                    </a:moveTo>
                    <a:lnTo>
                      <a:pt x="1569" y="265"/>
                    </a:lnTo>
                    <a:lnTo>
                      <a:pt x="1569" y="452"/>
                    </a:lnTo>
                    <a:lnTo>
                      <a:pt x="195" y="452"/>
                    </a:lnTo>
                    <a:lnTo>
                      <a:pt x="195" y="265"/>
                    </a:lnTo>
                    <a:close/>
                    <a:moveTo>
                      <a:pt x="243" y="0"/>
                    </a:moveTo>
                    <a:lnTo>
                      <a:pt x="1522" y="0"/>
                    </a:lnTo>
                    <a:lnTo>
                      <a:pt x="1562" y="3"/>
                    </a:lnTo>
                    <a:lnTo>
                      <a:pt x="1599" y="12"/>
                    </a:lnTo>
                    <a:lnTo>
                      <a:pt x="1635" y="24"/>
                    </a:lnTo>
                    <a:lnTo>
                      <a:pt x="1666" y="42"/>
                    </a:lnTo>
                    <a:lnTo>
                      <a:pt x="1694" y="64"/>
                    </a:lnTo>
                    <a:lnTo>
                      <a:pt x="1719" y="90"/>
                    </a:lnTo>
                    <a:lnTo>
                      <a:pt x="1739" y="118"/>
                    </a:lnTo>
                    <a:lnTo>
                      <a:pt x="1753" y="149"/>
                    </a:lnTo>
                    <a:lnTo>
                      <a:pt x="1763" y="182"/>
                    </a:lnTo>
                    <a:lnTo>
                      <a:pt x="1766" y="218"/>
                    </a:lnTo>
                    <a:lnTo>
                      <a:pt x="1766" y="3241"/>
                    </a:lnTo>
                    <a:lnTo>
                      <a:pt x="1763" y="3276"/>
                    </a:lnTo>
                    <a:lnTo>
                      <a:pt x="1753" y="3310"/>
                    </a:lnTo>
                    <a:lnTo>
                      <a:pt x="1739" y="3340"/>
                    </a:lnTo>
                    <a:lnTo>
                      <a:pt x="1719" y="3369"/>
                    </a:lnTo>
                    <a:lnTo>
                      <a:pt x="1694" y="3394"/>
                    </a:lnTo>
                    <a:lnTo>
                      <a:pt x="1666" y="3416"/>
                    </a:lnTo>
                    <a:lnTo>
                      <a:pt x="1635" y="3434"/>
                    </a:lnTo>
                    <a:lnTo>
                      <a:pt x="1599" y="3446"/>
                    </a:lnTo>
                    <a:lnTo>
                      <a:pt x="1562" y="3455"/>
                    </a:lnTo>
                    <a:lnTo>
                      <a:pt x="1522" y="3458"/>
                    </a:lnTo>
                    <a:lnTo>
                      <a:pt x="243" y="3458"/>
                    </a:lnTo>
                    <a:lnTo>
                      <a:pt x="204" y="3455"/>
                    </a:lnTo>
                    <a:lnTo>
                      <a:pt x="166" y="3446"/>
                    </a:lnTo>
                    <a:lnTo>
                      <a:pt x="131" y="3434"/>
                    </a:lnTo>
                    <a:lnTo>
                      <a:pt x="100" y="3416"/>
                    </a:lnTo>
                    <a:lnTo>
                      <a:pt x="71" y="3394"/>
                    </a:lnTo>
                    <a:lnTo>
                      <a:pt x="46" y="3369"/>
                    </a:lnTo>
                    <a:lnTo>
                      <a:pt x="27" y="3340"/>
                    </a:lnTo>
                    <a:lnTo>
                      <a:pt x="12" y="3310"/>
                    </a:lnTo>
                    <a:lnTo>
                      <a:pt x="3" y="3276"/>
                    </a:lnTo>
                    <a:lnTo>
                      <a:pt x="0" y="3241"/>
                    </a:lnTo>
                    <a:lnTo>
                      <a:pt x="0" y="2408"/>
                    </a:lnTo>
                    <a:lnTo>
                      <a:pt x="22" y="2408"/>
                    </a:lnTo>
                    <a:lnTo>
                      <a:pt x="22" y="3241"/>
                    </a:lnTo>
                    <a:lnTo>
                      <a:pt x="25" y="3272"/>
                    </a:lnTo>
                    <a:lnTo>
                      <a:pt x="33" y="3303"/>
                    </a:lnTo>
                    <a:lnTo>
                      <a:pt x="47" y="3330"/>
                    </a:lnTo>
                    <a:lnTo>
                      <a:pt x="65" y="3356"/>
                    </a:lnTo>
                    <a:lnTo>
                      <a:pt x="87" y="3378"/>
                    </a:lnTo>
                    <a:lnTo>
                      <a:pt x="112" y="3398"/>
                    </a:lnTo>
                    <a:lnTo>
                      <a:pt x="142" y="3414"/>
                    </a:lnTo>
                    <a:lnTo>
                      <a:pt x="173" y="3425"/>
                    </a:lnTo>
                    <a:lnTo>
                      <a:pt x="207" y="3433"/>
                    </a:lnTo>
                    <a:lnTo>
                      <a:pt x="243" y="3435"/>
                    </a:lnTo>
                    <a:lnTo>
                      <a:pt x="1522" y="3435"/>
                    </a:lnTo>
                    <a:lnTo>
                      <a:pt x="1558" y="3433"/>
                    </a:lnTo>
                    <a:lnTo>
                      <a:pt x="1591" y="3425"/>
                    </a:lnTo>
                    <a:lnTo>
                      <a:pt x="1624" y="3414"/>
                    </a:lnTo>
                    <a:lnTo>
                      <a:pt x="1652" y="3398"/>
                    </a:lnTo>
                    <a:lnTo>
                      <a:pt x="1678" y="3378"/>
                    </a:lnTo>
                    <a:lnTo>
                      <a:pt x="1700" y="3356"/>
                    </a:lnTo>
                    <a:lnTo>
                      <a:pt x="1719" y="3330"/>
                    </a:lnTo>
                    <a:lnTo>
                      <a:pt x="1731" y="3303"/>
                    </a:lnTo>
                    <a:lnTo>
                      <a:pt x="1740" y="3272"/>
                    </a:lnTo>
                    <a:lnTo>
                      <a:pt x="1743" y="3241"/>
                    </a:lnTo>
                    <a:lnTo>
                      <a:pt x="1743" y="218"/>
                    </a:lnTo>
                    <a:lnTo>
                      <a:pt x="1740" y="186"/>
                    </a:lnTo>
                    <a:lnTo>
                      <a:pt x="1731" y="156"/>
                    </a:lnTo>
                    <a:lnTo>
                      <a:pt x="1719" y="128"/>
                    </a:lnTo>
                    <a:lnTo>
                      <a:pt x="1700" y="103"/>
                    </a:lnTo>
                    <a:lnTo>
                      <a:pt x="1678" y="80"/>
                    </a:lnTo>
                    <a:lnTo>
                      <a:pt x="1652" y="61"/>
                    </a:lnTo>
                    <a:lnTo>
                      <a:pt x="1624" y="45"/>
                    </a:lnTo>
                    <a:lnTo>
                      <a:pt x="1591" y="33"/>
                    </a:lnTo>
                    <a:lnTo>
                      <a:pt x="1558" y="25"/>
                    </a:lnTo>
                    <a:lnTo>
                      <a:pt x="1522" y="23"/>
                    </a:lnTo>
                    <a:lnTo>
                      <a:pt x="243" y="23"/>
                    </a:lnTo>
                    <a:lnTo>
                      <a:pt x="207" y="25"/>
                    </a:lnTo>
                    <a:lnTo>
                      <a:pt x="173" y="33"/>
                    </a:lnTo>
                    <a:lnTo>
                      <a:pt x="142" y="45"/>
                    </a:lnTo>
                    <a:lnTo>
                      <a:pt x="112" y="61"/>
                    </a:lnTo>
                    <a:lnTo>
                      <a:pt x="87" y="80"/>
                    </a:lnTo>
                    <a:lnTo>
                      <a:pt x="65" y="103"/>
                    </a:lnTo>
                    <a:lnTo>
                      <a:pt x="47" y="128"/>
                    </a:lnTo>
                    <a:lnTo>
                      <a:pt x="33" y="156"/>
                    </a:lnTo>
                    <a:lnTo>
                      <a:pt x="25" y="186"/>
                    </a:lnTo>
                    <a:lnTo>
                      <a:pt x="22" y="218"/>
                    </a:lnTo>
                    <a:lnTo>
                      <a:pt x="22" y="1011"/>
                    </a:lnTo>
                    <a:lnTo>
                      <a:pt x="0" y="1011"/>
                    </a:lnTo>
                    <a:lnTo>
                      <a:pt x="0" y="218"/>
                    </a:lnTo>
                    <a:lnTo>
                      <a:pt x="3" y="182"/>
                    </a:lnTo>
                    <a:lnTo>
                      <a:pt x="12" y="149"/>
                    </a:lnTo>
                    <a:lnTo>
                      <a:pt x="27" y="118"/>
                    </a:lnTo>
                    <a:lnTo>
                      <a:pt x="46" y="90"/>
                    </a:lnTo>
                    <a:lnTo>
                      <a:pt x="71" y="64"/>
                    </a:lnTo>
                    <a:lnTo>
                      <a:pt x="100" y="42"/>
                    </a:lnTo>
                    <a:lnTo>
                      <a:pt x="131" y="24"/>
                    </a:lnTo>
                    <a:lnTo>
                      <a:pt x="166" y="12"/>
                    </a:lnTo>
                    <a:lnTo>
                      <a:pt x="204" y="3"/>
                    </a:lnTo>
                    <a:lnTo>
                      <a:pt x="24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8" name="Freeform 7"/>
              <p:cNvSpPr>
                <a:spLocks noEditPoints="1"/>
              </p:cNvSpPr>
              <p:nvPr/>
            </p:nvSpPr>
            <p:spPr bwMode="auto">
              <a:xfrm>
                <a:off x="4012" y="1465"/>
                <a:ext cx="300" cy="370"/>
              </a:xfrm>
              <a:custGeom>
                <a:avLst/>
                <a:gdLst>
                  <a:gd name="T0" fmla="*/ 630 w 1202"/>
                  <a:gd name="T1" fmla="*/ 234 h 1478"/>
                  <a:gd name="T2" fmla="*/ 596 w 1202"/>
                  <a:gd name="T3" fmla="*/ 255 h 1478"/>
                  <a:gd name="T4" fmla="*/ 555 w 1202"/>
                  <a:gd name="T5" fmla="*/ 347 h 1478"/>
                  <a:gd name="T6" fmla="*/ 927 w 1202"/>
                  <a:gd name="T7" fmla="*/ 616 h 1478"/>
                  <a:gd name="T8" fmla="*/ 967 w 1202"/>
                  <a:gd name="T9" fmla="*/ 468 h 1478"/>
                  <a:gd name="T10" fmla="*/ 981 w 1202"/>
                  <a:gd name="T11" fmla="*/ 375 h 1478"/>
                  <a:gd name="T12" fmla="*/ 965 w 1202"/>
                  <a:gd name="T13" fmla="*/ 331 h 1478"/>
                  <a:gd name="T14" fmla="*/ 935 w 1202"/>
                  <a:gd name="T15" fmla="*/ 292 h 1478"/>
                  <a:gd name="T16" fmla="*/ 846 w 1202"/>
                  <a:gd name="T17" fmla="*/ 258 h 1478"/>
                  <a:gd name="T18" fmla="*/ 721 w 1202"/>
                  <a:gd name="T19" fmla="*/ 226 h 1478"/>
                  <a:gd name="T20" fmla="*/ 697 w 1202"/>
                  <a:gd name="T21" fmla="*/ 199 h 1478"/>
                  <a:gd name="T22" fmla="*/ 824 w 1202"/>
                  <a:gd name="T23" fmla="*/ 229 h 1478"/>
                  <a:gd name="T24" fmla="*/ 930 w 1202"/>
                  <a:gd name="T25" fmla="*/ 264 h 1478"/>
                  <a:gd name="T26" fmla="*/ 985 w 1202"/>
                  <a:gd name="T27" fmla="*/ 319 h 1478"/>
                  <a:gd name="T28" fmla="*/ 1004 w 1202"/>
                  <a:gd name="T29" fmla="*/ 390 h 1478"/>
                  <a:gd name="T30" fmla="*/ 984 w 1202"/>
                  <a:gd name="T31" fmla="*/ 495 h 1478"/>
                  <a:gd name="T32" fmla="*/ 484 w 1202"/>
                  <a:gd name="T33" fmla="*/ 517 h 1478"/>
                  <a:gd name="T34" fmla="*/ 541 w 1202"/>
                  <a:gd name="T35" fmla="*/ 314 h 1478"/>
                  <a:gd name="T36" fmla="*/ 586 w 1202"/>
                  <a:gd name="T37" fmla="*/ 233 h 1478"/>
                  <a:gd name="T38" fmla="*/ 651 w 1202"/>
                  <a:gd name="T39" fmla="*/ 199 h 1478"/>
                  <a:gd name="T40" fmla="*/ 592 w 1202"/>
                  <a:gd name="T41" fmla="*/ 32 h 1478"/>
                  <a:gd name="T42" fmla="*/ 463 w 1202"/>
                  <a:gd name="T43" fmla="*/ 106 h 1478"/>
                  <a:gd name="T44" fmla="*/ 389 w 1202"/>
                  <a:gd name="T45" fmla="*/ 230 h 1478"/>
                  <a:gd name="T46" fmla="*/ 342 w 1202"/>
                  <a:gd name="T47" fmla="*/ 380 h 1478"/>
                  <a:gd name="T48" fmla="*/ 253 w 1202"/>
                  <a:gd name="T49" fmla="*/ 477 h 1478"/>
                  <a:gd name="T50" fmla="*/ 190 w 1202"/>
                  <a:gd name="T51" fmla="*/ 529 h 1478"/>
                  <a:gd name="T52" fmla="*/ 31 w 1202"/>
                  <a:gd name="T53" fmla="*/ 1172 h 1478"/>
                  <a:gd name="T54" fmla="*/ 92 w 1202"/>
                  <a:gd name="T55" fmla="*/ 1228 h 1478"/>
                  <a:gd name="T56" fmla="*/ 920 w 1202"/>
                  <a:gd name="T57" fmla="*/ 1456 h 1478"/>
                  <a:gd name="T58" fmla="*/ 973 w 1202"/>
                  <a:gd name="T59" fmla="*/ 1438 h 1478"/>
                  <a:gd name="T60" fmla="*/ 1169 w 1202"/>
                  <a:gd name="T61" fmla="*/ 802 h 1478"/>
                  <a:gd name="T62" fmla="*/ 1147 w 1202"/>
                  <a:gd name="T63" fmla="*/ 734 h 1478"/>
                  <a:gd name="T64" fmla="*/ 1134 w 1202"/>
                  <a:gd name="T65" fmla="*/ 601 h 1478"/>
                  <a:gd name="T66" fmla="*/ 1176 w 1202"/>
                  <a:gd name="T67" fmla="*/ 411 h 1478"/>
                  <a:gd name="T68" fmla="*/ 1150 w 1202"/>
                  <a:gd name="T69" fmla="*/ 233 h 1478"/>
                  <a:gd name="T70" fmla="*/ 1022 w 1202"/>
                  <a:gd name="T71" fmla="*/ 114 h 1478"/>
                  <a:gd name="T72" fmla="*/ 820 w 1202"/>
                  <a:gd name="T73" fmla="*/ 40 h 1478"/>
                  <a:gd name="T74" fmla="*/ 678 w 1202"/>
                  <a:gd name="T75" fmla="*/ 0 h 1478"/>
                  <a:gd name="T76" fmla="*/ 880 w 1202"/>
                  <a:gd name="T77" fmla="*/ 32 h 1478"/>
                  <a:gd name="T78" fmla="*/ 1056 w 1202"/>
                  <a:gd name="T79" fmla="*/ 109 h 1478"/>
                  <a:gd name="T80" fmla="*/ 1170 w 1202"/>
                  <a:gd name="T81" fmla="*/ 222 h 1478"/>
                  <a:gd name="T82" fmla="*/ 1202 w 1202"/>
                  <a:gd name="T83" fmla="*/ 348 h 1478"/>
                  <a:gd name="T84" fmla="*/ 1181 w 1202"/>
                  <a:gd name="T85" fmla="*/ 518 h 1478"/>
                  <a:gd name="T86" fmla="*/ 1149 w 1202"/>
                  <a:gd name="T87" fmla="*/ 706 h 1478"/>
                  <a:gd name="T88" fmla="*/ 1191 w 1202"/>
                  <a:gd name="T89" fmla="*/ 771 h 1478"/>
                  <a:gd name="T90" fmla="*/ 1018 w 1202"/>
                  <a:gd name="T91" fmla="*/ 1419 h 1478"/>
                  <a:gd name="T92" fmla="*/ 944 w 1202"/>
                  <a:gd name="T93" fmla="*/ 1476 h 1478"/>
                  <a:gd name="T94" fmla="*/ 880 w 1202"/>
                  <a:gd name="T95" fmla="*/ 1473 h 1478"/>
                  <a:gd name="T96" fmla="*/ 40 w 1202"/>
                  <a:gd name="T97" fmla="*/ 1221 h 1478"/>
                  <a:gd name="T98" fmla="*/ 0 w 1202"/>
                  <a:gd name="T99" fmla="*/ 1134 h 1478"/>
                  <a:gd name="T100" fmla="*/ 188 w 1202"/>
                  <a:gd name="T101" fmla="*/ 489 h 1478"/>
                  <a:gd name="T102" fmla="*/ 272 w 1202"/>
                  <a:gd name="T103" fmla="*/ 448 h 1478"/>
                  <a:gd name="T104" fmla="*/ 343 w 1202"/>
                  <a:gd name="T105" fmla="*/ 293 h 1478"/>
                  <a:gd name="T106" fmla="*/ 403 w 1202"/>
                  <a:gd name="T107" fmla="*/ 150 h 1478"/>
                  <a:gd name="T108" fmla="*/ 507 w 1202"/>
                  <a:gd name="T109" fmla="*/ 38 h 1478"/>
                  <a:gd name="T110" fmla="*/ 630 w 1202"/>
                  <a:gd name="T111" fmla="*/ 2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2" h="1478">
                    <a:moveTo>
                      <a:pt x="673" y="220"/>
                    </a:moveTo>
                    <a:lnTo>
                      <a:pt x="655" y="222"/>
                    </a:lnTo>
                    <a:lnTo>
                      <a:pt x="641" y="226"/>
                    </a:lnTo>
                    <a:lnTo>
                      <a:pt x="630" y="234"/>
                    </a:lnTo>
                    <a:lnTo>
                      <a:pt x="628" y="237"/>
                    </a:lnTo>
                    <a:lnTo>
                      <a:pt x="623" y="237"/>
                    </a:lnTo>
                    <a:lnTo>
                      <a:pt x="609" y="244"/>
                    </a:lnTo>
                    <a:lnTo>
                      <a:pt x="596" y="255"/>
                    </a:lnTo>
                    <a:lnTo>
                      <a:pt x="584" y="271"/>
                    </a:lnTo>
                    <a:lnTo>
                      <a:pt x="574" y="293"/>
                    </a:lnTo>
                    <a:lnTo>
                      <a:pt x="564" y="318"/>
                    </a:lnTo>
                    <a:lnTo>
                      <a:pt x="555" y="347"/>
                    </a:lnTo>
                    <a:lnTo>
                      <a:pt x="546" y="378"/>
                    </a:lnTo>
                    <a:lnTo>
                      <a:pt x="536" y="413"/>
                    </a:lnTo>
                    <a:lnTo>
                      <a:pt x="512" y="501"/>
                    </a:lnTo>
                    <a:lnTo>
                      <a:pt x="927" y="616"/>
                    </a:lnTo>
                    <a:lnTo>
                      <a:pt x="946" y="548"/>
                    </a:lnTo>
                    <a:lnTo>
                      <a:pt x="953" y="522"/>
                    </a:lnTo>
                    <a:lnTo>
                      <a:pt x="961" y="495"/>
                    </a:lnTo>
                    <a:lnTo>
                      <a:pt x="967" y="468"/>
                    </a:lnTo>
                    <a:lnTo>
                      <a:pt x="973" y="442"/>
                    </a:lnTo>
                    <a:lnTo>
                      <a:pt x="978" y="418"/>
                    </a:lnTo>
                    <a:lnTo>
                      <a:pt x="980" y="396"/>
                    </a:lnTo>
                    <a:lnTo>
                      <a:pt x="981" y="375"/>
                    </a:lnTo>
                    <a:lnTo>
                      <a:pt x="980" y="358"/>
                    </a:lnTo>
                    <a:lnTo>
                      <a:pt x="974" y="343"/>
                    </a:lnTo>
                    <a:lnTo>
                      <a:pt x="967" y="334"/>
                    </a:lnTo>
                    <a:lnTo>
                      <a:pt x="965" y="331"/>
                    </a:lnTo>
                    <a:lnTo>
                      <a:pt x="964" y="328"/>
                    </a:lnTo>
                    <a:lnTo>
                      <a:pt x="958" y="314"/>
                    </a:lnTo>
                    <a:lnTo>
                      <a:pt x="948" y="302"/>
                    </a:lnTo>
                    <a:lnTo>
                      <a:pt x="935" y="292"/>
                    </a:lnTo>
                    <a:lnTo>
                      <a:pt x="917" y="283"/>
                    </a:lnTo>
                    <a:lnTo>
                      <a:pt x="896" y="274"/>
                    </a:lnTo>
                    <a:lnTo>
                      <a:pt x="871" y="267"/>
                    </a:lnTo>
                    <a:lnTo>
                      <a:pt x="846" y="258"/>
                    </a:lnTo>
                    <a:lnTo>
                      <a:pt x="818" y="251"/>
                    </a:lnTo>
                    <a:lnTo>
                      <a:pt x="782" y="241"/>
                    </a:lnTo>
                    <a:lnTo>
                      <a:pt x="750" y="232"/>
                    </a:lnTo>
                    <a:lnTo>
                      <a:pt x="721" y="226"/>
                    </a:lnTo>
                    <a:lnTo>
                      <a:pt x="695" y="222"/>
                    </a:lnTo>
                    <a:lnTo>
                      <a:pt x="673" y="220"/>
                    </a:lnTo>
                    <a:close/>
                    <a:moveTo>
                      <a:pt x="673" y="196"/>
                    </a:moveTo>
                    <a:lnTo>
                      <a:pt x="697" y="199"/>
                    </a:lnTo>
                    <a:lnTo>
                      <a:pt x="723" y="203"/>
                    </a:lnTo>
                    <a:lnTo>
                      <a:pt x="753" y="209"/>
                    </a:lnTo>
                    <a:lnTo>
                      <a:pt x="786" y="218"/>
                    </a:lnTo>
                    <a:lnTo>
                      <a:pt x="824" y="229"/>
                    </a:lnTo>
                    <a:lnTo>
                      <a:pt x="854" y="237"/>
                    </a:lnTo>
                    <a:lnTo>
                      <a:pt x="882" y="246"/>
                    </a:lnTo>
                    <a:lnTo>
                      <a:pt x="907" y="254"/>
                    </a:lnTo>
                    <a:lnTo>
                      <a:pt x="930" y="264"/>
                    </a:lnTo>
                    <a:lnTo>
                      <a:pt x="950" y="275"/>
                    </a:lnTo>
                    <a:lnTo>
                      <a:pt x="966" y="288"/>
                    </a:lnTo>
                    <a:lnTo>
                      <a:pt x="978" y="302"/>
                    </a:lnTo>
                    <a:lnTo>
                      <a:pt x="985" y="319"/>
                    </a:lnTo>
                    <a:lnTo>
                      <a:pt x="994" y="332"/>
                    </a:lnTo>
                    <a:lnTo>
                      <a:pt x="1001" y="349"/>
                    </a:lnTo>
                    <a:lnTo>
                      <a:pt x="1004" y="368"/>
                    </a:lnTo>
                    <a:lnTo>
                      <a:pt x="1004" y="390"/>
                    </a:lnTo>
                    <a:lnTo>
                      <a:pt x="1001" y="413"/>
                    </a:lnTo>
                    <a:lnTo>
                      <a:pt x="997" y="439"/>
                    </a:lnTo>
                    <a:lnTo>
                      <a:pt x="991" y="466"/>
                    </a:lnTo>
                    <a:lnTo>
                      <a:pt x="984" y="495"/>
                    </a:lnTo>
                    <a:lnTo>
                      <a:pt x="977" y="524"/>
                    </a:lnTo>
                    <a:lnTo>
                      <a:pt x="968" y="554"/>
                    </a:lnTo>
                    <a:lnTo>
                      <a:pt x="943" y="645"/>
                    </a:lnTo>
                    <a:lnTo>
                      <a:pt x="484" y="517"/>
                    </a:lnTo>
                    <a:lnTo>
                      <a:pt x="514" y="406"/>
                    </a:lnTo>
                    <a:lnTo>
                      <a:pt x="523" y="373"/>
                    </a:lnTo>
                    <a:lnTo>
                      <a:pt x="533" y="342"/>
                    </a:lnTo>
                    <a:lnTo>
                      <a:pt x="541" y="314"/>
                    </a:lnTo>
                    <a:lnTo>
                      <a:pt x="551" y="289"/>
                    </a:lnTo>
                    <a:lnTo>
                      <a:pt x="561" y="267"/>
                    </a:lnTo>
                    <a:lnTo>
                      <a:pt x="573" y="248"/>
                    </a:lnTo>
                    <a:lnTo>
                      <a:pt x="586" y="233"/>
                    </a:lnTo>
                    <a:lnTo>
                      <a:pt x="599" y="223"/>
                    </a:lnTo>
                    <a:lnTo>
                      <a:pt x="616" y="216"/>
                    </a:lnTo>
                    <a:lnTo>
                      <a:pt x="632" y="206"/>
                    </a:lnTo>
                    <a:lnTo>
                      <a:pt x="651" y="199"/>
                    </a:lnTo>
                    <a:lnTo>
                      <a:pt x="673" y="196"/>
                    </a:lnTo>
                    <a:close/>
                    <a:moveTo>
                      <a:pt x="678" y="22"/>
                    </a:moveTo>
                    <a:lnTo>
                      <a:pt x="633" y="25"/>
                    </a:lnTo>
                    <a:lnTo>
                      <a:pt x="592" y="32"/>
                    </a:lnTo>
                    <a:lnTo>
                      <a:pt x="554" y="42"/>
                    </a:lnTo>
                    <a:lnTo>
                      <a:pt x="519" y="57"/>
                    </a:lnTo>
                    <a:lnTo>
                      <a:pt x="489" y="80"/>
                    </a:lnTo>
                    <a:lnTo>
                      <a:pt x="463" y="106"/>
                    </a:lnTo>
                    <a:lnTo>
                      <a:pt x="440" y="133"/>
                    </a:lnTo>
                    <a:lnTo>
                      <a:pt x="420" y="164"/>
                    </a:lnTo>
                    <a:lnTo>
                      <a:pt x="404" y="195"/>
                    </a:lnTo>
                    <a:lnTo>
                      <a:pt x="389" y="230"/>
                    </a:lnTo>
                    <a:lnTo>
                      <a:pt x="376" y="265"/>
                    </a:lnTo>
                    <a:lnTo>
                      <a:pt x="365" y="302"/>
                    </a:lnTo>
                    <a:lnTo>
                      <a:pt x="353" y="340"/>
                    </a:lnTo>
                    <a:lnTo>
                      <a:pt x="342" y="380"/>
                    </a:lnTo>
                    <a:lnTo>
                      <a:pt x="317" y="467"/>
                    </a:lnTo>
                    <a:lnTo>
                      <a:pt x="309" y="467"/>
                    </a:lnTo>
                    <a:lnTo>
                      <a:pt x="280" y="470"/>
                    </a:lnTo>
                    <a:lnTo>
                      <a:pt x="253" y="477"/>
                    </a:lnTo>
                    <a:lnTo>
                      <a:pt x="230" y="486"/>
                    </a:lnTo>
                    <a:lnTo>
                      <a:pt x="211" y="498"/>
                    </a:lnTo>
                    <a:lnTo>
                      <a:pt x="199" y="512"/>
                    </a:lnTo>
                    <a:lnTo>
                      <a:pt x="190" y="529"/>
                    </a:lnTo>
                    <a:lnTo>
                      <a:pt x="26" y="1117"/>
                    </a:lnTo>
                    <a:lnTo>
                      <a:pt x="23" y="1135"/>
                    </a:lnTo>
                    <a:lnTo>
                      <a:pt x="25" y="1154"/>
                    </a:lnTo>
                    <a:lnTo>
                      <a:pt x="31" y="1172"/>
                    </a:lnTo>
                    <a:lnTo>
                      <a:pt x="42" y="1188"/>
                    </a:lnTo>
                    <a:lnTo>
                      <a:pt x="56" y="1204"/>
                    </a:lnTo>
                    <a:lnTo>
                      <a:pt x="72" y="1218"/>
                    </a:lnTo>
                    <a:lnTo>
                      <a:pt x="92" y="1228"/>
                    </a:lnTo>
                    <a:lnTo>
                      <a:pt x="113" y="1236"/>
                    </a:lnTo>
                    <a:lnTo>
                      <a:pt x="886" y="1451"/>
                    </a:lnTo>
                    <a:lnTo>
                      <a:pt x="903" y="1455"/>
                    </a:lnTo>
                    <a:lnTo>
                      <a:pt x="920" y="1456"/>
                    </a:lnTo>
                    <a:lnTo>
                      <a:pt x="920" y="1456"/>
                    </a:lnTo>
                    <a:lnTo>
                      <a:pt x="940" y="1454"/>
                    </a:lnTo>
                    <a:lnTo>
                      <a:pt x="958" y="1448"/>
                    </a:lnTo>
                    <a:lnTo>
                      <a:pt x="973" y="1438"/>
                    </a:lnTo>
                    <a:lnTo>
                      <a:pt x="986" y="1425"/>
                    </a:lnTo>
                    <a:lnTo>
                      <a:pt x="998" y="1409"/>
                    </a:lnTo>
                    <a:lnTo>
                      <a:pt x="1005" y="1389"/>
                    </a:lnTo>
                    <a:lnTo>
                      <a:pt x="1169" y="802"/>
                    </a:lnTo>
                    <a:lnTo>
                      <a:pt x="1170" y="784"/>
                    </a:lnTo>
                    <a:lnTo>
                      <a:pt x="1167" y="766"/>
                    </a:lnTo>
                    <a:lnTo>
                      <a:pt x="1158" y="749"/>
                    </a:lnTo>
                    <a:lnTo>
                      <a:pt x="1147" y="734"/>
                    </a:lnTo>
                    <a:lnTo>
                      <a:pt x="1132" y="721"/>
                    </a:lnTo>
                    <a:lnTo>
                      <a:pt x="1114" y="714"/>
                    </a:lnTo>
                    <a:lnTo>
                      <a:pt x="1104" y="711"/>
                    </a:lnTo>
                    <a:lnTo>
                      <a:pt x="1134" y="601"/>
                    </a:lnTo>
                    <a:lnTo>
                      <a:pt x="1148" y="551"/>
                    </a:lnTo>
                    <a:lnTo>
                      <a:pt x="1161" y="504"/>
                    </a:lnTo>
                    <a:lnTo>
                      <a:pt x="1170" y="457"/>
                    </a:lnTo>
                    <a:lnTo>
                      <a:pt x="1176" y="411"/>
                    </a:lnTo>
                    <a:lnTo>
                      <a:pt x="1178" y="367"/>
                    </a:lnTo>
                    <a:lnTo>
                      <a:pt x="1176" y="321"/>
                    </a:lnTo>
                    <a:lnTo>
                      <a:pt x="1167" y="277"/>
                    </a:lnTo>
                    <a:lnTo>
                      <a:pt x="1150" y="233"/>
                    </a:lnTo>
                    <a:lnTo>
                      <a:pt x="1127" y="200"/>
                    </a:lnTo>
                    <a:lnTo>
                      <a:pt x="1096" y="169"/>
                    </a:lnTo>
                    <a:lnTo>
                      <a:pt x="1062" y="140"/>
                    </a:lnTo>
                    <a:lnTo>
                      <a:pt x="1022" y="114"/>
                    </a:lnTo>
                    <a:lnTo>
                      <a:pt x="977" y="90"/>
                    </a:lnTo>
                    <a:lnTo>
                      <a:pt x="927" y="70"/>
                    </a:lnTo>
                    <a:lnTo>
                      <a:pt x="874" y="53"/>
                    </a:lnTo>
                    <a:lnTo>
                      <a:pt x="820" y="40"/>
                    </a:lnTo>
                    <a:lnTo>
                      <a:pt x="769" y="31"/>
                    </a:lnTo>
                    <a:lnTo>
                      <a:pt x="722" y="24"/>
                    </a:lnTo>
                    <a:lnTo>
                      <a:pt x="678" y="22"/>
                    </a:lnTo>
                    <a:close/>
                    <a:moveTo>
                      <a:pt x="678" y="0"/>
                    </a:moveTo>
                    <a:lnTo>
                      <a:pt x="724" y="2"/>
                    </a:lnTo>
                    <a:lnTo>
                      <a:pt x="773" y="8"/>
                    </a:lnTo>
                    <a:lnTo>
                      <a:pt x="825" y="18"/>
                    </a:lnTo>
                    <a:lnTo>
                      <a:pt x="880" y="32"/>
                    </a:lnTo>
                    <a:lnTo>
                      <a:pt x="929" y="46"/>
                    </a:lnTo>
                    <a:lnTo>
                      <a:pt x="976" y="65"/>
                    </a:lnTo>
                    <a:lnTo>
                      <a:pt x="1018" y="86"/>
                    </a:lnTo>
                    <a:lnTo>
                      <a:pt x="1056" y="109"/>
                    </a:lnTo>
                    <a:lnTo>
                      <a:pt x="1091" y="135"/>
                    </a:lnTo>
                    <a:lnTo>
                      <a:pt x="1122" y="162"/>
                    </a:lnTo>
                    <a:lnTo>
                      <a:pt x="1148" y="191"/>
                    </a:lnTo>
                    <a:lnTo>
                      <a:pt x="1170" y="222"/>
                    </a:lnTo>
                    <a:lnTo>
                      <a:pt x="1171" y="223"/>
                    </a:lnTo>
                    <a:lnTo>
                      <a:pt x="1187" y="265"/>
                    </a:lnTo>
                    <a:lnTo>
                      <a:pt x="1196" y="307"/>
                    </a:lnTo>
                    <a:lnTo>
                      <a:pt x="1202" y="348"/>
                    </a:lnTo>
                    <a:lnTo>
                      <a:pt x="1202" y="390"/>
                    </a:lnTo>
                    <a:lnTo>
                      <a:pt x="1197" y="432"/>
                    </a:lnTo>
                    <a:lnTo>
                      <a:pt x="1190" y="474"/>
                    </a:lnTo>
                    <a:lnTo>
                      <a:pt x="1181" y="518"/>
                    </a:lnTo>
                    <a:lnTo>
                      <a:pt x="1169" y="562"/>
                    </a:lnTo>
                    <a:lnTo>
                      <a:pt x="1156" y="607"/>
                    </a:lnTo>
                    <a:lnTo>
                      <a:pt x="1132" y="696"/>
                    </a:lnTo>
                    <a:lnTo>
                      <a:pt x="1149" y="706"/>
                    </a:lnTo>
                    <a:lnTo>
                      <a:pt x="1164" y="718"/>
                    </a:lnTo>
                    <a:lnTo>
                      <a:pt x="1176" y="735"/>
                    </a:lnTo>
                    <a:lnTo>
                      <a:pt x="1186" y="752"/>
                    </a:lnTo>
                    <a:lnTo>
                      <a:pt x="1191" y="771"/>
                    </a:lnTo>
                    <a:lnTo>
                      <a:pt x="1193" y="790"/>
                    </a:lnTo>
                    <a:lnTo>
                      <a:pt x="1191" y="808"/>
                    </a:lnTo>
                    <a:lnTo>
                      <a:pt x="1027" y="1395"/>
                    </a:lnTo>
                    <a:lnTo>
                      <a:pt x="1018" y="1419"/>
                    </a:lnTo>
                    <a:lnTo>
                      <a:pt x="1004" y="1440"/>
                    </a:lnTo>
                    <a:lnTo>
                      <a:pt x="987" y="1456"/>
                    </a:lnTo>
                    <a:lnTo>
                      <a:pt x="967" y="1469"/>
                    </a:lnTo>
                    <a:lnTo>
                      <a:pt x="944" y="1476"/>
                    </a:lnTo>
                    <a:lnTo>
                      <a:pt x="920" y="1478"/>
                    </a:lnTo>
                    <a:lnTo>
                      <a:pt x="920" y="1478"/>
                    </a:lnTo>
                    <a:lnTo>
                      <a:pt x="900" y="1477"/>
                    </a:lnTo>
                    <a:lnTo>
                      <a:pt x="880" y="1473"/>
                    </a:lnTo>
                    <a:lnTo>
                      <a:pt x="107" y="1258"/>
                    </a:lnTo>
                    <a:lnTo>
                      <a:pt x="83" y="1248"/>
                    </a:lnTo>
                    <a:lnTo>
                      <a:pt x="60" y="1236"/>
                    </a:lnTo>
                    <a:lnTo>
                      <a:pt x="40" y="1221"/>
                    </a:lnTo>
                    <a:lnTo>
                      <a:pt x="24" y="1203"/>
                    </a:lnTo>
                    <a:lnTo>
                      <a:pt x="10" y="1181"/>
                    </a:lnTo>
                    <a:lnTo>
                      <a:pt x="2" y="1158"/>
                    </a:lnTo>
                    <a:lnTo>
                      <a:pt x="0" y="1134"/>
                    </a:lnTo>
                    <a:lnTo>
                      <a:pt x="4" y="1111"/>
                    </a:lnTo>
                    <a:lnTo>
                      <a:pt x="168" y="523"/>
                    </a:lnTo>
                    <a:lnTo>
                      <a:pt x="176" y="505"/>
                    </a:lnTo>
                    <a:lnTo>
                      <a:pt x="188" y="489"/>
                    </a:lnTo>
                    <a:lnTo>
                      <a:pt x="204" y="476"/>
                    </a:lnTo>
                    <a:lnTo>
                      <a:pt x="223" y="464"/>
                    </a:lnTo>
                    <a:lnTo>
                      <a:pt x="246" y="455"/>
                    </a:lnTo>
                    <a:lnTo>
                      <a:pt x="272" y="448"/>
                    </a:lnTo>
                    <a:lnTo>
                      <a:pt x="300" y="445"/>
                    </a:lnTo>
                    <a:lnTo>
                      <a:pt x="320" y="374"/>
                    </a:lnTo>
                    <a:lnTo>
                      <a:pt x="331" y="333"/>
                    </a:lnTo>
                    <a:lnTo>
                      <a:pt x="343" y="293"/>
                    </a:lnTo>
                    <a:lnTo>
                      <a:pt x="355" y="255"/>
                    </a:lnTo>
                    <a:lnTo>
                      <a:pt x="369" y="218"/>
                    </a:lnTo>
                    <a:lnTo>
                      <a:pt x="385" y="183"/>
                    </a:lnTo>
                    <a:lnTo>
                      <a:pt x="403" y="150"/>
                    </a:lnTo>
                    <a:lnTo>
                      <a:pt x="423" y="119"/>
                    </a:lnTo>
                    <a:lnTo>
                      <a:pt x="447" y="89"/>
                    </a:lnTo>
                    <a:lnTo>
                      <a:pt x="475" y="62"/>
                    </a:lnTo>
                    <a:lnTo>
                      <a:pt x="507" y="38"/>
                    </a:lnTo>
                    <a:lnTo>
                      <a:pt x="508" y="37"/>
                    </a:lnTo>
                    <a:lnTo>
                      <a:pt x="546" y="21"/>
                    </a:lnTo>
                    <a:lnTo>
                      <a:pt x="586" y="10"/>
                    </a:lnTo>
                    <a:lnTo>
                      <a:pt x="630" y="2"/>
                    </a:lnTo>
                    <a:lnTo>
                      <a:pt x="678"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19" name="Group 118"/>
          <p:cNvGrpSpPr/>
          <p:nvPr/>
        </p:nvGrpSpPr>
        <p:grpSpPr>
          <a:xfrm>
            <a:off x="9094929" y="1659189"/>
            <a:ext cx="2068362" cy="1275431"/>
            <a:chOff x="9347023" y="2283998"/>
            <a:chExt cx="2068655" cy="1275612"/>
          </a:xfrm>
        </p:grpSpPr>
        <p:sp>
          <p:nvSpPr>
            <p:cNvPr id="120" name="Rectangle 119"/>
            <p:cNvSpPr/>
            <p:nvPr/>
          </p:nvSpPr>
          <p:spPr>
            <a:xfrm>
              <a:off x="9451799" y="3367447"/>
              <a:ext cx="657526"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VDI</a:t>
              </a:r>
            </a:p>
          </p:txBody>
        </p:sp>
        <p:sp>
          <p:nvSpPr>
            <p:cNvPr id="121" name="Rectangle 120"/>
            <p:cNvSpPr/>
            <p:nvPr/>
          </p:nvSpPr>
          <p:spPr>
            <a:xfrm>
              <a:off x="9930237" y="3363521"/>
              <a:ext cx="1485441"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Session host</a:t>
              </a:r>
            </a:p>
          </p:txBody>
        </p:sp>
        <p:grpSp>
          <p:nvGrpSpPr>
            <p:cNvPr id="122" name="Group 734"/>
            <p:cNvGrpSpPr>
              <a:grpSpLocks noChangeAspect="1"/>
            </p:cNvGrpSpPr>
            <p:nvPr/>
          </p:nvGrpSpPr>
          <p:grpSpPr bwMode="auto">
            <a:xfrm>
              <a:off x="9347023" y="2283998"/>
              <a:ext cx="802705" cy="1004332"/>
              <a:chOff x="918" y="3077"/>
              <a:chExt cx="1266" cy="1584"/>
            </a:xfrm>
            <a:solidFill>
              <a:schemeClr val="accent3"/>
            </a:solidFill>
          </p:grpSpPr>
          <p:sp>
            <p:nvSpPr>
              <p:cNvPr id="126" name="Freeform 737"/>
              <p:cNvSpPr>
                <a:spLocks noEditPoints="1"/>
              </p:cNvSpPr>
              <p:nvPr/>
            </p:nvSpPr>
            <p:spPr bwMode="auto">
              <a:xfrm>
                <a:off x="1347" y="3077"/>
                <a:ext cx="837" cy="1584"/>
              </a:xfrm>
              <a:custGeom>
                <a:avLst/>
                <a:gdLst>
                  <a:gd name="T0" fmla="*/ 2164 w 2511"/>
                  <a:gd name="T1" fmla="*/ 4112 h 4751"/>
                  <a:gd name="T2" fmla="*/ 2236 w 2511"/>
                  <a:gd name="T3" fmla="*/ 4275 h 4751"/>
                  <a:gd name="T4" fmla="*/ 346 w 2511"/>
                  <a:gd name="T5" fmla="*/ 3842 h 4751"/>
                  <a:gd name="T6" fmla="*/ 274 w 2511"/>
                  <a:gd name="T7" fmla="*/ 3678 h 4751"/>
                  <a:gd name="T8" fmla="*/ 274 w 2511"/>
                  <a:gd name="T9" fmla="*/ 3678 h 4751"/>
                  <a:gd name="T10" fmla="*/ 653 w 2511"/>
                  <a:gd name="T11" fmla="*/ 3390 h 4751"/>
                  <a:gd name="T12" fmla="*/ 725 w 2511"/>
                  <a:gd name="T13" fmla="*/ 3554 h 4751"/>
                  <a:gd name="T14" fmla="*/ 346 w 2511"/>
                  <a:gd name="T15" fmla="*/ 1042 h 4751"/>
                  <a:gd name="T16" fmla="*/ 274 w 2511"/>
                  <a:gd name="T17" fmla="*/ 798 h 4751"/>
                  <a:gd name="T18" fmla="*/ 274 w 2511"/>
                  <a:gd name="T19" fmla="*/ 798 h 4751"/>
                  <a:gd name="T20" fmla="*/ 2164 w 2511"/>
                  <a:gd name="T21" fmla="*/ 503 h 4751"/>
                  <a:gd name="T22" fmla="*/ 2236 w 2511"/>
                  <a:gd name="T23" fmla="*/ 750 h 4751"/>
                  <a:gd name="T24" fmla="*/ 2152 w 2511"/>
                  <a:gd name="T25" fmla="*/ 0 h 4751"/>
                  <a:gd name="T26" fmla="*/ 2254 w 2511"/>
                  <a:gd name="T27" fmla="*/ 13 h 4751"/>
                  <a:gd name="T28" fmla="*/ 2346 w 2511"/>
                  <a:gd name="T29" fmla="*/ 50 h 4751"/>
                  <a:gd name="T30" fmla="*/ 2445 w 2511"/>
                  <a:gd name="T31" fmla="*/ 134 h 4751"/>
                  <a:gd name="T32" fmla="*/ 2494 w 2511"/>
                  <a:gd name="T33" fmla="*/ 218 h 4751"/>
                  <a:gd name="T34" fmla="*/ 2510 w 2511"/>
                  <a:gd name="T35" fmla="*/ 286 h 4751"/>
                  <a:gd name="T36" fmla="*/ 2508 w 2511"/>
                  <a:gd name="T37" fmla="*/ 4472 h 4751"/>
                  <a:gd name="T38" fmla="*/ 2482 w 2511"/>
                  <a:gd name="T39" fmla="*/ 4557 h 4751"/>
                  <a:gd name="T40" fmla="*/ 2426 w 2511"/>
                  <a:gd name="T41" fmla="*/ 4638 h 4751"/>
                  <a:gd name="T42" fmla="*/ 2319 w 2511"/>
                  <a:gd name="T43" fmla="*/ 4715 h 4751"/>
                  <a:gd name="T44" fmla="*/ 2223 w 2511"/>
                  <a:gd name="T45" fmla="*/ 4745 h 4751"/>
                  <a:gd name="T46" fmla="*/ 360 w 2511"/>
                  <a:gd name="T47" fmla="*/ 4751 h 4751"/>
                  <a:gd name="T48" fmla="*/ 256 w 2511"/>
                  <a:gd name="T49" fmla="*/ 4738 h 4751"/>
                  <a:gd name="T50" fmla="*/ 139 w 2511"/>
                  <a:gd name="T51" fmla="*/ 4686 h 4751"/>
                  <a:gd name="T52" fmla="*/ 67 w 2511"/>
                  <a:gd name="T53" fmla="*/ 4624 h 4751"/>
                  <a:gd name="T54" fmla="*/ 17 w 2511"/>
                  <a:gd name="T55" fmla="*/ 4547 h 4751"/>
                  <a:gd name="T56" fmla="*/ 2 w 2511"/>
                  <a:gd name="T57" fmla="*/ 4486 h 4751"/>
                  <a:gd name="T58" fmla="*/ 72 w 2511"/>
                  <a:gd name="T59" fmla="*/ 4463 h 4751"/>
                  <a:gd name="T60" fmla="*/ 84 w 2511"/>
                  <a:gd name="T61" fmla="*/ 4520 h 4751"/>
                  <a:gd name="T62" fmla="*/ 136 w 2511"/>
                  <a:gd name="T63" fmla="*/ 4592 h 4751"/>
                  <a:gd name="T64" fmla="*/ 194 w 2511"/>
                  <a:gd name="T65" fmla="*/ 4635 h 4751"/>
                  <a:gd name="T66" fmla="*/ 271 w 2511"/>
                  <a:gd name="T67" fmla="*/ 4667 h 4751"/>
                  <a:gd name="T68" fmla="*/ 360 w 2511"/>
                  <a:gd name="T69" fmla="*/ 4679 h 4751"/>
                  <a:gd name="T70" fmla="*/ 2209 w 2511"/>
                  <a:gd name="T71" fmla="*/ 4674 h 4751"/>
                  <a:gd name="T72" fmla="*/ 2317 w 2511"/>
                  <a:gd name="T73" fmla="*/ 4634 h 4751"/>
                  <a:gd name="T74" fmla="*/ 2394 w 2511"/>
                  <a:gd name="T75" fmla="*/ 4566 h 4751"/>
                  <a:gd name="T76" fmla="*/ 2424 w 2511"/>
                  <a:gd name="T77" fmla="*/ 4511 h 4751"/>
                  <a:gd name="T78" fmla="*/ 2439 w 2511"/>
                  <a:gd name="T79" fmla="*/ 4436 h 4751"/>
                  <a:gd name="T80" fmla="*/ 2433 w 2511"/>
                  <a:gd name="T81" fmla="*/ 266 h 4751"/>
                  <a:gd name="T82" fmla="*/ 2406 w 2511"/>
                  <a:gd name="T83" fmla="*/ 201 h 4751"/>
                  <a:gd name="T84" fmla="*/ 2339 w 2511"/>
                  <a:gd name="T85" fmla="*/ 130 h 4751"/>
                  <a:gd name="T86" fmla="*/ 2239 w 2511"/>
                  <a:gd name="T87" fmla="*/ 84 h 4751"/>
                  <a:gd name="T88" fmla="*/ 2151 w 2511"/>
                  <a:gd name="T89" fmla="*/ 72 h 4751"/>
                  <a:gd name="T90" fmla="*/ 303 w 2511"/>
                  <a:gd name="T91" fmla="*/ 78 h 4751"/>
                  <a:gd name="T92" fmla="*/ 194 w 2511"/>
                  <a:gd name="T93" fmla="*/ 118 h 4751"/>
                  <a:gd name="T94" fmla="*/ 136 w 2511"/>
                  <a:gd name="T95" fmla="*/ 169 h 4751"/>
                  <a:gd name="T96" fmla="*/ 96 w 2511"/>
                  <a:gd name="T97" fmla="*/ 233 h 4751"/>
                  <a:gd name="T98" fmla="*/ 74 w 2511"/>
                  <a:gd name="T99" fmla="*/ 318 h 4751"/>
                  <a:gd name="T100" fmla="*/ 0 w 2511"/>
                  <a:gd name="T101" fmla="*/ 1120 h 4751"/>
                  <a:gd name="T102" fmla="*/ 7 w 2511"/>
                  <a:gd name="T103" fmla="*/ 272 h 4751"/>
                  <a:gd name="T104" fmla="*/ 42 w 2511"/>
                  <a:gd name="T105" fmla="*/ 178 h 4751"/>
                  <a:gd name="T106" fmla="*/ 106 w 2511"/>
                  <a:gd name="T107" fmla="*/ 97 h 4751"/>
                  <a:gd name="T108" fmla="*/ 191 w 2511"/>
                  <a:gd name="T109" fmla="*/ 37 h 4751"/>
                  <a:gd name="T110" fmla="*/ 288 w 2511"/>
                  <a:gd name="T111" fmla="*/ 7 h 4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11" h="4751">
                    <a:moveTo>
                      <a:pt x="346" y="4112"/>
                    </a:moveTo>
                    <a:lnTo>
                      <a:pt x="346" y="4203"/>
                    </a:lnTo>
                    <a:lnTo>
                      <a:pt x="2164" y="4203"/>
                    </a:lnTo>
                    <a:lnTo>
                      <a:pt x="2164" y="4112"/>
                    </a:lnTo>
                    <a:lnTo>
                      <a:pt x="346" y="4112"/>
                    </a:lnTo>
                    <a:close/>
                    <a:moveTo>
                      <a:pt x="274" y="4040"/>
                    </a:moveTo>
                    <a:lnTo>
                      <a:pt x="2236" y="4040"/>
                    </a:lnTo>
                    <a:lnTo>
                      <a:pt x="2236" y="4275"/>
                    </a:lnTo>
                    <a:lnTo>
                      <a:pt x="274" y="4275"/>
                    </a:lnTo>
                    <a:lnTo>
                      <a:pt x="274" y="4040"/>
                    </a:lnTo>
                    <a:close/>
                    <a:moveTo>
                      <a:pt x="346" y="3750"/>
                    </a:moveTo>
                    <a:lnTo>
                      <a:pt x="346" y="3842"/>
                    </a:lnTo>
                    <a:lnTo>
                      <a:pt x="653" y="3842"/>
                    </a:lnTo>
                    <a:lnTo>
                      <a:pt x="653" y="3750"/>
                    </a:lnTo>
                    <a:lnTo>
                      <a:pt x="346" y="3750"/>
                    </a:lnTo>
                    <a:close/>
                    <a:moveTo>
                      <a:pt x="274" y="3678"/>
                    </a:moveTo>
                    <a:lnTo>
                      <a:pt x="725" y="3678"/>
                    </a:lnTo>
                    <a:lnTo>
                      <a:pt x="725" y="3914"/>
                    </a:lnTo>
                    <a:lnTo>
                      <a:pt x="274" y="3914"/>
                    </a:lnTo>
                    <a:lnTo>
                      <a:pt x="274" y="3678"/>
                    </a:lnTo>
                    <a:close/>
                    <a:moveTo>
                      <a:pt x="346" y="3390"/>
                    </a:moveTo>
                    <a:lnTo>
                      <a:pt x="346" y="3482"/>
                    </a:lnTo>
                    <a:lnTo>
                      <a:pt x="653" y="3482"/>
                    </a:lnTo>
                    <a:lnTo>
                      <a:pt x="653" y="3390"/>
                    </a:lnTo>
                    <a:lnTo>
                      <a:pt x="346" y="3390"/>
                    </a:lnTo>
                    <a:close/>
                    <a:moveTo>
                      <a:pt x="274" y="3318"/>
                    </a:moveTo>
                    <a:lnTo>
                      <a:pt x="725" y="3318"/>
                    </a:lnTo>
                    <a:lnTo>
                      <a:pt x="725" y="3554"/>
                    </a:lnTo>
                    <a:lnTo>
                      <a:pt x="274" y="3554"/>
                    </a:lnTo>
                    <a:lnTo>
                      <a:pt x="274" y="3318"/>
                    </a:lnTo>
                    <a:close/>
                    <a:moveTo>
                      <a:pt x="346" y="870"/>
                    </a:moveTo>
                    <a:lnTo>
                      <a:pt x="346" y="1042"/>
                    </a:lnTo>
                    <a:lnTo>
                      <a:pt x="2164" y="1042"/>
                    </a:lnTo>
                    <a:lnTo>
                      <a:pt x="2164" y="870"/>
                    </a:lnTo>
                    <a:lnTo>
                      <a:pt x="346" y="870"/>
                    </a:lnTo>
                    <a:close/>
                    <a:moveTo>
                      <a:pt x="274" y="798"/>
                    </a:moveTo>
                    <a:lnTo>
                      <a:pt x="2236" y="798"/>
                    </a:lnTo>
                    <a:lnTo>
                      <a:pt x="2236" y="1115"/>
                    </a:lnTo>
                    <a:lnTo>
                      <a:pt x="274" y="1115"/>
                    </a:lnTo>
                    <a:lnTo>
                      <a:pt x="274" y="798"/>
                    </a:lnTo>
                    <a:close/>
                    <a:moveTo>
                      <a:pt x="346" y="503"/>
                    </a:moveTo>
                    <a:lnTo>
                      <a:pt x="346" y="678"/>
                    </a:lnTo>
                    <a:lnTo>
                      <a:pt x="2164" y="678"/>
                    </a:lnTo>
                    <a:lnTo>
                      <a:pt x="2164" y="503"/>
                    </a:lnTo>
                    <a:lnTo>
                      <a:pt x="346" y="503"/>
                    </a:lnTo>
                    <a:close/>
                    <a:moveTo>
                      <a:pt x="274" y="431"/>
                    </a:moveTo>
                    <a:lnTo>
                      <a:pt x="2236" y="431"/>
                    </a:lnTo>
                    <a:lnTo>
                      <a:pt x="2236" y="750"/>
                    </a:lnTo>
                    <a:lnTo>
                      <a:pt x="274" y="750"/>
                    </a:lnTo>
                    <a:lnTo>
                      <a:pt x="274" y="431"/>
                    </a:lnTo>
                    <a:close/>
                    <a:moveTo>
                      <a:pt x="359" y="0"/>
                    </a:moveTo>
                    <a:lnTo>
                      <a:pt x="2152" y="0"/>
                    </a:lnTo>
                    <a:lnTo>
                      <a:pt x="2184" y="1"/>
                    </a:lnTo>
                    <a:lnTo>
                      <a:pt x="2191" y="3"/>
                    </a:lnTo>
                    <a:lnTo>
                      <a:pt x="2223" y="6"/>
                    </a:lnTo>
                    <a:lnTo>
                      <a:pt x="2254" y="13"/>
                    </a:lnTo>
                    <a:lnTo>
                      <a:pt x="2284" y="23"/>
                    </a:lnTo>
                    <a:lnTo>
                      <a:pt x="2291" y="24"/>
                    </a:lnTo>
                    <a:lnTo>
                      <a:pt x="2319" y="36"/>
                    </a:lnTo>
                    <a:lnTo>
                      <a:pt x="2346" y="50"/>
                    </a:lnTo>
                    <a:lnTo>
                      <a:pt x="2371" y="66"/>
                    </a:lnTo>
                    <a:lnTo>
                      <a:pt x="2406" y="92"/>
                    </a:lnTo>
                    <a:lnTo>
                      <a:pt x="2426" y="113"/>
                    </a:lnTo>
                    <a:lnTo>
                      <a:pt x="2445" y="134"/>
                    </a:lnTo>
                    <a:lnTo>
                      <a:pt x="2461" y="157"/>
                    </a:lnTo>
                    <a:lnTo>
                      <a:pt x="2469" y="169"/>
                    </a:lnTo>
                    <a:lnTo>
                      <a:pt x="2482" y="194"/>
                    </a:lnTo>
                    <a:lnTo>
                      <a:pt x="2494" y="218"/>
                    </a:lnTo>
                    <a:lnTo>
                      <a:pt x="2495" y="225"/>
                    </a:lnTo>
                    <a:lnTo>
                      <a:pt x="2504" y="251"/>
                    </a:lnTo>
                    <a:lnTo>
                      <a:pt x="2508" y="279"/>
                    </a:lnTo>
                    <a:lnTo>
                      <a:pt x="2510" y="286"/>
                    </a:lnTo>
                    <a:lnTo>
                      <a:pt x="2511" y="302"/>
                    </a:lnTo>
                    <a:lnTo>
                      <a:pt x="2511" y="4449"/>
                    </a:lnTo>
                    <a:lnTo>
                      <a:pt x="2510" y="4465"/>
                    </a:lnTo>
                    <a:lnTo>
                      <a:pt x="2508" y="4472"/>
                    </a:lnTo>
                    <a:lnTo>
                      <a:pt x="2504" y="4499"/>
                    </a:lnTo>
                    <a:lnTo>
                      <a:pt x="2495" y="4525"/>
                    </a:lnTo>
                    <a:lnTo>
                      <a:pt x="2494" y="4533"/>
                    </a:lnTo>
                    <a:lnTo>
                      <a:pt x="2482" y="4557"/>
                    </a:lnTo>
                    <a:lnTo>
                      <a:pt x="2469" y="4582"/>
                    </a:lnTo>
                    <a:lnTo>
                      <a:pt x="2461" y="4593"/>
                    </a:lnTo>
                    <a:lnTo>
                      <a:pt x="2445" y="4617"/>
                    </a:lnTo>
                    <a:lnTo>
                      <a:pt x="2426" y="4638"/>
                    </a:lnTo>
                    <a:lnTo>
                      <a:pt x="2406" y="4658"/>
                    </a:lnTo>
                    <a:lnTo>
                      <a:pt x="2371" y="4684"/>
                    </a:lnTo>
                    <a:lnTo>
                      <a:pt x="2346" y="4700"/>
                    </a:lnTo>
                    <a:lnTo>
                      <a:pt x="2319" y="4715"/>
                    </a:lnTo>
                    <a:lnTo>
                      <a:pt x="2291" y="4726"/>
                    </a:lnTo>
                    <a:lnTo>
                      <a:pt x="2284" y="4728"/>
                    </a:lnTo>
                    <a:lnTo>
                      <a:pt x="2254" y="4738"/>
                    </a:lnTo>
                    <a:lnTo>
                      <a:pt x="2223" y="4745"/>
                    </a:lnTo>
                    <a:lnTo>
                      <a:pt x="2191" y="4750"/>
                    </a:lnTo>
                    <a:lnTo>
                      <a:pt x="2184" y="4750"/>
                    </a:lnTo>
                    <a:lnTo>
                      <a:pt x="2151" y="4751"/>
                    </a:lnTo>
                    <a:lnTo>
                      <a:pt x="360" y="4751"/>
                    </a:lnTo>
                    <a:lnTo>
                      <a:pt x="327" y="4750"/>
                    </a:lnTo>
                    <a:lnTo>
                      <a:pt x="320" y="4750"/>
                    </a:lnTo>
                    <a:lnTo>
                      <a:pt x="288" y="4745"/>
                    </a:lnTo>
                    <a:lnTo>
                      <a:pt x="256" y="4738"/>
                    </a:lnTo>
                    <a:lnTo>
                      <a:pt x="227" y="4729"/>
                    </a:lnTo>
                    <a:lnTo>
                      <a:pt x="191" y="4715"/>
                    </a:lnTo>
                    <a:lnTo>
                      <a:pt x="165" y="4702"/>
                    </a:lnTo>
                    <a:lnTo>
                      <a:pt x="139" y="4686"/>
                    </a:lnTo>
                    <a:lnTo>
                      <a:pt x="129" y="4679"/>
                    </a:lnTo>
                    <a:lnTo>
                      <a:pt x="106" y="4661"/>
                    </a:lnTo>
                    <a:lnTo>
                      <a:pt x="85" y="4643"/>
                    </a:lnTo>
                    <a:lnTo>
                      <a:pt x="67" y="4624"/>
                    </a:lnTo>
                    <a:lnTo>
                      <a:pt x="51" y="4602"/>
                    </a:lnTo>
                    <a:lnTo>
                      <a:pt x="42" y="4591"/>
                    </a:lnTo>
                    <a:lnTo>
                      <a:pt x="29" y="4569"/>
                    </a:lnTo>
                    <a:lnTo>
                      <a:pt x="17" y="4547"/>
                    </a:lnTo>
                    <a:lnTo>
                      <a:pt x="10" y="4524"/>
                    </a:lnTo>
                    <a:lnTo>
                      <a:pt x="7" y="4517"/>
                    </a:lnTo>
                    <a:lnTo>
                      <a:pt x="3" y="4494"/>
                    </a:lnTo>
                    <a:lnTo>
                      <a:pt x="2" y="4486"/>
                    </a:lnTo>
                    <a:lnTo>
                      <a:pt x="0" y="4463"/>
                    </a:lnTo>
                    <a:lnTo>
                      <a:pt x="0" y="3587"/>
                    </a:lnTo>
                    <a:lnTo>
                      <a:pt x="72" y="3587"/>
                    </a:lnTo>
                    <a:lnTo>
                      <a:pt x="72" y="4463"/>
                    </a:lnTo>
                    <a:lnTo>
                      <a:pt x="74" y="4479"/>
                    </a:lnTo>
                    <a:lnTo>
                      <a:pt x="74" y="4479"/>
                    </a:lnTo>
                    <a:lnTo>
                      <a:pt x="78" y="4499"/>
                    </a:lnTo>
                    <a:lnTo>
                      <a:pt x="84" y="4520"/>
                    </a:lnTo>
                    <a:lnTo>
                      <a:pt x="96" y="4541"/>
                    </a:lnTo>
                    <a:lnTo>
                      <a:pt x="103" y="4554"/>
                    </a:lnTo>
                    <a:lnTo>
                      <a:pt x="117" y="4573"/>
                    </a:lnTo>
                    <a:lnTo>
                      <a:pt x="136" y="4592"/>
                    </a:lnTo>
                    <a:lnTo>
                      <a:pt x="156" y="4611"/>
                    </a:lnTo>
                    <a:lnTo>
                      <a:pt x="168" y="4619"/>
                    </a:lnTo>
                    <a:lnTo>
                      <a:pt x="168" y="4619"/>
                    </a:lnTo>
                    <a:lnTo>
                      <a:pt x="194" y="4635"/>
                    </a:lnTo>
                    <a:lnTo>
                      <a:pt x="220" y="4648"/>
                    </a:lnTo>
                    <a:lnTo>
                      <a:pt x="249" y="4660"/>
                    </a:lnTo>
                    <a:lnTo>
                      <a:pt x="249" y="4660"/>
                    </a:lnTo>
                    <a:lnTo>
                      <a:pt x="271" y="4667"/>
                    </a:lnTo>
                    <a:lnTo>
                      <a:pt x="303" y="4674"/>
                    </a:lnTo>
                    <a:lnTo>
                      <a:pt x="327" y="4677"/>
                    </a:lnTo>
                    <a:lnTo>
                      <a:pt x="327" y="4677"/>
                    </a:lnTo>
                    <a:lnTo>
                      <a:pt x="360" y="4679"/>
                    </a:lnTo>
                    <a:lnTo>
                      <a:pt x="2151" y="4679"/>
                    </a:lnTo>
                    <a:lnTo>
                      <a:pt x="2184" y="4677"/>
                    </a:lnTo>
                    <a:lnTo>
                      <a:pt x="2184" y="4677"/>
                    </a:lnTo>
                    <a:lnTo>
                      <a:pt x="2209" y="4674"/>
                    </a:lnTo>
                    <a:lnTo>
                      <a:pt x="2239" y="4667"/>
                    </a:lnTo>
                    <a:lnTo>
                      <a:pt x="2268" y="4657"/>
                    </a:lnTo>
                    <a:lnTo>
                      <a:pt x="2290" y="4648"/>
                    </a:lnTo>
                    <a:lnTo>
                      <a:pt x="2317" y="4634"/>
                    </a:lnTo>
                    <a:lnTo>
                      <a:pt x="2339" y="4621"/>
                    </a:lnTo>
                    <a:lnTo>
                      <a:pt x="2355" y="4608"/>
                    </a:lnTo>
                    <a:lnTo>
                      <a:pt x="2375" y="4588"/>
                    </a:lnTo>
                    <a:lnTo>
                      <a:pt x="2394" y="4566"/>
                    </a:lnTo>
                    <a:lnTo>
                      <a:pt x="2406" y="4550"/>
                    </a:lnTo>
                    <a:lnTo>
                      <a:pt x="2416" y="4530"/>
                    </a:lnTo>
                    <a:lnTo>
                      <a:pt x="2424" y="4511"/>
                    </a:lnTo>
                    <a:lnTo>
                      <a:pt x="2424" y="4511"/>
                    </a:lnTo>
                    <a:lnTo>
                      <a:pt x="2433" y="4485"/>
                    </a:lnTo>
                    <a:lnTo>
                      <a:pt x="2437" y="4457"/>
                    </a:lnTo>
                    <a:lnTo>
                      <a:pt x="2437" y="4457"/>
                    </a:lnTo>
                    <a:lnTo>
                      <a:pt x="2439" y="4436"/>
                    </a:lnTo>
                    <a:lnTo>
                      <a:pt x="2439" y="315"/>
                    </a:lnTo>
                    <a:lnTo>
                      <a:pt x="2437" y="293"/>
                    </a:lnTo>
                    <a:lnTo>
                      <a:pt x="2437" y="293"/>
                    </a:lnTo>
                    <a:lnTo>
                      <a:pt x="2433" y="266"/>
                    </a:lnTo>
                    <a:lnTo>
                      <a:pt x="2424" y="240"/>
                    </a:lnTo>
                    <a:lnTo>
                      <a:pt x="2424" y="240"/>
                    </a:lnTo>
                    <a:lnTo>
                      <a:pt x="2416" y="221"/>
                    </a:lnTo>
                    <a:lnTo>
                      <a:pt x="2406" y="201"/>
                    </a:lnTo>
                    <a:lnTo>
                      <a:pt x="2394" y="185"/>
                    </a:lnTo>
                    <a:lnTo>
                      <a:pt x="2375" y="163"/>
                    </a:lnTo>
                    <a:lnTo>
                      <a:pt x="2355" y="143"/>
                    </a:lnTo>
                    <a:lnTo>
                      <a:pt x="2339" y="130"/>
                    </a:lnTo>
                    <a:lnTo>
                      <a:pt x="2317" y="117"/>
                    </a:lnTo>
                    <a:lnTo>
                      <a:pt x="2290" y="102"/>
                    </a:lnTo>
                    <a:lnTo>
                      <a:pt x="2268" y="94"/>
                    </a:lnTo>
                    <a:lnTo>
                      <a:pt x="2239" y="84"/>
                    </a:lnTo>
                    <a:lnTo>
                      <a:pt x="2209" y="76"/>
                    </a:lnTo>
                    <a:lnTo>
                      <a:pt x="2177" y="74"/>
                    </a:lnTo>
                    <a:lnTo>
                      <a:pt x="2177" y="74"/>
                    </a:lnTo>
                    <a:lnTo>
                      <a:pt x="2151" y="72"/>
                    </a:lnTo>
                    <a:lnTo>
                      <a:pt x="360" y="72"/>
                    </a:lnTo>
                    <a:lnTo>
                      <a:pt x="334" y="74"/>
                    </a:lnTo>
                    <a:lnTo>
                      <a:pt x="334" y="74"/>
                    </a:lnTo>
                    <a:lnTo>
                      <a:pt x="303" y="78"/>
                    </a:lnTo>
                    <a:lnTo>
                      <a:pt x="277" y="82"/>
                    </a:lnTo>
                    <a:lnTo>
                      <a:pt x="249" y="92"/>
                    </a:lnTo>
                    <a:lnTo>
                      <a:pt x="220" y="104"/>
                    </a:lnTo>
                    <a:lnTo>
                      <a:pt x="194" y="118"/>
                    </a:lnTo>
                    <a:lnTo>
                      <a:pt x="194" y="118"/>
                    </a:lnTo>
                    <a:lnTo>
                      <a:pt x="180" y="127"/>
                    </a:lnTo>
                    <a:lnTo>
                      <a:pt x="156" y="147"/>
                    </a:lnTo>
                    <a:lnTo>
                      <a:pt x="136" y="169"/>
                    </a:lnTo>
                    <a:lnTo>
                      <a:pt x="117" y="192"/>
                    </a:lnTo>
                    <a:lnTo>
                      <a:pt x="117" y="192"/>
                    </a:lnTo>
                    <a:lnTo>
                      <a:pt x="109" y="205"/>
                    </a:lnTo>
                    <a:lnTo>
                      <a:pt x="96" y="233"/>
                    </a:lnTo>
                    <a:lnTo>
                      <a:pt x="87" y="256"/>
                    </a:lnTo>
                    <a:lnTo>
                      <a:pt x="87" y="256"/>
                    </a:lnTo>
                    <a:lnTo>
                      <a:pt x="78" y="286"/>
                    </a:lnTo>
                    <a:lnTo>
                      <a:pt x="74" y="318"/>
                    </a:lnTo>
                    <a:lnTo>
                      <a:pt x="74" y="318"/>
                    </a:lnTo>
                    <a:lnTo>
                      <a:pt x="72" y="344"/>
                    </a:lnTo>
                    <a:lnTo>
                      <a:pt x="72" y="1120"/>
                    </a:lnTo>
                    <a:lnTo>
                      <a:pt x="0" y="1120"/>
                    </a:lnTo>
                    <a:lnTo>
                      <a:pt x="0" y="344"/>
                    </a:lnTo>
                    <a:lnTo>
                      <a:pt x="2" y="311"/>
                    </a:lnTo>
                    <a:lnTo>
                      <a:pt x="3" y="303"/>
                    </a:lnTo>
                    <a:lnTo>
                      <a:pt x="7" y="272"/>
                    </a:lnTo>
                    <a:lnTo>
                      <a:pt x="16" y="241"/>
                    </a:lnTo>
                    <a:lnTo>
                      <a:pt x="17" y="234"/>
                    </a:lnTo>
                    <a:lnTo>
                      <a:pt x="29" y="205"/>
                    </a:lnTo>
                    <a:lnTo>
                      <a:pt x="42" y="178"/>
                    </a:lnTo>
                    <a:lnTo>
                      <a:pt x="58" y="153"/>
                    </a:lnTo>
                    <a:lnTo>
                      <a:pt x="67" y="141"/>
                    </a:lnTo>
                    <a:lnTo>
                      <a:pt x="85" y="118"/>
                    </a:lnTo>
                    <a:lnTo>
                      <a:pt x="106" y="97"/>
                    </a:lnTo>
                    <a:lnTo>
                      <a:pt x="129" y="76"/>
                    </a:lnTo>
                    <a:lnTo>
                      <a:pt x="154" y="61"/>
                    </a:lnTo>
                    <a:lnTo>
                      <a:pt x="165" y="52"/>
                    </a:lnTo>
                    <a:lnTo>
                      <a:pt x="191" y="37"/>
                    </a:lnTo>
                    <a:lnTo>
                      <a:pt x="220" y="26"/>
                    </a:lnTo>
                    <a:lnTo>
                      <a:pt x="249" y="16"/>
                    </a:lnTo>
                    <a:lnTo>
                      <a:pt x="256" y="13"/>
                    </a:lnTo>
                    <a:lnTo>
                      <a:pt x="288" y="7"/>
                    </a:lnTo>
                    <a:lnTo>
                      <a:pt x="320" y="3"/>
                    </a:lnTo>
                    <a:lnTo>
                      <a:pt x="327" y="1"/>
                    </a:lnTo>
                    <a:lnTo>
                      <a:pt x="359"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7" name="Freeform 738"/>
              <p:cNvSpPr>
                <a:spLocks noEditPoints="1"/>
              </p:cNvSpPr>
              <p:nvPr/>
            </p:nvSpPr>
            <p:spPr bwMode="auto">
              <a:xfrm>
                <a:off x="918" y="3458"/>
                <a:ext cx="963" cy="822"/>
              </a:xfrm>
              <a:custGeom>
                <a:avLst/>
                <a:gdLst>
                  <a:gd name="T0" fmla="*/ 185 w 2887"/>
                  <a:gd name="T1" fmla="*/ 187 h 2467"/>
                  <a:gd name="T2" fmla="*/ 169 w 2887"/>
                  <a:gd name="T3" fmla="*/ 822 h 2467"/>
                  <a:gd name="T4" fmla="*/ 169 w 2887"/>
                  <a:gd name="T5" fmla="*/ 1075 h 2467"/>
                  <a:gd name="T6" fmla="*/ 173 w 2887"/>
                  <a:gd name="T7" fmla="*/ 1897 h 2467"/>
                  <a:gd name="T8" fmla="*/ 250 w 2887"/>
                  <a:gd name="T9" fmla="*/ 1949 h 2467"/>
                  <a:gd name="T10" fmla="*/ 318 w 2887"/>
                  <a:gd name="T11" fmla="*/ 1949 h 2467"/>
                  <a:gd name="T12" fmla="*/ 1152 w 2887"/>
                  <a:gd name="T13" fmla="*/ 1949 h 2467"/>
                  <a:gd name="T14" fmla="*/ 2094 w 2887"/>
                  <a:gd name="T15" fmla="*/ 1949 h 2467"/>
                  <a:gd name="T16" fmla="*/ 2718 w 2887"/>
                  <a:gd name="T17" fmla="*/ 1897 h 2467"/>
                  <a:gd name="T18" fmla="*/ 2721 w 2887"/>
                  <a:gd name="T19" fmla="*/ 1362 h 2467"/>
                  <a:gd name="T20" fmla="*/ 2721 w 2887"/>
                  <a:gd name="T21" fmla="*/ 1075 h 2467"/>
                  <a:gd name="T22" fmla="*/ 2721 w 2887"/>
                  <a:gd name="T23" fmla="*/ 822 h 2467"/>
                  <a:gd name="T24" fmla="*/ 2706 w 2887"/>
                  <a:gd name="T25" fmla="*/ 187 h 2467"/>
                  <a:gd name="T26" fmla="*/ 2643 w 2887"/>
                  <a:gd name="T27" fmla="*/ 157 h 2467"/>
                  <a:gd name="T28" fmla="*/ 2607 w 2887"/>
                  <a:gd name="T29" fmla="*/ 157 h 2467"/>
                  <a:gd name="T30" fmla="*/ 2292 w 2887"/>
                  <a:gd name="T31" fmla="*/ 157 h 2467"/>
                  <a:gd name="T32" fmla="*/ 1634 w 2887"/>
                  <a:gd name="T33" fmla="*/ 157 h 2467"/>
                  <a:gd name="T34" fmla="*/ 800 w 2887"/>
                  <a:gd name="T35" fmla="*/ 157 h 2467"/>
                  <a:gd name="T36" fmla="*/ 123 w 2887"/>
                  <a:gd name="T37" fmla="*/ 0 h 2467"/>
                  <a:gd name="T38" fmla="*/ 492 w 2887"/>
                  <a:gd name="T39" fmla="*/ 0 h 2467"/>
                  <a:gd name="T40" fmla="*/ 1178 w 2887"/>
                  <a:gd name="T41" fmla="*/ 0 h 2467"/>
                  <a:gd name="T42" fmla="*/ 2206 w 2887"/>
                  <a:gd name="T43" fmla="*/ 0 h 2467"/>
                  <a:gd name="T44" fmla="*/ 2860 w 2887"/>
                  <a:gd name="T45" fmla="*/ 25 h 2467"/>
                  <a:gd name="T46" fmla="*/ 2887 w 2887"/>
                  <a:gd name="T47" fmla="*/ 430 h 2467"/>
                  <a:gd name="T48" fmla="*/ 2887 w 2887"/>
                  <a:gd name="T49" fmla="*/ 940 h 2467"/>
                  <a:gd name="T50" fmla="*/ 2887 w 2887"/>
                  <a:gd name="T51" fmla="*/ 1076 h 2467"/>
                  <a:gd name="T52" fmla="*/ 2887 w 2887"/>
                  <a:gd name="T53" fmla="*/ 1124 h 2467"/>
                  <a:gd name="T54" fmla="*/ 2887 w 2887"/>
                  <a:gd name="T55" fmla="*/ 1380 h 2467"/>
                  <a:gd name="T56" fmla="*/ 2887 w 2887"/>
                  <a:gd name="T57" fmla="*/ 2017 h 2467"/>
                  <a:gd name="T58" fmla="*/ 2795 w 2887"/>
                  <a:gd name="T59" fmla="*/ 2108 h 2467"/>
                  <a:gd name="T60" fmla="*/ 2640 w 2887"/>
                  <a:gd name="T61" fmla="*/ 2108 h 2467"/>
                  <a:gd name="T62" fmla="*/ 1968 w 2887"/>
                  <a:gd name="T63" fmla="*/ 2191 h 2467"/>
                  <a:gd name="T64" fmla="*/ 2036 w 2887"/>
                  <a:gd name="T65" fmla="*/ 2288 h 2467"/>
                  <a:gd name="T66" fmla="*/ 2132 w 2887"/>
                  <a:gd name="T67" fmla="*/ 2301 h 2467"/>
                  <a:gd name="T68" fmla="*/ 2194 w 2887"/>
                  <a:gd name="T69" fmla="*/ 2366 h 2467"/>
                  <a:gd name="T70" fmla="*/ 2181 w 2887"/>
                  <a:gd name="T71" fmla="*/ 2440 h 2467"/>
                  <a:gd name="T72" fmla="*/ 2130 w 2887"/>
                  <a:gd name="T73" fmla="*/ 2467 h 2467"/>
                  <a:gd name="T74" fmla="*/ 2064 w 2887"/>
                  <a:gd name="T75" fmla="*/ 2467 h 2467"/>
                  <a:gd name="T76" fmla="*/ 1735 w 2887"/>
                  <a:gd name="T77" fmla="*/ 2467 h 2467"/>
                  <a:gd name="T78" fmla="*/ 1068 w 2887"/>
                  <a:gd name="T79" fmla="*/ 2467 h 2467"/>
                  <a:gd name="T80" fmla="*/ 732 w 2887"/>
                  <a:gd name="T81" fmla="*/ 2422 h 2467"/>
                  <a:gd name="T82" fmla="*/ 729 w 2887"/>
                  <a:gd name="T83" fmla="*/ 2366 h 2467"/>
                  <a:gd name="T84" fmla="*/ 792 w 2887"/>
                  <a:gd name="T85" fmla="*/ 2301 h 2467"/>
                  <a:gd name="T86" fmla="*/ 845 w 2887"/>
                  <a:gd name="T87" fmla="*/ 2294 h 2467"/>
                  <a:gd name="T88" fmla="*/ 958 w 2887"/>
                  <a:gd name="T89" fmla="*/ 2247 h 2467"/>
                  <a:gd name="T90" fmla="*/ 983 w 2887"/>
                  <a:gd name="T91" fmla="*/ 2126 h 2467"/>
                  <a:gd name="T92" fmla="*/ 874 w 2887"/>
                  <a:gd name="T93" fmla="*/ 2108 h 2467"/>
                  <a:gd name="T94" fmla="*/ 576 w 2887"/>
                  <a:gd name="T95" fmla="*/ 2108 h 2467"/>
                  <a:gd name="T96" fmla="*/ 49 w 2887"/>
                  <a:gd name="T97" fmla="*/ 2097 h 2467"/>
                  <a:gd name="T98" fmla="*/ 0 w 2887"/>
                  <a:gd name="T99" fmla="*/ 1686 h 2467"/>
                  <a:gd name="T100" fmla="*/ 0 w 2887"/>
                  <a:gd name="T101" fmla="*/ 1075 h 2467"/>
                  <a:gd name="T102" fmla="*/ 0 w 2887"/>
                  <a:gd name="T103" fmla="*/ 1036 h 2467"/>
                  <a:gd name="T104" fmla="*/ 0 w 2887"/>
                  <a:gd name="T105" fmla="*/ 89 h 2467"/>
                  <a:gd name="T106" fmla="*/ 98 w 2887"/>
                  <a:gd name="T10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7" h="2467">
                    <a:moveTo>
                      <a:pt x="627" y="157"/>
                    </a:moveTo>
                    <a:lnTo>
                      <a:pt x="444" y="157"/>
                    </a:lnTo>
                    <a:lnTo>
                      <a:pt x="249" y="157"/>
                    </a:lnTo>
                    <a:lnTo>
                      <a:pt x="224" y="159"/>
                    </a:lnTo>
                    <a:lnTo>
                      <a:pt x="202" y="171"/>
                    </a:lnTo>
                    <a:lnTo>
                      <a:pt x="185" y="187"/>
                    </a:lnTo>
                    <a:lnTo>
                      <a:pt x="173" y="209"/>
                    </a:lnTo>
                    <a:lnTo>
                      <a:pt x="169" y="233"/>
                    </a:lnTo>
                    <a:lnTo>
                      <a:pt x="169" y="625"/>
                    </a:lnTo>
                    <a:lnTo>
                      <a:pt x="169" y="699"/>
                    </a:lnTo>
                    <a:lnTo>
                      <a:pt x="169" y="765"/>
                    </a:lnTo>
                    <a:lnTo>
                      <a:pt x="169" y="822"/>
                    </a:lnTo>
                    <a:lnTo>
                      <a:pt x="169" y="872"/>
                    </a:lnTo>
                    <a:lnTo>
                      <a:pt x="169" y="981"/>
                    </a:lnTo>
                    <a:lnTo>
                      <a:pt x="169" y="1005"/>
                    </a:lnTo>
                    <a:lnTo>
                      <a:pt x="169" y="1026"/>
                    </a:lnTo>
                    <a:lnTo>
                      <a:pt x="169" y="1075"/>
                    </a:lnTo>
                    <a:lnTo>
                      <a:pt x="169" y="1075"/>
                    </a:lnTo>
                    <a:lnTo>
                      <a:pt x="169" y="1075"/>
                    </a:lnTo>
                    <a:lnTo>
                      <a:pt x="169" y="1362"/>
                    </a:lnTo>
                    <a:lnTo>
                      <a:pt x="169" y="1425"/>
                    </a:lnTo>
                    <a:lnTo>
                      <a:pt x="169" y="1495"/>
                    </a:lnTo>
                    <a:lnTo>
                      <a:pt x="169" y="1873"/>
                    </a:lnTo>
                    <a:lnTo>
                      <a:pt x="173" y="1897"/>
                    </a:lnTo>
                    <a:lnTo>
                      <a:pt x="185" y="1919"/>
                    </a:lnTo>
                    <a:lnTo>
                      <a:pt x="202" y="1935"/>
                    </a:lnTo>
                    <a:lnTo>
                      <a:pt x="224" y="1945"/>
                    </a:lnTo>
                    <a:lnTo>
                      <a:pt x="249" y="1949"/>
                    </a:lnTo>
                    <a:lnTo>
                      <a:pt x="250" y="1949"/>
                    </a:lnTo>
                    <a:lnTo>
                      <a:pt x="250" y="1949"/>
                    </a:lnTo>
                    <a:lnTo>
                      <a:pt x="253" y="1949"/>
                    </a:lnTo>
                    <a:lnTo>
                      <a:pt x="268" y="1949"/>
                    </a:lnTo>
                    <a:lnTo>
                      <a:pt x="276" y="1949"/>
                    </a:lnTo>
                    <a:lnTo>
                      <a:pt x="286" y="1949"/>
                    </a:lnTo>
                    <a:lnTo>
                      <a:pt x="301" y="1949"/>
                    </a:lnTo>
                    <a:lnTo>
                      <a:pt x="318" y="1949"/>
                    </a:lnTo>
                    <a:lnTo>
                      <a:pt x="338" y="1949"/>
                    </a:lnTo>
                    <a:lnTo>
                      <a:pt x="362" y="1949"/>
                    </a:lnTo>
                    <a:lnTo>
                      <a:pt x="391" y="1949"/>
                    </a:lnTo>
                    <a:lnTo>
                      <a:pt x="796" y="1949"/>
                    </a:lnTo>
                    <a:lnTo>
                      <a:pt x="874" y="1949"/>
                    </a:lnTo>
                    <a:lnTo>
                      <a:pt x="1152" y="1949"/>
                    </a:lnTo>
                    <a:lnTo>
                      <a:pt x="1259" y="1949"/>
                    </a:lnTo>
                    <a:lnTo>
                      <a:pt x="1376" y="1949"/>
                    </a:lnTo>
                    <a:lnTo>
                      <a:pt x="1501" y="1949"/>
                    </a:lnTo>
                    <a:lnTo>
                      <a:pt x="1635" y="1949"/>
                    </a:lnTo>
                    <a:lnTo>
                      <a:pt x="1931" y="1949"/>
                    </a:lnTo>
                    <a:lnTo>
                      <a:pt x="2094" y="1949"/>
                    </a:lnTo>
                    <a:lnTo>
                      <a:pt x="2266" y="1949"/>
                    </a:lnTo>
                    <a:lnTo>
                      <a:pt x="2644" y="1949"/>
                    </a:lnTo>
                    <a:lnTo>
                      <a:pt x="2669" y="1945"/>
                    </a:lnTo>
                    <a:lnTo>
                      <a:pt x="2689" y="1935"/>
                    </a:lnTo>
                    <a:lnTo>
                      <a:pt x="2706" y="1919"/>
                    </a:lnTo>
                    <a:lnTo>
                      <a:pt x="2718" y="1897"/>
                    </a:lnTo>
                    <a:lnTo>
                      <a:pt x="2721" y="1873"/>
                    </a:lnTo>
                    <a:lnTo>
                      <a:pt x="2721" y="1763"/>
                    </a:lnTo>
                    <a:lnTo>
                      <a:pt x="2721" y="1665"/>
                    </a:lnTo>
                    <a:lnTo>
                      <a:pt x="2721" y="1495"/>
                    </a:lnTo>
                    <a:lnTo>
                      <a:pt x="2721" y="1425"/>
                    </a:lnTo>
                    <a:lnTo>
                      <a:pt x="2721" y="1362"/>
                    </a:lnTo>
                    <a:lnTo>
                      <a:pt x="2721" y="1307"/>
                    </a:lnTo>
                    <a:lnTo>
                      <a:pt x="2721" y="1261"/>
                    </a:lnTo>
                    <a:lnTo>
                      <a:pt x="2721" y="1159"/>
                    </a:lnTo>
                    <a:lnTo>
                      <a:pt x="2721" y="1135"/>
                    </a:lnTo>
                    <a:lnTo>
                      <a:pt x="2721" y="1117"/>
                    </a:lnTo>
                    <a:lnTo>
                      <a:pt x="2721" y="1075"/>
                    </a:lnTo>
                    <a:lnTo>
                      <a:pt x="2721" y="1075"/>
                    </a:lnTo>
                    <a:lnTo>
                      <a:pt x="2721" y="1073"/>
                    </a:lnTo>
                    <a:lnTo>
                      <a:pt x="2721" y="950"/>
                    </a:lnTo>
                    <a:lnTo>
                      <a:pt x="2721" y="914"/>
                    </a:lnTo>
                    <a:lnTo>
                      <a:pt x="2721" y="872"/>
                    </a:lnTo>
                    <a:lnTo>
                      <a:pt x="2721" y="822"/>
                    </a:lnTo>
                    <a:lnTo>
                      <a:pt x="2721" y="765"/>
                    </a:lnTo>
                    <a:lnTo>
                      <a:pt x="2721" y="699"/>
                    </a:lnTo>
                    <a:lnTo>
                      <a:pt x="2721" y="625"/>
                    </a:lnTo>
                    <a:lnTo>
                      <a:pt x="2721" y="233"/>
                    </a:lnTo>
                    <a:lnTo>
                      <a:pt x="2718" y="209"/>
                    </a:lnTo>
                    <a:lnTo>
                      <a:pt x="2706" y="187"/>
                    </a:lnTo>
                    <a:lnTo>
                      <a:pt x="2689" y="171"/>
                    </a:lnTo>
                    <a:lnTo>
                      <a:pt x="2669" y="159"/>
                    </a:lnTo>
                    <a:lnTo>
                      <a:pt x="2644" y="157"/>
                    </a:lnTo>
                    <a:lnTo>
                      <a:pt x="2644" y="157"/>
                    </a:lnTo>
                    <a:lnTo>
                      <a:pt x="2644" y="157"/>
                    </a:lnTo>
                    <a:lnTo>
                      <a:pt x="2643" y="157"/>
                    </a:lnTo>
                    <a:lnTo>
                      <a:pt x="2641" y="157"/>
                    </a:lnTo>
                    <a:lnTo>
                      <a:pt x="2637" y="157"/>
                    </a:lnTo>
                    <a:lnTo>
                      <a:pt x="2633" y="157"/>
                    </a:lnTo>
                    <a:lnTo>
                      <a:pt x="2627" y="157"/>
                    </a:lnTo>
                    <a:lnTo>
                      <a:pt x="2618" y="157"/>
                    </a:lnTo>
                    <a:lnTo>
                      <a:pt x="2607" y="157"/>
                    </a:lnTo>
                    <a:lnTo>
                      <a:pt x="2592" y="157"/>
                    </a:lnTo>
                    <a:lnTo>
                      <a:pt x="2576" y="157"/>
                    </a:lnTo>
                    <a:lnTo>
                      <a:pt x="2434" y="157"/>
                    </a:lnTo>
                    <a:lnTo>
                      <a:pt x="2392" y="157"/>
                    </a:lnTo>
                    <a:lnTo>
                      <a:pt x="2345" y="157"/>
                    </a:lnTo>
                    <a:lnTo>
                      <a:pt x="2292" y="157"/>
                    </a:lnTo>
                    <a:lnTo>
                      <a:pt x="2168" y="157"/>
                    </a:lnTo>
                    <a:lnTo>
                      <a:pt x="2097" y="157"/>
                    </a:lnTo>
                    <a:lnTo>
                      <a:pt x="1935" y="157"/>
                    </a:lnTo>
                    <a:lnTo>
                      <a:pt x="1842" y="157"/>
                    </a:lnTo>
                    <a:lnTo>
                      <a:pt x="1742" y="157"/>
                    </a:lnTo>
                    <a:lnTo>
                      <a:pt x="1634" y="157"/>
                    </a:lnTo>
                    <a:lnTo>
                      <a:pt x="1517" y="157"/>
                    </a:lnTo>
                    <a:lnTo>
                      <a:pt x="1392" y="157"/>
                    </a:lnTo>
                    <a:lnTo>
                      <a:pt x="1258" y="157"/>
                    </a:lnTo>
                    <a:lnTo>
                      <a:pt x="1114" y="157"/>
                    </a:lnTo>
                    <a:lnTo>
                      <a:pt x="962" y="157"/>
                    </a:lnTo>
                    <a:lnTo>
                      <a:pt x="800" y="157"/>
                    </a:lnTo>
                    <a:lnTo>
                      <a:pt x="627" y="157"/>
                    </a:lnTo>
                    <a:close/>
                    <a:moveTo>
                      <a:pt x="98" y="0"/>
                    </a:moveTo>
                    <a:lnTo>
                      <a:pt x="98" y="0"/>
                    </a:lnTo>
                    <a:lnTo>
                      <a:pt x="100" y="0"/>
                    </a:lnTo>
                    <a:lnTo>
                      <a:pt x="116" y="0"/>
                    </a:lnTo>
                    <a:lnTo>
                      <a:pt x="123" y="0"/>
                    </a:lnTo>
                    <a:lnTo>
                      <a:pt x="134" y="0"/>
                    </a:lnTo>
                    <a:lnTo>
                      <a:pt x="147" y="0"/>
                    </a:lnTo>
                    <a:lnTo>
                      <a:pt x="163" y="0"/>
                    </a:lnTo>
                    <a:lnTo>
                      <a:pt x="184" y="0"/>
                    </a:lnTo>
                    <a:lnTo>
                      <a:pt x="435" y="0"/>
                    </a:lnTo>
                    <a:lnTo>
                      <a:pt x="492" y="0"/>
                    </a:lnTo>
                    <a:lnTo>
                      <a:pt x="554" y="0"/>
                    </a:lnTo>
                    <a:lnTo>
                      <a:pt x="622" y="0"/>
                    </a:lnTo>
                    <a:lnTo>
                      <a:pt x="696" y="0"/>
                    </a:lnTo>
                    <a:lnTo>
                      <a:pt x="777" y="0"/>
                    </a:lnTo>
                    <a:lnTo>
                      <a:pt x="867" y="0"/>
                    </a:lnTo>
                    <a:lnTo>
                      <a:pt x="1178" y="0"/>
                    </a:lnTo>
                    <a:lnTo>
                      <a:pt x="1297" y="0"/>
                    </a:lnTo>
                    <a:lnTo>
                      <a:pt x="1425" y="0"/>
                    </a:lnTo>
                    <a:lnTo>
                      <a:pt x="1709" y="0"/>
                    </a:lnTo>
                    <a:lnTo>
                      <a:pt x="1864" y="0"/>
                    </a:lnTo>
                    <a:lnTo>
                      <a:pt x="2030" y="0"/>
                    </a:lnTo>
                    <a:lnTo>
                      <a:pt x="2206" y="0"/>
                    </a:lnTo>
                    <a:lnTo>
                      <a:pt x="2391" y="0"/>
                    </a:lnTo>
                    <a:lnTo>
                      <a:pt x="2588" y="0"/>
                    </a:lnTo>
                    <a:lnTo>
                      <a:pt x="2795" y="0"/>
                    </a:lnTo>
                    <a:lnTo>
                      <a:pt x="2819" y="3"/>
                    </a:lnTo>
                    <a:lnTo>
                      <a:pt x="2841" y="12"/>
                    </a:lnTo>
                    <a:lnTo>
                      <a:pt x="2860" y="25"/>
                    </a:lnTo>
                    <a:lnTo>
                      <a:pt x="2874" y="44"/>
                    </a:lnTo>
                    <a:lnTo>
                      <a:pt x="2884" y="64"/>
                    </a:lnTo>
                    <a:lnTo>
                      <a:pt x="2887" y="89"/>
                    </a:lnTo>
                    <a:lnTo>
                      <a:pt x="2887" y="213"/>
                    </a:lnTo>
                    <a:lnTo>
                      <a:pt x="2887" y="327"/>
                    </a:lnTo>
                    <a:lnTo>
                      <a:pt x="2887" y="430"/>
                    </a:lnTo>
                    <a:lnTo>
                      <a:pt x="2887" y="524"/>
                    </a:lnTo>
                    <a:lnTo>
                      <a:pt x="2887" y="608"/>
                    </a:lnTo>
                    <a:lnTo>
                      <a:pt x="2887" y="807"/>
                    </a:lnTo>
                    <a:lnTo>
                      <a:pt x="2887" y="858"/>
                    </a:lnTo>
                    <a:lnTo>
                      <a:pt x="2887" y="903"/>
                    </a:lnTo>
                    <a:lnTo>
                      <a:pt x="2887" y="940"/>
                    </a:lnTo>
                    <a:lnTo>
                      <a:pt x="2887" y="1073"/>
                    </a:lnTo>
                    <a:lnTo>
                      <a:pt x="2887" y="1075"/>
                    </a:lnTo>
                    <a:lnTo>
                      <a:pt x="2887" y="1075"/>
                    </a:lnTo>
                    <a:lnTo>
                      <a:pt x="2887" y="1075"/>
                    </a:lnTo>
                    <a:lnTo>
                      <a:pt x="2887" y="1075"/>
                    </a:lnTo>
                    <a:lnTo>
                      <a:pt x="2887" y="1076"/>
                    </a:lnTo>
                    <a:lnTo>
                      <a:pt x="2887" y="1078"/>
                    </a:lnTo>
                    <a:lnTo>
                      <a:pt x="2887" y="1082"/>
                    </a:lnTo>
                    <a:lnTo>
                      <a:pt x="2887" y="1088"/>
                    </a:lnTo>
                    <a:lnTo>
                      <a:pt x="2887" y="1096"/>
                    </a:lnTo>
                    <a:lnTo>
                      <a:pt x="2887" y="1108"/>
                    </a:lnTo>
                    <a:lnTo>
                      <a:pt x="2887" y="1124"/>
                    </a:lnTo>
                    <a:lnTo>
                      <a:pt x="2887" y="1143"/>
                    </a:lnTo>
                    <a:lnTo>
                      <a:pt x="2887" y="1198"/>
                    </a:lnTo>
                    <a:lnTo>
                      <a:pt x="2887" y="1234"/>
                    </a:lnTo>
                    <a:lnTo>
                      <a:pt x="2887" y="1276"/>
                    </a:lnTo>
                    <a:lnTo>
                      <a:pt x="2887" y="1323"/>
                    </a:lnTo>
                    <a:lnTo>
                      <a:pt x="2887" y="1380"/>
                    </a:lnTo>
                    <a:lnTo>
                      <a:pt x="2887" y="1516"/>
                    </a:lnTo>
                    <a:lnTo>
                      <a:pt x="2887" y="1597"/>
                    </a:lnTo>
                    <a:lnTo>
                      <a:pt x="2887" y="1686"/>
                    </a:lnTo>
                    <a:lnTo>
                      <a:pt x="2887" y="1786"/>
                    </a:lnTo>
                    <a:lnTo>
                      <a:pt x="2887" y="1896"/>
                    </a:lnTo>
                    <a:lnTo>
                      <a:pt x="2887" y="2017"/>
                    </a:lnTo>
                    <a:lnTo>
                      <a:pt x="2884" y="2042"/>
                    </a:lnTo>
                    <a:lnTo>
                      <a:pt x="2874" y="2064"/>
                    </a:lnTo>
                    <a:lnTo>
                      <a:pt x="2860" y="2082"/>
                    </a:lnTo>
                    <a:lnTo>
                      <a:pt x="2841" y="2097"/>
                    </a:lnTo>
                    <a:lnTo>
                      <a:pt x="2819" y="2106"/>
                    </a:lnTo>
                    <a:lnTo>
                      <a:pt x="2795" y="2108"/>
                    </a:lnTo>
                    <a:lnTo>
                      <a:pt x="2785" y="2108"/>
                    </a:lnTo>
                    <a:lnTo>
                      <a:pt x="2776" y="2108"/>
                    </a:lnTo>
                    <a:lnTo>
                      <a:pt x="2764" y="2108"/>
                    </a:lnTo>
                    <a:lnTo>
                      <a:pt x="2705" y="2108"/>
                    </a:lnTo>
                    <a:lnTo>
                      <a:pt x="2675" y="2108"/>
                    </a:lnTo>
                    <a:lnTo>
                      <a:pt x="2640" y="2108"/>
                    </a:lnTo>
                    <a:lnTo>
                      <a:pt x="1960" y="2108"/>
                    </a:lnTo>
                    <a:lnTo>
                      <a:pt x="1960" y="2114"/>
                    </a:lnTo>
                    <a:lnTo>
                      <a:pt x="1961" y="2126"/>
                    </a:lnTo>
                    <a:lnTo>
                      <a:pt x="1962" y="2145"/>
                    </a:lnTo>
                    <a:lnTo>
                      <a:pt x="1964" y="2168"/>
                    </a:lnTo>
                    <a:lnTo>
                      <a:pt x="1968" y="2191"/>
                    </a:lnTo>
                    <a:lnTo>
                      <a:pt x="1973" y="2214"/>
                    </a:lnTo>
                    <a:lnTo>
                      <a:pt x="1977" y="2233"/>
                    </a:lnTo>
                    <a:lnTo>
                      <a:pt x="1983" y="2247"/>
                    </a:lnTo>
                    <a:lnTo>
                      <a:pt x="1999" y="2266"/>
                    </a:lnTo>
                    <a:lnTo>
                      <a:pt x="2016" y="2279"/>
                    </a:lnTo>
                    <a:lnTo>
                      <a:pt x="2036" y="2288"/>
                    </a:lnTo>
                    <a:lnTo>
                      <a:pt x="2058" y="2295"/>
                    </a:lnTo>
                    <a:lnTo>
                      <a:pt x="2078" y="2298"/>
                    </a:lnTo>
                    <a:lnTo>
                      <a:pt x="2097" y="2299"/>
                    </a:lnTo>
                    <a:lnTo>
                      <a:pt x="2113" y="2301"/>
                    </a:lnTo>
                    <a:lnTo>
                      <a:pt x="2126" y="2301"/>
                    </a:lnTo>
                    <a:lnTo>
                      <a:pt x="2132" y="2301"/>
                    </a:lnTo>
                    <a:lnTo>
                      <a:pt x="2151" y="2304"/>
                    </a:lnTo>
                    <a:lnTo>
                      <a:pt x="2168" y="2314"/>
                    </a:lnTo>
                    <a:lnTo>
                      <a:pt x="2181" y="2328"/>
                    </a:lnTo>
                    <a:lnTo>
                      <a:pt x="2190" y="2346"/>
                    </a:lnTo>
                    <a:lnTo>
                      <a:pt x="2194" y="2366"/>
                    </a:lnTo>
                    <a:lnTo>
                      <a:pt x="2194" y="2366"/>
                    </a:lnTo>
                    <a:lnTo>
                      <a:pt x="2194" y="2369"/>
                    </a:lnTo>
                    <a:lnTo>
                      <a:pt x="2194" y="2373"/>
                    </a:lnTo>
                    <a:lnTo>
                      <a:pt x="2194" y="2385"/>
                    </a:lnTo>
                    <a:lnTo>
                      <a:pt x="2194" y="2402"/>
                    </a:lnTo>
                    <a:lnTo>
                      <a:pt x="2190" y="2422"/>
                    </a:lnTo>
                    <a:lnTo>
                      <a:pt x="2181" y="2440"/>
                    </a:lnTo>
                    <a:lnTo>
                      <a:pt x="2168" y="2454"/>
                    </a:lnTo>
                    <a:lnTo>
                      <a:pt x="2151" y="2463"/>
                    </a:lnTo>
                    <a:lnTo>
                      <a:pt x="2132" y="2467"/>
                    </a:lnTo>
                    <a:lnTo>
                      <a:pt x="2132" y="2467"/>
                    </a:lnTo>
                    <a:lnTo>
                      <a:pt x="2130" y="2467"/>
                    </a:lnTo>
                    <a:lnTo>
                      <a:pt x="2130" y="2467"/>
                    </a:lnTo>
                    <a:lnTo>
                      <a:pt x="2127" y="2467"/>
                    </a:lnTo>
                    <a:lnTo>
                      <a:pt x="2123" y="2467"/>
                    </a:lnTo>
                    <a:lnTo>
                      <a:pt x="2117" y="2467"/>
                    </a:lnTo>
                    <a:lnTo>
                      <a:pt x="2109" y="2467"/>
                    </a:lnTo>
                    <a:lnTo>
                      <a:pt x="2083" y="2467"/>
                    </a:lnTo>
                    <a:lnTo>
                      <a:pt x="2064" y="2467"/>
                    </a:lnTo>
                    <a:lnTo>
                      <a:pt x="2041" y="2467"/>
                    </a:lnTo>
                    <a:lnTo>
                      <a:pt x="1945" y="2467"/>
                    </a:lnTo>
                    <a:lnTo>
                      <a:pt x="1902" y="2467"/>
                    </a:lnTo>
                    <a:lnTo>
                      <a:pt x="1852" y="2467"/>
                    </a:lnTo>
                    <a:lnTo>
                      <a:pt x="1797" y="2467"/>
                    </a:lnTo>
                    <a:lnTo>
                      <a:pt x="1735" y="2467"/>
                    </a:lnTo>
                    <a:lnTo>
                      <a:pt x="1588" y="2467"/>
                    </a:lnTo>
                    <a:lnTo>
                      <a:pt x="1501" y="2467"/>
                    </a:lnTo>
                    <a:lnTo>
                      <a:pt x="1407" y="2467"/>
                    </a:lnTo>
                    <a:lnTo>
                      <a:pt x="1304" y="2467"/>
                    </a:lnTo>
                    <a:lnTo>
                      <a:pt x="1191" y="2467"/>
                    </a:lnTo>
                    <a:lnTo>
                      <a:pt x="1068" y="2467"/>
                    </a:lnTo>
                    <a:lnTo>
                      <a:pt x="935" y="2467"/>
                    </a:lnTo>
                    <a:lnTo>
                      <a:pt x="792" y="2467"/>
                    </a:lnTo>
                    <a:lnTo>
                      <a:pt x="771" y="2463"/>
                    </a:lnTo>
                    <a:lnTo>
                      <a:pt x="754" y="2454"/>
                    </a:lnTo>
                    <a:lnTo>
                      <a:pt x="741" y="2440"/>
                    </a:lnTo>
                    <a:lnTo>
                      <a:pt x="732" y="2422"/>
                    </a:lnTo>
                    <a:lnTo>
                      <a:pt x="729" y="2402"/>
                    </a:lnTo>
                    <a:lnTo>
                      <a:pt x="729" y="2401"/>
                    </a:lnTo>
                    <a:lnTo>
                      <a:pt x="729" y="2399"/>
                    </a:lnTo>
                    <a:lnTo>
                      <a:pt x="729" y="2393"/>
                    </a:lnTo>
                    <a:lnTo>
                      <a:pt x="729" y="2383"/>
                    </a:lnTo>
                    <a:lnTo>
                      <a:pt x="729" y="2366"/>
                    </a:lnTo>
                    <a:lnTo>
                      <a:pt x="732" y="2346"/>
                    </a:lnTo>
                    <a:lnTo>
                      <a:pt x="741" y="2328"/>
                    </a:lnTo>
                    <a:lnTo>
                      <a:pt x="754" y="2314"/>
                    </a:lnTo>
                    <a:lnTo>
                      <a:pt x="771" y="2304"/>
                    </a:lnTo>
                    <a:lnTo>
                      <a:pt x="792" y="2301"/>
                    </a:lnTo>
                    <a:lnTo>
                      <a:pt x="792" y="2301"/>
                    </a:lnTo>
                    <a:lnTo>
                      <a:pt x="793" y="2301"/>
                    </a:lnTo>
                    <a:lnTo>
                      <a:pt x="796" y="2301"/>
                    </a:lnTo>
                    <a:lnTo>
                      <a:pt x="800" y="2301"/>
                    </a:lnTo>
                    <a:lnTo>
                      <a:pt x="806" y="2301"/>
                    </a:lnTo>
                    <a:lnTo>
                      <a:pt x="825" y="2296"/>
                    </a:lnTo>
                    <a:lnTo>
                      <a:pt x="845" y="2294"/>
                    </a:lnTo>
                    <a:lnTo>
                      <a:pt x="865" y="2292"/>
                    </a:lnTo>
                    <a:lnTo>
                      <a:pt x="887" y="2289"/>
                    </a:lnTo>
                    <a:lnTo>
                      <a:pt x="907" y="2283"/>
                    </a:lnTo>
                    <a:lnTo>
                      <a:pt x="926" y="2276"/>
                    </a:lnTo>
                    <a:lnTo>
                      <a:pt x="943" y="2265"/>
                    </a:lnTo>
                    <a:lnTo>
                      <a:pt x="958" y="2247"/>
                    </a:lnTo>
                    <a:lnTo>
                      <a:pt x="965" y="2233"/>
                    </a:lnTo>
                    <a:lnTo>
                      <a:pt x="971" y="2214"/>
                    </a:lnTo>
                    <a:lnTo>
                      <a:pt x="975" y="2191"/>
                    </a:lnTo>
                    <a:lnTo>
                      <a:pt x="978" y="2168"/>
                    </a:lnTo>
                    <a:lnTo>
                      <a:pt x="981" y="2145"/>
                    </a:lnTo>
                    <a:lnTo>
                      <a:pt x="983" y="2126"/>
                    </a:lnTo>
                    <a:lnTo>
                      <a:pt x="984" y="2114"/>
                    </a:lnTo>
                    <a:lnTo>
                      <a:pt x="984" y="2108"/>
                    </a:lnTo>
                    <a:lnTo>
                      <a:pt x="984" y="2108"/>
                    </a:lnTo>
                    <a:lnTo>
                      <a:pt x="984" y="2108"/>
                    </a:lnTo>
                    <a:lnTo>
                      <a:pt x="983" y="2108"/>
                    </a:lnTo>
                    <a:lnTo>
                      <a:pt x="874" y="2108"/>
                    </a:lnTo>
                    <a:lnTo>
                      <a:pt x="841" y="2108"/>
                    </a:lnTo>
                    <a:lnTo>
                      <a:pt x="802" y="2108"/>
                    </a:lnTo>
                    <a:lnTo>
                      <a:pt x="757" y="2108"/>
                    </a:lnTo>
                    <a:lnTo>
                      <a:pt x="703" y="2108"/>
                    </a:lnTo>
                    <a:lnTo>
                      <a:pt x="644" y="2108"/>
                    </a:lnTo>
                    <a:lnTo>
                      <a:pt x="576" y="2108"/>
                    </a:lnTo>
                    <a:lnTo>
                      <a:pt x="414" y="2108"/>
                    </a:lnTo>
                    <a:lnTo>
                      <a:pt x="318" y="2108"/>
                    </a:lnTo>
                    <a:lnTo>
                      <a:pt x="214" y="2108"/>
                    </a:lnTo>
                    <a:lnTo>
                      <a:pt x="98" y="2108"/>
                    </a:lnTo>
                    <a:lnTo>
                      <a:pt x="72" y="2106"/>
                    </a:lnTo>
                    <a:lnTo>
                      <a:pt x="49" y="2097"/>
                    </a:lnTo>
                    <a:lnTo>
                      <a:pt x="29" y="2082"/>
                    </a:lnTo>
                    <a:lnTo>
                      <a:pt x="14" y="2064"/>
                    </a:lnTo>
                    <a:lnTo>
                      <a:pt x="4" y="2042"/>
                    </a:lnTo>
                    <a:lnTo>
                      <a:pt x="0" y="2017"/>
                    </a:lnTo>
                    <a:lnTo>
                      <a:pt x="0" y="1786"/>
                    </a:lnTo>
                    <a:lnTo>
                      <a:pt x="0" y="1686"/>
                    </a:lnTo>
                    <a:lnTo>
                      <a:pt x="0" y="1597"/>
                    </a:lnTo>
                    <a:lnTo>
                      <a:pt x="0" y="1323"/>
                    </a:lnTo>
                    <a:lnTo>
                      <a:pt x="0" y="1276"/>
                    </a:lnTo>
                    <a:lnTo>
                      <a:pt x="0" y="1234"/>
                    </a:lnTo>
                    <a:lnTo>
                      <a:pt x="0" y="1198"/>
                    </a:lnTo>
                    <a:lnTo>
                      <a:pt x="0" y="1075"/>
                    </a:lnTo>
                    <a:lnTo>
                      <a:pt x="0" y="1075"/>
                    </a:lnTo>
                    <a:lnTo>
                      <a:pt x="0" y="1075"/>
                    </a:lnTo>
                    <a:lnTo>
                      <a:pt x="0" y="1073"/>
                    </a:lnTo>
                    <a:lnTo>
                      <a:pt x="0" y="1070"/>
                    </a:lnTo>
                    <a:lnTo>
                      <a:pt x="0" y="1066"/>
                    </a:lnTo>
                    <a:lnTo>
                      <a:pt x="0" y="1036"/>
                    </a:lnTo>
                    <a:lnTo>
                      <a:pt x="0" y="1020"/>
                    </a:lnTo>
                    <a:lnTo>
                      <a:pt x="0" y="998"/>
                    </a:lnTo>
                    <a:lnTo>
                      <a:pt x="0" y="903"/>
                    </a:lnTo>
                    <a:lnTo>
                      <a:pt x="0" y="858"/>
                    </a:lnTo>
                    <a:lnTo>
                      <a:pt x="0" y="807"/>
                    </a:lnTo>
                    <a:lnTo>
                      <a:pt x="0" y="89"/>
                    </a:lnTo>
                    <a:lnTo>
                      <a:pt x="4" y="64"/>
                    </a:lnTo>
                    <a:lnTo>
                      <a:pt x="14" y="44"/>
                    </a:lnTo>
                    <a:lnTo>
                      <a:pt x="29" y="25"/>
                    </a:lnTo>
                    <a:lnTo>
                      <a:pt x="49" y="12"/>
                    </a:lnTo>
                    <a:lnTo>
                      <a:pt x="72" y="3"/>
                    </a:lnTo>
                    <a:lnTo>
                      <a:pt x="98" y="0"/>
                    </a:lnTo>
                    <a:lnTo>
                      <a:pt x="9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123" name="Group 741"/>
            <p:cNvGrpSpPr>
              <a:grpSpLocks noChangeAspect="1"/>
            </p:cNvGrpSpPr>
            <p:nvPr/>
          </p:nvGrpSpPr>
          <p:grpSpPr bwMode="auto">
            <a:xfrm>
              <a:off x="10270665" y="2300201"/>
              <a:ext cx="731668" cy="978051"/>
              <a:chOff x="-1406" y="2626"/>
              <a:chExt cx="1369" cy="1830"/>
            </a:xfrm>
            <a:solidFill>
              <a:schemeClr val="accent3"/>
            </a:solidFill>
          </p:grpSpPr>
          <p:sp>
            <p:nvSpPr>
              <p:cNvPr id="124" name="Freeform 743"/>
              <p:cNvSpPr>
                <a:spLocks noEditPoints="1"/>
              </p:cNvSpPr>
              <p:nvPr/>
            </p:nvSpPr>
            <p:spPr bwMode="auto">
              <a:xfrm>
                <a:off x="-970" y="2626"/>
                <a:ext cx="933" cy="1830"/>
              </a:xfrm>
              <a:custGeom>
                <a:avLst/>
                <a:gdLst>
                  <a:gd name="T0" fmla="*/ 1637 w 1866"/>
                  <a:gd name="T1" fmla="*/ 3164 h 3661"/>
                  <a:gd name="T2" fmla="*/ 1659 w 1866"/>
                  <a:gd name="T3" fmla="*/ 3290 h 3661"/>
                  <a:gd name="T4" fmla="*/ 229 w 1866"/>
                  <a:gd name="T5" fmla="*/ 2988 h 3661"/>
                  <a:gd name="T6" fmla="*/ 207 w 1866"/>
                  <a:gd name="T7" fmla="*/ 2861 h 3661"/>
                  <a:gd name="T8" fmla="*/ 207 w 1866"/>
                  <a:gd name="T9" fmla="*/ 2861 h 3661"/>
                  <a:gd name="T10" fmla="*/ 492 w 1866"/>
                  <a:gd name="T11" fmla="*/ 2707 h 3661"/>
                  <a:gd name="T12" fmla="*/ 207 w 1866"/>
                  <a:gd name="T13" fmla="*/ 2730 h 3661"/>
                  <a:gd name="T14" fmla="*/ 1637 w 1866"/>
                  <a:gd name="T15" fmla="*/ 896 h 3661"/>
                  <a:gd name="T16" fmla="*/ 1615 w 1866"/>
                  <a:gd name="T17" fmla="*/ 706 h 3661"/>
                  <a:gd name="T18" fmla="*/ 229 w 1866"/>
                  <a:gd name="T19" fmla="*/ 500 h 3661"/>
                  <a:gd name="T20" fmla="*/ 207 w 1866"/>
                  <a:gd name="T21" fmla="*/ 373 h 3661"/>
                  <a:gd name="T22" fmla="*/ 207 w 1866"/>
                  <a:gd name="T23" fmla="*/ 373 h 3661"/>
                  <a:gd name="T24" fmla="*/ 1659 w 1866"/>
                  <a:gd name="T25" fmla="*/ 5 h 3661"/>
                  <a:gd name="T26" fmla="*/ 1731 w 1866"/>
                  <a:gd name="T27" fmla="*/ 28 h 3661"/>
                  <a:gd name="T28" fmla="*/ 1791 w 1866"/>
                  <a:gd name="T29" fmla="*/ 68 h 3661"/>
                  <a:gd name="T30" fmla="*/ 1836 w 1866"/>
                  <a:gd name="T31" fmla="*/ 121 h 3661"/>
                  <a:gd name="T32" fmla="*/ 1861 w 1866"/>
                  <a:gd name="T33" fmla="*/ 185 h 3661"/>
                  <a:gd name="T34" fmla="*/ 1865 w 1866"/>
                  <a:gd name="T35" fmla="*/ 3455 h 3661"/>
                  <a:gd name="T36" fmla="*/ 1846 w 1866"/>
                  <a:gd name="T37" fmla="*/ 3521 h 3661"/>
                  <a:gd name="T38" fmla="*/ 1807 w 1866"/>
                  <a:gd name="T39" fmla="*/ 3579 h 3661"/>
                  <a:gd name="T40" fmla="*/ 1751 w 1866"/>
                  <a:gd name="T41" fmla="*/ 3622 h 3661"/>
                  <a:gd name="T42" fmla="*/ 1664 w 1866"/>
                  <a:gd name="T43" fmla="*/ 3655 h 3661"/>
                  <a:gd name="T44" fmla="*/ 256 w 1866"/>
                  <a:gd name="T45" fmla="*/ 3661 h 3661"/>
                  <a:gd name="T46" fmla="*/ 178 w 1866"/>
                  <a:gd name="T47" fmla="*/ 3650 h 3661"/>
                  <a:gd name="T48" fmla="*/ 95 w 1866"/>
                  <a:gd name="T49" fmla="*/ 3610 h 3661"/>
                  <a:gd name="T50" fmla="*/ 45 w 1866"/>
                  <a:gd name="T51" fmla="*/ 3562 h 3661"/>
                  <a:gd name="T52" fmla="*/ 11 w 1866"/>
                  <a:gd name="T53" fmla="*/ 3501 h 3661"/>
                  <a:gd name="T54" fmla="*/ 0 w 1866"/>
                  <a:gd name="T55" fmla="*/ 3432 h 3661"/>
                  <a:gd name="T56" fmla="*/ 23 w 1866"/>
                  <a:gd name="T57" fmla="*/ 3455 h 3661"/>
                  <a:gd name="T58" fmla="*/ 51 w 1866"/>
                  <a:gd name="T59" fmla="*/ 3531 h 3661"/>
                  <a:gd name="T60" fmla="*/ 107 w 1866"/>
                  <a:gd name="T61" fmla="*/ 3592 h 3661"/>
                  <a:gd name="T62" fmla="*/ 187 w 1866"/>
                  <a:gd name="T63" fmla="*/ 3630 h 3661"/>
                  <a:gd name="T64" fmla="*/ 256 w 1866"/>
                  <a:gd name="T65" fmla="*/ 3639 h 3661"/>
                  <a:gd name="T66" fmla="*/ 1659 w 1866"/>
                  <a:gd name="T67" fmla="*/ 3634 h 3661"/>
                  <a:gd name="T68" fmla="*/ 1743 w 1866"/>
                  <a:gd name="T69" fmla="*/ 3602 h 3661"/>
                  <a:gd name="T70" fmla="*/ 1802 w 1866"/>
                  <a:gd name="T71" fmla="*/ 3550 h 3661"/>
                  <a:gd name="T72" fmla="*/ 1834 w 1866"/>
                  <a:gd name="T73" fmla="*/ 3492 h 3661"/>
                  <a:gd name="T74" fmla="*/ 1844 w 1866"/>
                  <a:gd name="T75" fmla="*/ 3432 h 3661"/>
                  <a:gd name="T76" fmla="*/ 1839 w 1866"/>
                  <a:gd name="T77" fmla="*/ 190 h 3661"/>
                  <a:gd name="T78" fmla="*/ 1802 w 1866"/>
                  <a:gd name="T79" fmla="*/ 112 h 3661"/>
                  <a:gd name="T80" fmla="*/ 1758 w 1866"/>
                  <a:gd name="T81" fmla="*/ 69 h 3661"/>
                  <a:gd name="T82" fmla="*/ 1678 w 1866"/>
                  <a:gd name="T83" fmla="*/ 31 h 3661"/>
                  <a:gd name="T84" fmla="*/ 1609 w 1866"/>
                  <a:gd name="T85" fmla="*/ 22 h 3661"/>
                  <a:gd name="T86" fmla="*/ 207 w 1866"/>
                  <a:gd name="T87" fmla="*/ 27 h 3661"/>
                  <a:gd name="T88" fmla="*/ 123 w 1866"/>
                  <a:gd name="T89" fmla="*/ 59 h 3661"/>
                  <a:gd name="T90" fmla="*/ 61 w 1866"/>
                  <a:gd name="T91" fmla="*/ 116 h 3661"/>
                  <a:gd name="T92" fmla="*/ 32 w 1866"/>
                  <a:gd name="T93" fmla="*/ 169 h 3661"/>
                  <a:gd name="T94" fmla="*/ 22 w 1866"/>
                  <a:gd name="T95" fmla="*/ 683 h 3661"/>
                  <a:gd name="T96" fmla="*/ 5 w 1866"/>
                  <a:gd name="T97" fmla="*/ 185 h 3661"/>
                  <a:gd name="T98" fmla="*/ 29 w 1866"/>
                  <a:gd name="T99" fmla="*/ 121 h 3661"/>
                  <a:gd name="T100" fmla="*/ 75 w 1866"/>
                  <a:gd name="T101" fmla="*/ 68 h 3661"/>
                  <a:gd name="T102" fmla="*/ 135 w 1866"/>
                  <a:gd name="T103" fmla="*/ 28 h 3661"/>
                  <a:gd name="T104" fmla="*/ 207 w 1866"/>
                  <a:gd name="T105" fmla="*/ 5 h 3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66" h="3661">
                    <a:moveTo>
                      <a:pt x="229" y="3164"/>
                    </a:moveTo>
                    <a:lnTo>
                      <a:pt x="229" y="3268"/>
                    </a:lnTo>
                    <a:lnTo>
                      <a:pt x="1637" y="3268"/>
                    </a:lnTo>
                    <a:lnTo>
                      <a:pt x="1637" y="3164"/>
                    </a:lnTo>
                    <a:lnTo>
                      <a:pt x="229" y="3164"/>
                    </a:lnTo>
                    <a:close/>
                    <a:moveTo>
                      <a:pt x="207" y="3142"/>
                    </a:moveTo>
                    <a:lnTo>
                      <a:pt x="1659" y="3142"/>
                    </a:lnTo>
                    <a:lnTo>
                      <a:pt x="1659" y="3290"/>
                    </a:lnTo>
                    <a:lnTo>
                      <a:pt x="207" y="3290"/>
                    </a:lnTo>
                    <a:lnTo>
                      <a:pt x="207" y="3142"/>
                    </a:lnTo>
                    <a:close/>
                    <a:moveTo>
                      <a:pt x="229" y="2883"/>
                    </a:moveTo>
                    <a:lnTo>
                      <a:pt x="229" y="2988"/>
                    </a:lnTo>
                    <a:lnTo>
                      <a:pt x="492" y="2988"/>
                    </a:lnTo>
                    <a:lnTo>
                      <a:pt x="492" y="2883"/>
                    </a:lnTo>
                    <a:lnTo>
                      <a:pt x="229" y="2883"/>
                    </a:lnTo>
                    <a:close/>
                    <a:moveTo>
                      <a:pt x="207" y="2861"/>
                    </a:moveTo>
                    <a:lnTo>
                      <a:pt x="515" y="2861"/>
                    </a:lnTo>
                    <a:lnTo>
                      <a:pt x="515" y="3011"/>
                    </a:lnTo>
                    <a:lnTo>
                      <a:pt x="207" y="3011"/>
                    </a:lnTo>
                    <a:lnTo>
                      <a:pt x="207" y="2861"/>
                    </a:lnTo>
                    <a:close/>
                    <a:moveTo>
                      <a:pt x="207" y="2682"/>
                    </a:moveTo>
                    <a:lnTo>
                      <a:pt x="229" y="2682"/>
                    </a:lnTo>
                    <a:lnTo>
                      <a:pt x="229" y="2707"/>
                    </a:lnTo>
                    <a:lnTo>
                      <a:pt x="492" y="2707"/>
                    </a:lnTo>
                    <a:lnTo>
                      <a:pt x="492" y="2695"/>
                    </a:lnTo>
                    <a:lnTo>
                      <a:pt x="515" y="2695"/>
                    </a:lnTo>
                    <a:lnTo>
                      <a:pt x="515" y="2730"/>
                    </a:lnTo>
                    <a:lnTo>
                      <a:pt x="207" y="2730"/>
                    </a:lnTo>
                    <a:lnTo>
                      <a:pt x="207" y="2682"/>
                    </a:lnTo>
                    <a:close/>
                    <a:moveTo>
                      <a:pt x="1363" y="684"/>
                    </a:moveTo>
                    <a:lnTo>
                      <a:pt x="1637" y="684"/>
                    </a:lnTo>
                    <a:lnTo>
                      <a:pt x="1637" y="896"/>
                    </a:lnTo>
                    <a:lnTo>
                      <a:pt x="1443" y="896"/>
                    </a:lnTo>
                    <a:lnTo>
                      <a:pt x="1443" y="874"/>
                    </a:lnTo>
                    <a:lnTo>
                      <a:pt x="1615" y="874"/>
                    </a:lnTo>
                    <a:lnTo>
                      <a:pt x="1615" y="706"/>
                    </a:lnTo>
                    <a:lnTo>
                      <a:pt x="1363" y="706"/>
                    </a:lnTo>
                    <a:lnTo>
                      <a:pt x="1363" y="684"/>
                    </a:lnTo>
                    <a:close/>
                    <a:moveTo>
                      <a:pt x="229" y="395"/>
                    </a:moveTo>
                    <a:lnTo>
                      <a:pt x="229" y="500"/>
                    </a:lnTo>
                    <a:lnTo>
                      <a:pt x="1637" y="500"/>
                    </a:lnTo>
                    <a:lnTo>
                      <a:pt x="1637" y="395"/>
                    </a:lnTo>
                    <a:lnTo>
                      <a:pt x="229" y="395"/>
                    </a:lnTo>
                    <a:close/>
                    <a:moveTo>
                      <a:pt x="207" y="373"/>
                    </a:moveTo>
                    <a:lnTo>
                      <a:pt x="1659" y="373"/>
                    </a:lnTo>
                    <a:lnTo>
                      <a:pt x="1659" y="522"/>
                    </a:lnTo>
                    <a:lnTo>
                      <a:pt x="207" y="522"/>
                    </a:lnTo>
                    <a:lnTo>
                      <a:pt x="207" y="373"/>
                    </a:lnTo>
                    <a:close/>
                    <a:moveTo>
                      <a:pt x="256" y="0"/>
                    </a:moveTo>
                    <a:lnTo>
                      <a:pt x="1609" y="0"/>
                    </a:lnTo>
                    <a:lnTo>
                      <a:pt x="1635" y="1"/>
                    </a:lnTo>
                    <a:lnTo>
                      <a:pt x="1659" y="5"/>
                    </a:lnTo>
                    <a:lnTo>
                      <a:pt x="1664" y="6"/>
                    </a:lnTo>
                    <a:lnTo>
                      <a:pt x="1687" y="11"/>
                    </a:lnTo>
                    <a:lnTo>
                      <a:pt x="1709" y="18"/>
                    </a:lnTo>
                    <a:lnTo>
                      <a:pt x="1731" y="28"/>
                    </a:lnTo>
                    <a:lnTo>
                      <a:pt x="1751" y="39"/>
                    </a:lnTo>
                    <a:lnTo>
                      <a:pt x="1770" y="51"/>
                    </a:lnTo>
                    <a:lnTo>
                      <a:pt x="1774" y="53"/>
                    </a:lnTo>
                    <a:lnTo>
                      <a:pt x="1791" y="68"/>
                    </a:lnTo>
                    <a:lnTo>
                      <a:pt x="1807" y="82"/>
                    </a:lnTo>
                    <a:lnTo>
                      <a:pt x="1821" y="100"/>
                    </a:lnTo>
                    <a:lnTo>
                      <a:pt x="1824" y="103"/>
                    </a:lnTo>
                    <a:lnTo>
                      <a:pt x="1836" y="121"/>
                    </a:lnTo>
                    <a:lnTo>
                      <a:pt x="1846" y="140"/>
                    </a:lnTo>
                    <a:lnTo>
                      <a:pt x="1855" y="160"/>
                    </a:lnTo>
                    <a:lnTo>
                      <a:pt x="1860" y="181"/>
                    </a:lnTo>
                    <a:lnTo>
                      <a:pt x="1861" y="185"/>
                    </a:lnTo>
                    <a:lnTo>
                      <a:pt x="1865" y="207"/>
                    </a:lnTo>
                    <a:lnTo>
                      <a:pt x="1866" y="229"/>
                    </a:lnTo>
                    <a:lnTo>
                      <a:pt x="1866" y="3432"/>
                    </a:lnTo>
                    <a:lnTo>
                      <a:pt x="1865" y="3455"/>
                    </a:lnTo>
                    <a:lnTo>
                      <a:pt x="1861" y="3476"/>
                    </a:lnTo>
                    <a:lnTo>
                      <a:pt x="1860" y="3480"/>
                    </a:lnTo>
                    <a:lnTo>
                      <a:pt x="1855" y="3501"/>
                    </a:lnTo>
                    <a:lnTo>
                      <a:pt x="1846" y="3521"/>
                    </a:lnTo>
                    <a:lnTo>
                      <a:pt x="1836" y="3540"/>
                    </a:lnTo>
                    <a:lnTo>
                      <a:pt x="1824" y="3559"/>
                    </a:lnTo>
                    <a:lnTo>
                      <a:pt x="1821" y="3562"/>
                    </a:lnTo>
                    <a:lnTo>
                      <a:pt x="1807" y="3579"/>
                    </a:lnTo>
                    <a:lnTo>
                      <a:pt x="1791" y="3594"/>
                    </a:lnTo>
                    <a:lnTo>
                      <a:pt x="1774" y="3608"/>
                    </a:lnTo>
                    <a:lnTo>
                      <a:pt x="1770" y="3610"/>
                    </a:lnTo>
                    <a:lnTo>
                      <a:pt x="1751" y="3622"/>
                    </a:lnTo>
                    <a:lnTo>
                      <a:pt x="1731" y="3633"/>
                    </a:lnTo>
                    <a:lnTo>
                      <a:pt x="1709" y="3643"/>
                    </a:lnTo>
                    <a:lnTo>
                      <a:pt x="1687" y="3650"/>
                    </a:lnTo>
                    <a:lnTo>
                      <a:pt x="1664" y="3655"/>
                    </a:lnTo>
                    <a:lnTo>
                      <a:pt x="1659" y="3657"/>
                    </a:lnTo>
                    <a:lnTo>
                      <a:pt x="1635" y="3660"/>
                    </a:lnTo>
                    <a:lnTo>
                      <a:pt x="1609" y="3661"/>
                    </a:lnTo>
                    <a:lnTo>
                      <a:pt x="256" y="3661"/>
                    </a:lnTo>
                    <a:lnTo>
                      <a:pt x="230" y="3660"/>
                    </a:lnTo>
                    <a:lnTo>
                      <a:pt x="207" y="3657"/>
                    </a:lnTo>
                    <a:lnTo>
                      <a:pt x="203" y="3655"/>
                    </a:lnTo>
                    <a:lnTo>
                      <a:pt x="178" y="3650"/>
                    </a:lnTo>
                    <a:lnTo>
                      <a:pt x="156" y="3643"/>
                    </a:lnTo>
                    <a:lnTo>
                      <a:pt x="135" y="3633"/>
                    </a:lnTo>
                    <a:lnTo>
                      <a:pt x="114" y="3622"/>
                    </a:lnTo>
                    <a:lnTo>
                      <a:pt x="95" y="3610"/>
                    </a:lnTo>
                    <a:lnTo>
                      <a:pt x="92" y="3608"/>
                    </a:lnTo>
                    <a:lnTo>
                      <a:pt x="75" y="3594"/>
                    </a:lnTo>
                    <a:lnTo>
                      <a:pt x="59" y="3579"/>
                    </a:lnTo>
                    <a:lnTo>
                      <a:pt x="45" y="3562"/>
                    </a:lnTo>
                    <a:lnTo>
                      <a:pt x="42" y="3559"/>
                    </a:lnTo>
                    <a:lnTo>
                      <a:pt x="29" y="3540"/>
                    </a:lnTo>
                    <a:lnTo>
                      <a:pt x="19" y="3521"/>
                    </a:lnTo>
                    <a:lnTo>
                      <a:pt x="11" y="3501"/>
                    </a:lnTo>
                    <a:lnTo>
                      <a:pt x="5" y="3480"/>
                    </a:lnTo>
                    <a:lnTo>
                      <a:pt x="5" y="3476"/>
                    </a:lnTo>
                    <a:lnTo>
                      <a:pt x="1" y="3455"/>
                    </a:lnTo>
                    <a:lnTo>
                      <a:pt x="0" y="3432"/>
                    </a:lnTo>
                    <a:lnTo>
                      <a:pt x="0" y="2672"/>
                    </a:lnTo>
                    <a:lnTo>
                      <a:pt x="22" y="2672"/>
                    </a:lnTo>
                    <a:lnTo>
                      <a:pt x="22" y="3432"/>
                    </a:lnTo>
                    <a:lnTo>
                      <a:pt x="23" y="3455"/>
                    </a:lnTo>
                    <a:lnTo>
                      <a:pt x="27" y="3475"/>
                    </a:lnTo>
                    <a:lnTo>
                      <a:pt x="32" y="3492"/>
                    </a:lnTo>
                    <a:lnTo>
                      <a:pt x="41" y="3512"/>
                    </a:lnTo>
                    <a:lnTo>
                      <a:pt x="51" y="3531"/>
                    </a:lnTo>
                    <a:lnTo>
                      <a:pt x="61" y="3547"/>
                    </a:lnTo>
                    <a:lnTo>
                      <a:pt x="75" y="3563"/>
                    </a:lnTo>
                    <a:lnTo>
                      <a:pt x="91" y="3579"/>
                    </a:lnTo>
                    <a:lnTo>
                      <a:pt x="107" y="3592"/>
                    </a:lnTo>
                    <a:lnTo>
                      <a:pt x="123" y="3602"/>
                    </a:lnTo>
                    <a:lnTo>
                      <a:pt x="144" y="3613"/>
                    </a:lnTo>
                    <a:lnTo>
                      <a:pt x="165" y="3623"/>
                    </a:lnTo>
                    <a:lnTo>
                      <a:pt x="187" y="3630"/>
                    </a:lnTo>
                    <a:lnTo>
                      <a:pt x="207" y="3634"/>
                    </a:lnTo>
                    <a:lnTo>
                      <a:pt x="207" y="3634"/>
                    </a:lnTo>
                    <a:lnTo>
                      <a:pt x="230" y="3638"/>
                    </a:lnTo>
                    <a:lnTo>
                      <a:pt x="256" y="3639"/>
                    </a:lnTo>
                    <a:lnTo>
                      <a:pt x="1609" y="3639"/>
                    </a:lnTo>
                    <a:lnTo>
                      <a:pt x="1635" y="3638"/>
                    </a:lnTo>
                    <a:lnTo>
                      <a:pt x="1659" y="3634"/>
                    </a:lnTo>
                    <a:lnTo>
                      <a:pt x="1659" y="3634"/>
                    </a:lnTo>
                    <a:lnTo>
                      <a:pt x="1678" y="3630"/>
                    </a:lnTo>
                    <a:lnTo>
                      <a:pt x="1700" y="3623"/>
                    </a:lnTo>
                    <a:lnTo>
                      <a:pt x="1723" y="3613"/>
                    </a:lnTo>
                    <a:lnTo>
                      <a:pt x="1743" y="3602"/>
                    </a:lnTo>
                    <a:lnTo>
                      <a:pt x="1759" y="3592"/>
                    </a:lnTo>
                    <a:lnTo>
                      <a:pt x="1776" y="3579"/>
                    </a:lnTo>
                    <a:lnTo>
                      <a:pt x="1791" y="3563"/>
                    </a:lnTo>
                    <a:lnTo>
                      <a:pt x="1802" y="3550"/>
                    </a:lnTo>
                    <a:lnTo>
                      <a:pt x="1802" y="3550"/>
                    </a:lnTo>
                    <a:lnTo>
                      <a:pt x="1815" y="3531"/>
                    </a:lnTo>
                    <a:lnTo>
                      <a:pt x="1825" y="3512"/>
                    </a:lnTo>
                    <a:lnTo>
                      <a:pt x="1834" y="3492"/>
                    </a:lnTo>
                    <a:lnTo>
                      <a:pt x="1839" y="3471"/>
                    </a:lnTo>
                    <a:lnTo>
                      <a:pt x="1840" y="3471"/>
                    </a:lnTo>
                    <a:lnTo>
                      <a:pt x="1842" y="3455"/>
                    </a:lnTo>
                    <a:lnTo>
                      <a:pt x="1844" y="3432"/>
                    </a:lnTo>
                    <a:lnTo>
                      <a:pt x="1844" y="229"/>
                    </a:lnTo>
                    <a:lnTo>
                      <a:pt x="1842" y="207"/>
                    </a:lnTo>
                    <a:lnTo>
                      <a:pt x="1840" y="190"/>
                    </a:lnTo>
                    <a:lnTo>
                      <a:pt x="1839" y="190"/>
                    </a:lnTo>
                    <a:lnTo>
                      <a:pt x="1834" y="169"/>
                    </a:lnTo>
                    <a:lnTo>
                      <a:pt x="1825" y="149"/>
                    </a:lnTo>
                    <a:lnTo>
                      <a:pt x="1815" y="130"/>
                    </a:lnTo>
                    <a:lnTo>
                      <a:pt x="1802" y="112"/>
                    </a:lnTo>
                    <a:lnTo>
                      <a:pt x="1802" y="112"/>
                    </a:lnTo>
                    <a:lnTo>
                      <a:pt x="1791" y="98"/>
                    </a:lnTo>
                    <a:lnTo>
                      <a:pt x="1776" y="83"/>
                    </a:lnTo>
                    <a:lnTo>
                      <a:pt x="1758" y="69"/>
                    </a:lnTo>
                    <a:lnTo>
                      <a:pt x="1743" y="59"/>
                    </a:lnTo>
                    <a:lnTo>
                      <a:pt x="1723" y="48"/>
                    </a:lnTo>
                    <a:lnTo>
                      <a:pt x="1700" y="38"/>
                    </a:lnTo>
                    <a:lnTo>
                      <a:pt x="1678" y="31"/>
                    </a:lnTo>
                    <a:lnTo>
                      <a:pt x="1659" y="27"/>
                    </a:lnTo>
                    <a:lnTo>
                      <a:pt x="1659" y="27"/>
                    </a:lnTo>
                    <a:lnTo>
                      <a:pt x="1635" y="23"/>
                    </a:lnTo>
                    <a:lnTo>
                      <a:pt x="1609" y="22"/>
                    </a:lnTo>
                    <a:lnTo>
                      <a:pt x="256" y="22"/>
                    </a:lnTo>
                    <a:lnTo>
                      <a:pt x="230" y="23"/>
                    </a:lnTo>
                    <a:lnTo>
                      <a:pt x="207" y="27"/>
                    </a:lnTo>
                    <a:lnTo>
                      <a:pt x="207" y="27"/>
                    </a:lnTo>
                    <a:lnTo>
                      <a:pt x="187" y="31"/>
                    </a:lnTo>
                    <a:lnTo>
                      <a:pt x="165" y="38"/>
                    </a:lnTo>
                    <a:lnTo>
                      <a:pt x="144" y="48"/>
                    </a:lnTo>
                    <a:lnTo>
                      <a:pt x="123" y="59"/>
                    </a:lnTo>
                    <a:lnTo>
                      <a:pt x="107" y="69"/>
                    </a:lnTo>
                    <a:lnTo>
                      <a:pt x="91" y="83"/>
                    </a:lnTo>
                    <a:lnTo>
                      <a:pt x="75" y="98"/>
                    </a:lnTo>
                    <a:lnTo>
                      <a:pt x="61" y="116"/>
                    </a:lnTo>
                    <a:lnTo>
                      <a:pt x="61" y="116"/>
                    </a:lnTo>
                    <a:lnTo>
                      <a:pt x="51" y="130"/>
                    </a:lnTo>
                    <a:lnTo>
                      <a:pt x="41" y="149"/>
                    </a:lnTo>
                    <a:lnTo>
                      <a:pt x="32" y="169"/>
                    </a:lnTo>
                    <a:lnTo>
                      <a:pt x="27" y="187"/>
                    </a:lnTo>
                    <a:lnTo>
                      <a:pt x="23" y="207"/>
                    </a:lnTo>
                    <a:lnTo>
                      <a:pt x="22" y="229"/>
                    </a:lnTo>
                    <a:lnTo>
                      <a:pt x="22" y="683"/>
                    </a:lnTo>
                    <a:lnTo>
                      <a:pt x="0" y="683"/>
                    </a:lnTo>
                    <a:lnTo>
                      <a:pt x="0" y="229"/>
                    </a:lnTo>
                    <a:lnTo>
                      <a:pt x="1" y="207"/>
                    </a:lnTo>
                    <a:lnTo>
                      <a:pt x="5" y="185"/>
                    </a:lnTo>
                    <a:lnTo>
                      <a:pt x="5" y="181"/>
                    </a:lnTo>
                    <a:lnTo>
                      <a:pt x="11" y="160"/>
                    </a:lnTo>
                    <a:lnTo>
                      <a:pt x="19" y="140"/>
                    </a:lnTo>
                    <a:lnTo>
                      <a:pt x="29" y="121"/>
                    </a:lnTo>
                    <a:lnTo>
                      <a:pt x="42" y="103"/>
                    </a:lnTo>
                    <a:lnTo>
                      <a:pt x="45" y="100"/>
                    </a:lnTo>
                    <a:lnTo>
                      <a:pt x="59" y="82"/>
                    </a:lnTo>
                    <a:lnTo>
                      <a:pt x="75" y="68"/>
                    </a:lnTo>
                    <a:lnTo>
                      <a:pt x="92" y="53"/>
                    </a:lnTo>
                    <a:lnTo>
                      <a:pt x="95" y="51"/>
                    </a:lnTo>
                    <a:lnTo>
                      <a:pt x="114" y="39"/>
                    </a:lnTo>
                    <a:lnTo>
                      <a:pt x="135" y="28"/>
                    </a:lnTo>
                    <a:lnTo>
                      <a:pt x="156" y="18"/>
                    </a:lnTo>
                    <a:lnTo>
                      <a:pt x="178" y="11"/>
                    </a:lnTo>
                    <a:lnTo>
                      <a:pt x="203" y="6"/>
                    </a:lnTo>
                    <a:lnTo>
                      <a:pt x="207" y="5"/>
                    </a:lnTo>
                    <a:lnTo>
                      <a:pt x="230" y="1"/>
                    </a:lnTo>
                    <a:lnTo>
                      <a:pt x="25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5" name="Freeform 744"/>
              <p:cNvSpPr>
                <a:spLocks noEditPoints="1"/>
              </p:cNvSpPr>
              <p:nvPr/>
            </p:nvSpPr>
            <p:spPr bwMode="auto">
              <a:xfrm>
                <a:off x="-1406" y="2967"/>
                <a:ext cx="1164" cy="1013"/>
              </a:xfrm>
              <a:custGeom>
                <a:avLst/>
                <a:gdLst>
                  <a:gd name="T0" fmla="*/ 658 w 2328"/>
                  <a:gd name="T1" fmla="*/ 1666 h 2027"/>
                  <a:gd name="T2" fmla="*/ 591 w 2328"/>
                  <a:gd name="T3" fmla="*/ 1360 h 2027"/>
                  <a:gd name="T4" fmla="*/ 1189 w 2328"/>
                  <a:gd name="T5" fmla="*/ 1445 h 2027"/>
                  <a:gd name="T6" fmla="*/ 709 w 2328"/>
                  <a:gd name="T7" fmla="*/ 1034 h 2027"/>
                  <a:gd name="T8" fmla="*/ 1189 w 2328"/>
                  <a:gd name="T9" fmla="*/ 1600 h 2027"/>
                  <a:gd name="T10" fmla="*/ 535 w 2328"/>
                  <a:gd name="T11" fmla="*/ 1434 h 2027"/>
                  <a:gd name="T12" fmla="*/ 117 w 2328"/>
                  <a:gd name="T13" fmla="*/ 948 h 2027"/>
                  <a:gd name="T14" fmla="*/ 84 w 2328"/>
                  <a:gd name="T15" fmla="*/ 1861 h 2027"/>
                  <a:gd name="T16" fmla="*/ 1635 w 2328"/>
                  <a:gd name="T17" fmla="*/ 1930 h 2027"/>
                  <a:gd name="T18" fmla="*/ 1709 w 2328"/>
                  <a:gd name="T19" fmla="*/ 981 h 2027"/>
                  <a:gd name="T20" fmla="*/ 552 w 2328"/>
                  <a:gd name="T21" fmla="*/ 849 h 2027"/>
                  <a:gd name="T22" fmla="*/ 1726 w 2328"/>
                  <a:gd name="T23" fmla="*/ 780 h 2027"/>
                  <a:gd name="T24" fmla="*/ 1769 w 2328"/>
                  <a:gd name="T25" fmla="*/ 1854 h 2027"/>
                  <a:gd name="T26" fmla="*/ 1176 w 2328"/>
                  <a:gd name="T27" fmla="*/ 2003 h 2027"/>
                  <a:gd name="T28" fmla="*/ 84 w 2328"/>
                  <a:gd name="T29" fmla="*/ 1951 h 2027"/>
                  <a:gd name="T30" fmla="*/ 23 w 2328"/>
                  <a:gd name="T31" fmla="*/ 1192 h 2027"/>
                  <a:gd name="T32" fmla="*/ 62 w 2328"/>
                  <a:gd name="T33" fmla="*/ 773 h 2027"/>
                  <a:gd name="T34" fmla="*/ 1779 w 2328"/>
                  <a:gd name="T35" fmla="*/ 711 h 2027"/>
                  <a:gd name="T36" fmla="*/ 1445 w 2328"/>
                  <a:gd name="T37" fmla="*/ 639 h 2027"/>
                  <a:gd name="T38" fmla="*/ 1811 w 2328"/>
                  <a:gd name="T39" fmla="*/ 585 h 2027"/>
                  <a:gd name="T40" fmla="*/ 1555 w 2328"/>
                  <a:gd name="T41" fmla="*/ 644 h 2027"/>
                  <a:gd name="T42" fmla="*/ 1613 w 2328"/>
                  <a:gd name="T43" fmla="*/ 641 h 2027"/>
                  <a:gd name="T44" fmla="*/ 1680 w 2328"/>
                  <a:gd name="T45" fmla="*/ 645 h 2027"/>
                  <a:gd name="T46" fmla="*/ 1682 w 2328"/>
                  <a:gd name="T47" fmla="*/ 570 h 2027"/>
                  <a:gd name="T48" fmla="*/ 44 w 2328"/>
                  <a:gd name="T49" fmla="*/ 555 h 2027"/>
                  <a:gd name="T50" fmla="*/ 2038 w 2328"/>
                  <a:gd name="T51" fmla="*/ 1361 h 2027"/>
                  <a:gd name="T52" fmla="*/ 2001 w 2328"/>
                  <a:gd name="T53" fmla="*/ 1757 h 2027"/>
                  <a:gd name="T54" fmla="*/ 1867 w 2328"/>
                  <a:gd name="T55" fmla="*/ 1689 h 2027"/>
                  <a:gd name="T56" fmla="*/ 1971 w 2328"/>
                  <a:gd name="T57" fmla="*/ 690 h 2027"/>
                  <a:gd name="T58" fmla="*/ 1875 w 2328"/>
                  <a:gd name="T59" fmla="*/ 615 h 2027"/>
                  <a:gd name="T60" fmla="*/ 62 w 2328"/>
                  <a:gd name="T61" fmla="*/ 523 h 2027"/>
                  <a:gd name="T62" fmla="*/ 1792 w 2328"/>
                  <a:gd name="T63" fmla="*/ 541 h 2027"/>
                  <a:gd name="T64" fmla="*/ 1810 w 2328"/>
                  <a:gd name="T65" fmla="*/ 734 h 2027"/>
                  <a:gd name="T66" fmla="*/ 1598 w 2328"/>
                  <a:gd name="T67" fmla="*/ 698 h 2027"/>
                  <a:gd name="T68" fmla="*/ 124 w 2328"/>
                  <a:gd name="T69" fmla="*/ 670 h 2027"/>
                  <a:gd name="T70" fmla="*/ 46 w 2328"/>
                  <a:gd name="T71" fmla="*/ 600 h 2027"/>
                  <a:gd name="T72" fmla="*/ 113 w 2328"/>
                  <a:gd name="T73" fmla="*/ 488 h 2027"/>
                  <a:gd name="T74" fmla="*/ 1696 w 2328"/>
                  <a:gd name="T75" fmla="*/ 376 h 2027"/>
                  <a:gd name="T76" fmla="*/ 1865 w 2328"/>
                  <a:gd name="T77" fmla="*/ 389 h 2027"/>
                  <a:gd name="T78" fmla="*/ 1932 w 2328"/>
                  <a:gd name="T79" fmla="*/ 392 h 2027"/>
                  <a:gd name="T80" fmla="*/ 1935 w 2328"/>
                  <a:gd name="T81" fmla="*/ 324 h 2027"/>
                  <a:gd name="T82" fmla="*/ 1742 w 2328"/>
                  <a:gd name="T83" fmla="*/ 387 h 2027"/>
                  <a:gd name="T84" fmla="*/ 2238 w 2328"/>
                  <a:gd name="T85" fmla="*/ 278 h 2027"/>
                  <a:gd name="T86" fmla="*/ 2288 w 2328"/>
                  <a:gd name="T87" fmla="*/ 1301 h 2027"/>
                  <a:gd name="T88" fmla="*/ 2127 w 2328"/>
                  <a:gd name="T89" fmla="*/ 1525 h 2027"/>
                  <a:gd name="T90" fmla="*/ 2198 w 2328"/>
                  <a:gd name="T91" fmla="*/ 1223 h 2027"/>
                  <a:gd name="T92" fmla="*/ 2223 w 2328"/>
                  <a:gd name="T93" fmla="*/ 373 h 2027"/>
                  <a:gd name="T94" fmla="*/ 2123 w 2328"/>
                  <a:gd name="T95" fmla="*/ 301 h 2027"/>
                  <a:gd name="T96" fmla="*/ 2062 w 2328"/>
                  <a:gd name="T97" fmla="*/ 486 h 2027"/>
                  <a:gd name="T98" fmla="*/ 1078 w 2328"/>
                  <a:gd name="T99" fmla="*/ 440 h 2027"/>
                  <a:gd name="T100" fmla="*/ 341 w 2328"/>
                  <a:gd name="T101" fmla="*/ 432 h 2027"/>
                  <a:gd name="T102" fmla="*/ 290 w 2328"/>
                  <a:gd name="T103" fmla="*/ 337 h 2027"/>
                  <a:gd name="T104" fmla="*/ 1952 w 2328"/>
                  <a:gd name="T105" fmla="*/ 135 h 2027"/>
                  <a:gd name="T106" fmla="*/ 2195 w 2328"/>
                  <a:gd name="T107" fmla="*/ 66 h 2027"/>
                  <a:gd name="T108" fmla="*/ 2148 w 2328"/>
                  <a:gd name="T109" fmla="*/ 112 h 2027"/>
                  <a:gd name="T110" fmla="*/ 2178 w 2328"/>
                  <a:gd name="T111" fmla="*/ 119 h 2027"/>
                  <a:gd name="T112" fmla="*/ 2213 w 2328"/>
                  <a:gd name="T113" fmla="*/ 69 h 2027"/>
                  <a:gd name="T114" fmla="*/ 2071 w 2328"/>
                  <a:gd name="T115" fmla="*/ 66 h 2027"/>
                  <a:gd name="T116" fmla="*/ 2324 w 2328"/>
                  <a:gd name="T117" fmla="*/ 202 h 2027"/>
                  <a:gd name="T118" fmla="*/ 1614 w 2328"/>
                  <a:gd name="T119" fmla="*/ 191 h 2027"/>
                  <a:gd name="T120" fmla="*/ 577 w 2328"/>
                  <a:gd name="T121" fmla="*/ 184 h 2027"/>
                  <a:gd name="T122" fmla="*/ 518 w 2328"/>
                  <a:gd name="T123" fmla="*/ 106 h 2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8" h="2027">
                    <a:moveTo>
                      <a:pt x="1757" y="1988"/>
                    </a:moveTo>
                    <a:lnTo>
                      <a:pt x="1753" y="1995"/>
                    </a:lnTo>
                    <a:lnTo>
                      <a:pt x="1747" y="2002"/>
                    </a:lnTo>
                    <a:lnTo>
                      <a:pt x="1753" y="1995"/>
                    </a:lnTo>
                    <a:lnTo>
                      <a:pt x="1757" y="1988"/>
                    </a:lnTo>
                    <a:close/>
                    <a:moveTo>
                      <a:pt x="1766" y="1972"/>
                    </a:moveTo>
                    <a:lnTo>
                      <a:pt x="1761" y="1983"/>
                    </a:lnTo>
                    <a:lnTo>
                      <a:pt x="1757" y="1988"/>
                    </a:lnTo>
                    <a:lnTo>
                      <a:pt x="1761" y="1983"/>
                    </a:lnTo>
                    <a:lnTo>
                      <a:pt x="1766" y="1972"/>
                    </a:lnTo>
                    <a:close/>
                    <a:moveTo>
                      <a:pt x="1771" y="1959"/>
                    </a:moveTo>
                    <a:lnTo>
                      <a:pt x="1771" y="1961"/>
                    </a:lnTo>
                    <a:lnTo>
                      <a:pt x="1766" y="1972"/>
                    </a:lnTo>
                    <a:lnTo>
                      <a:pt x="1771" y="1961"/>
                    </a:lnTo>
                    <a:lnTo>
                      <a:pt x="1771" y="1959"/>
                    </a:lnTo>
                    <a:close/>
                    <a:moveTo>
                      <a:pt x="1774" y="1939"/>
                    </a:moveTo>
                    <a:lnTo>
                      <a:pt x="1774" y="1950"/>
                    </a:lnTo>
                    <a:lnTo>
                      <a:pt x="1771" y="1959"/>
                    </a:lnTo>
                    <a:lnTo>
                      <a:pt x="1774" y="1950"/>
                    </a:lnTo>
                    <a:lnTo>
                      <a:pt x="1774" y="1939"/>
                    </a:lnTo>
                    <a:close/>
                    <a:moveTo>
                      <a:pt x="658" y="1666"/>
                    </a:moveTo>
                    <a:lnTo>
                      <a:pt x="695" y="1695"/>
                    </a:lnTo>
                    <a:lnTo>
                      <a:pt x="735" y="1720"/>
                    </a:lnTo>
                    <a:lnTo>
                      <a:pt x="695" y="1695"/>
                    </a:lnTo>
                    <a:lnTo>
                      <a:pt x="658" y="1666"/>
                    </a:lnTo>
                    <a:close/>
                    <a:moveTo>
                      <a:pt x="528" y="1354"/>
                    </a:moveTo>
                    <a:lnTo>
                      <a:pt x="531" y="1408"/>
                    </a:lnTo>
                    <a:lnTo>
                      <a:pt x="532" y="1410"/>
                    </a:lnTo>
                    <a:lnTo>
                      <a:pt x="532" y="1410"/>
                    </a:lnTo>
                    <a:lnTo>
                      <a:pt x="531" y="1408"/>
                    </a:lnTo>
                    <a:lnTo>
                      <a:pt x="528" y="1354"/>
                    </a:lnTo>
                    <a:close/>
                    <a:moveTo>
                      <a:pt x="803" y="1173"/>
                    </a:moveTo>
                    <a:lnTo>
                      <a:pt x="1081" y="1374"/>
                    </a:lnTo>
                    <a:lnTo>
                      <a:pt x="793" y="1562"/>
                    </a:lnTo>
                    <a:lnTo>
                      <a:pt x="803" y="1173"/>
                    </a:lnTo>
                    <a:close/>
                    <a:moveTo>
                      <a:pt x="901" y="1045"/>
                    </a:moveTo>
                    <a:lnTo>
                      <a:pt x="863" y="1049"/>
                    </a:lnTo>
                    <a:lnTo>
                      <a:pt x="824" y="1058"/>
                    </a:lnTo>
                    <a:lnTo>
                      <a:pt x="786" y="1071"/>
                    </a:lnTo>
                    <a:lnTo>
                      <a:pt x="759" y="1082"/>
                    </a:lnTo>
                    <a:lnTo>
                      <a:pt x="734" y="1096"/>
                    </a:lnTo>
                    <a:lnTo>
                      <a:pt x="709" y="1114"/>
                    </a:lnTo>
                    <a:lnTo>
                      <a:pt x="687" y="1134"/>
                    </a:lnTo>
                    <a:lnTo>
                      <a:pt x="661" y="1166"/>
                    </a:lnTo>
                    <a:lnTo>
                      <a:pt x="638" y="1200"/>
                    </a:lnTo>
                    <a:lnTo>
                      <a:pt x="621" y="1237"/>
                    </a:lnTo>
                    <a:lnTo>
                      <a:pt x="608" y="1266"/>
                    </a:lnTo>
                    <a:lnTo>
                      <a:pt x="600" y="1295"/>
                    </a:lnTo>
                    <a:lnTo>
                      <a:pt x="593" y="1326"/>
                    </a:lnTo>
                    <a:lnTo>
                      <a:pt x="591" y="1360"/>
                    </a:lnTo>
                    <a:lnTo>
                      <a:pt x="592" y="1393"/>
                    </a:lnTo>
                    <a:lnTo>
                      <a:pt x="595" y="1426"/>
                    </a:lnTo>
                    <a:lnTo>
                      <a:pt x="602" y="1457"/>
                    </a:lnTo>
                    <a:lnTo>
                      <a:pt x="612" y="1486"/>
                    </a:lnTo>
                    <a:lnTo>
                      <a:pt x="626" y="1524"/>
                    </a:lnTo>
                    <a:lnTo>
                      <a:pt x="646" y="1559"/>
                    </a:lnTo>
                    <a:lnTo>
                      <a:pt x="671" y="1592"/>
                    </a:lnTo>
                    <a:lnTo>
                      <a:pt x="698" y="1619"/>
                    </a:lnTo>
                    <a:lnTo>
                      <a:pt x="729" y="1644"/>
                    </a:lnTo>
                    <a:lnTo>
                      <a:pt x="764" y="1664"/>
                    </a:lnTo>
                    <a:lnTo>
                      <a:pt x="802" y="1679"/>
                    </a:lnTo>
                    <a:lnTo>
                      <a:pt x="840" y="1690"/>
                    </a:lnTo>
                    <a:lnTo>
                      <a:pt x="880" y="1695"/>
                    </a:lnTo>
                    <a:lnTo>
                      <a:pt x="924" y="1693"/>
                    </a:lnTo>
                    <a:lnTo>
                      <a:pt x="964" y="1686"/>
                    </a:lnTo>
                    <a:lnTo>
                      <a:pt x="1003" y="1674"/>
                    </a:lnTo>
                    <a:lnTo>
                      <a:pt x="1038" y="1656"/>
                    </a:lnTo>
                    <a:lnTo>
                      <a:pt x="1070" y="1634"/>
                    </a:lnTo>
                    <a:lnTo>
                      <a:pt x="1101" y="1605"/>
                    </a:lnTo>
                    <a:lnTo>
                      <a:pt x="1122" y="1584"/>
                    </a:lnTo>
                    <a:lnTo>
                      <a:pt x="1141" y="1559"/>
                    </a:lnTo>
                    <a:lnTo>
                      <a:pt x="1157" y="1534"/>
                    </a:lnTo>
                    <a:lnTo>
                      <a:pt x="1168" y="1507"/>
                    </a:lnTo>
                    <a:lnTo>
                      <a:pt x="1180" y="1476"/>
                    </a:lnTo>
                    <a:lnTo>
                      <a:pt x="1189" y="1445"/>
                    </a:lnTo>
                    <a:lnTo>
                      <a:pt x="1195" y="1413"/>
                    </a:lnTo>
                    <a:lnTo>
                      <a:pt x="1197" y="1380"/>
                    </a:lnTo>
                    <a:lnTo>
                      <a:pt x="1199" y="1346"/>
                    </a:lnTo>
                    <a:lnTo>
                      <a:pt x="1196" y="1313"/>
                    </a:lnTo>
                    <a:lnTo>
                      <a:pt x="1189" y="1282"/>
                    </a:lnTo>
                    <a:lnTo>
                      <a:pt x="1181" y="1253"/>
                    </a:lnTo>
                    <a:lnTo>
                      <a:pt x="1164" y="1215"/>
                    </a:lnTo>
                    <a:lnTo>
                      <a:pt x="1142" y="1181"/>
                    </a:lnTo>
                    <a:lnTo>
                      <a:pt x="1118" y="1148"/>
                    </a:lnTo>
                    <a:lnTo>
                      <a:pt x="1089" y="1120"/>
                    </a:lnTo>
                    <a:lnTo>
                      <a:pt x="1058" y="1095"/>
                    </a:lnTo>
                    <a:lnTo>
                      <a:pt x="1024" y="1075"/>
                    </a:lnTo>
                    <a:lnTo>
                      <a:pt x="996" y="1063"/>
                    </a:lnTo>
                    <a:lnTo>
                      <a:pt x="966" y="1054"/>
                    </a:lnTo>
                    <a:lnTo>
                      <a:pt x="935" y="1048"/>
                    </a:lnTo>
                    <a:lnTo>
                      <a:pt x="901" y="1045"/>
                    </a:lnTo>
                    <a:close/>
                    <a:moveTo>
                      <a:pt x="696" y="1043"/>
                    </a:moveTo>
                    <a:lnTo>
                      <a:pt x="686" y="1050"/>
                    </a:lnTo>
                    <a:lnTo>
                      <a:pt x="664" y="1068"/>
                    </a:lnTo>
                    <a:lnTo>
                      <a:pt x="686" y="1050"/>
                    </a:lnTo>
                    <a:lnTo>
                      <a:pt x="696" y="1043"/>
                    </a:lnTo>
                    <a:close/>
                    <a:moveTo>
                      <a:pt x="734" y="1021"/>
                    </a:moveTo>
                    <a:lnTo>
                      <a:pt x="709" y="1034"/>
                    </a:lnTo>
                    <a:lnTo>
                      <a:pt x="696" y="1043"/>
                    </a:lnTo>
                    <a:lnTo>
                      <a:pt x="709" y="1034"/>
                    </a:lnTo>
                    <a:lnTo>
                      <a:pt x="734" y="1021"/>
                    </a:lnTo>
                    <a:close/>
                    <a:moveTo>
                      <a:pt x="868" y="982"/>
                    </a:moveTo>
                    <a:lnTo>
                      <a:pt x="905" y="983"/>
                    </a:lnTo>
                    <a:lnTo>
                      <a:pt x="943" y="985"/>
                    </a:lnTo>
                    <a:lnTo>
                      <a:pt x="979" y="991"/>
                    </a:lnTo>
                    <a:lnTo>
                      <a:pt x="1015" y="1001"/>
                    </a:lnTo>
                    <a:lnTo>
                      <a:pt x="1050" y="1015"/>
                    </a:lnTo>
                    <a:lnTo>
                      <a:pt x="1080" y="1031"/>
                    </a:lnTo>
                    <a:lnTo>
                      <a:pt x="1109" y="1051"/>
                    </a:lnTo>
                    <a:lnTo>
                      <a:pt x="1137" y="1074"/>
                    </a:lnTo>
                    <a:lnTo>
                      <a:pt x="1162" y="1103"/>
                    </a:lnTo>
                    <a:lnTo>
                      <a:pt x="1186" y="1131"/>
                    </a:lnTo>
                    <a:lnTo>
                      <a:pt x="1207" y="1161"/>
                    </a:lnTo>
                    <a:lnTo>
                      <a:pt x="1226" y="1193"/>
                    </a:lnTo>
                    <a:lnTo>
                      <a:pt x="1240" y="1229"/>
                    </a:lnTo>
                    <a:lnTo>
                      <a:pt x="1251" y="1265"/>
                    </a:lnTo>
                    <a:lnTo>
                      <a:pt x="1258" y="1303"/>
                    </a:lnTo>
                    <a:lnTo>
                      <a:pt x="1261" y="1342"/>
                    </a:lnTo>
                    <a:lnTo>
                      <a:pt x="1260" y="1383"/>
                    </a:lnTo>
                    <a:lnTo>
                      <a:pt x="1258" y="1422"/>
                    </a:lnTo>
                    <a:lnTo>
                      <a:pt x="1252" y="1459"/>
                    </a:lnTo>
                    <a:lnTo>
                      <a:pt x="1242" y="1497"/>
                    </a:lnTo>
                    <a:lnTo>
                      <a:pt x="1228" y="1533"/>
                    </a:lnTo>
                    <a:lnTo>
                      <a:pt x="1210" y="1568"/>
                    </a:lnTo>
                    <a:lnTo>
                      <a:pt x="1189" y="1600"/>
                    </a:lnTo>
                    <a:lnTo>
                      <a:pt x="1167" y="1630"/>
                    </a:lnTo>
                    <a:lnTo>
                      <a:pt x="1141" y="1656"/>
                    </a:lnTo>
                    <a:lnTo>
                      <a:pt x="1117" y="1679"/>
                    </a:lnTo>
                    <a:lnTo>
                      <a:pt x="1088" y="1700"/>
                    </a:lnTo>
                    <a:lnTo>
                      <a:pt x="1056" y="1718"/>
                    </a:lnTo>
                    <a:lnTo>
                      <a:pt x="1021" y="1734"/>
                    </a:lnTo>
                    <a:lnTo>
                      <a:pt x="988" y="1747"/>
                    </a:lnTo>
                    <a:lnTo>
                      <a:pt x="953" y="1756"/>
                    </a:lnTo>
                    <a:lnTo>
                      <a:pt x="916" y="1760"/>
                    </a:lnTo>
                    <a:lnTo>
                      <a:pt x="878" y="1763"/>
                    </a:lnTo>
                    <a:lnTo>
                      <a:pt x="843" y="1757"/>
                    </a:lnTo>
                    <a:lnTo>
                      <a:pt x="806" y="1749"/>
                    </a:lnTo>
                    <a:lnTo>
                      <a:pt x="770" y="1738"/>
                    </a:lnTo>
                    <a:lnTo>
                      <a:pt x="737" y="1724"/>
                    </a:lnTo>
                    <a:lnTo>
                      <a:pt x="697" y="1698"/>
                    </a:lnTo>
                    <a:lnTo>
                      <a:pt x="659" y="1669"/>
                    </a:lnTo>
                    <a:lnTo>
                      <a:pt x="625" y="1636"/>
                    </a:lnTo>
                    <a:lnTo>
                      <a:pt x="605" y="1608"/>
                    </a:lnTo>
                    <a:lnTo>
                      <a:pt x="585" y="1578"/>
                    </a:lnTo>
                    <a:lnTo>
                      <a:pt x="567" y="1545"/>
                    </a:lnTo>
                    <a:lnTo>
                      <a:pt x="553" y="1511"/>
                    </a:lnTo>
                    <a:lnTo>
                      <a:pt x="540" y="1462"/>
                    </a:lnTo>
                    <a:lnTo>
                      <a:pt x="532" y="1411"/>
                    </a:lnTo>
                    <a:lnTo>
                      <a:pt x="532" y="1410"/>
                    </a:lnTo>
                    <a:lnTo>
                      <a:pt x="535" y="1434"/>
                    </a:lnTo>
                    <a:lnTo>
                      <a:pt x="538" y="1459"/>
                    </a:lnTo>
                    <a:lnTo>
                      <a:pt x="553" y="1508"/>
                    </a:lnTo>
                    <a:lnTo>
                      <a:pt x="538" y="1459"/>
                    </a:lnTo>
                    <a:lnTo>
                      <a:pt x="535" y="1434"/>
                    </a:lnTo>
                    <a:lnTo>
                      <a:pt x="532" y="1410"/>
                    </a:lnTo>
                    <a:lnTo>
                      <a:pt x="528" y="1356"/>
                    </a:lnTo>
                    <a:lnTo>
                      <a:pt x="533" y="1317"/>
                    </a:lnTo>
                    <a:lnTo>
                      <a:pt x="541" y="1281"/>
                    </a:lnTo>
                    <a:lnTo>
                      <a:pt x="552" y="1244"/>
                    </a:lnTo>
                    <a:lnTo>
                      <a:pt x="566" y="1211"/>
                    </a:lnTo>
                    <a:lnTo>
                      <a:pt x="582" y="1176"/>
                    </a:lnTo>
                    <a:lnTo>
                      <a:pt x="600" y="1144"/>
                    </a:lnTo>
                    <a:lnTo>
                      <a:pt x="622" y="1114"/>
                    </a:lnTo>
                    <a:lnTo>
                      <a:pt x="647" y="1089"/>
                    </a:lnTo>
                    <a:lnTo>
                      <a:pt x="666" y="1068"/>
                    </a:lnTo>
                    <a:lnTo>
                      <a:pt x="688" y="1050"/>
                    </a:lnTo>
                    <a:lnTo>
                      <a:pt x="712" y="1034"/>
                    </a:lnTo>
                    <a:lnTo>
                      <a:pt x="736" y="1020"/>
                    </a:lnTo>
                    <a:lnTo>
                      <a:pt x="762" y="1007"/>
                    </a:lnTo>
                    <a:lnTo>
                      <a:pt x="797" y="995"/>
                    </a:lnTo>
                    <a:lnTo>
                      <a:pt x="833" y="987"/>
                    </a:lnTo>
                    <a:lnTo>
                      <a:pt x="864" y="983"/>
                    </a:lnTo>
                    <a:lnTo>
                      <a:pt x="868" y="982"/>
                    </a:lnTo>
                    <a:close/>
                    <a:moveTo>
                      <a:pt x="120" y="839"/>
                    </a:moveTo>
                    <a:lnTo>
                      <a:pt x="117" y="948"/>
                    </a:lnTo>
                    <a:lnTo>
                      <a:pt x="113" y="1050"/>
                    </a:lnTo>
                    <a:lnTo>
                      <a:pt x="110" y="1143"/>
                    </a:lnTo>
                    <a:lnTo>
                      <a:pt x="107" y="1229"/>
                    </a:lnTo>
                    <a:lnTo>
                      <a:pt x="104" y="1309"/>
                    </a:lnTo>
                    <a:lnTo>
                      <a:pt x="101" y="1380"/>
                    </a:lnTo>
                    <a:lnTo>
                      <a:pt x="99" y="1445"/>
                    </a:lnTo>
                    <a:lnTo>
                      <a:pt x="97" y="1505"/>
                    </a:lnTo>
                    <a:lnTo>
                      <a:pt x="95" y="1558"/>
                    </a:lnTo>
                    <a:lnTo>
                      <a:pt x="93" y="1606"/>
                    </a:lnTo>
                    <a:lnTo>
                      <a:pt x="92" y="1648"/>
                    </a:lnTo>
                    <a:lnTo>
                      <a:pt x="91" y="1686"/>
                    </a:lnTo>
                    <a:lnTo>
                      <a:pt x="90" y="1718"/>
                    </a:lnTo>
                    <a:lnTo>
                      <a:pt x="89" y="1747"/>
                    </a:lnTo>
                    <a:lnTo>
                      <a:pt x="88" y="1771"/>
                    </a:lnTo>
                    <a:lnTo>
                      <a:pt x="87" y="1792"/>
                    </a:lnTo>
                    <a:lnTo>
                      <a:pt x="87" y="1809"/>
                    </a:lnTo>
                    <a:lnTo>
                      <a:pt x="85" y="1824"/>
                    </a:lnTo>
                    <a:lnTo>
                      <a:pt x="85" y="1835"/>
                    </a:lnTo>
                    <a:lnTo>
                      <a:pt x="85" y="1844"/>
                    </a:lnTo>
                    <a:lnTo>
                      <a:pt x="85" y="1850"/>
                    </a:lnTo>
                    <a:lnTo>
                      <a:pt x="85" y="1855"/>
                    </a:lnTo>
                    <a:lnTo>
                      <a:pt x="84" y="1858"/>
                    </a:lnTo>
                    <a:lnTo>
                      <a:pt x="84" y="1860"/>
                    </a:lnTo>
                    <a:lnTo>
                      <a:pt x="84" y="1860"/>
                    </a:lnTo>
                    <a:lnTo>
                      <a:pt x="84" y="1861"/>
                    </a:lnTo>
                    <a:lnTo>
                      <a:pt x="84" y="1861"/>
                    </a:lnTo>
                    <a:lnTo>
                      <a:pt x="221" y="1867"/>
                    </a:lnTo>
                    <a:lnTo>
                      <a:pt x="350" y="1872"/>
                    </a:lnTo>
                    <a:lnTo>
                      <a:pt x="470" y="1878"/>
                    </a:lnTo>
                    <a:lnTo>
                      <a:pt x="583" y="1884"/>
                    </a:lnTo>
                    <a:lnTo>
                      <a:pt x="688" y="1888"/>
                    </a:lnTo>
                    <a:lnTo>
                      <a:pt x="787" y="1892"/>
                    </a:lnTo>
                    <a:lnTo>
                      <a:pt x="879" y="1897"/>
                    </a:lnTo>
                    <a:lnTo>
                      <a:pt x="964" y="1900"/>
                    </a:lnTo>
                    <a:lnTo>
                      <a:pt x="1042" y="1903"/>
                    </a:lnTo>
                    <a:lnTo>
                      <a:pt x="1116" y="1907"/>
                    </a:lnTo>
                    <a:lnTo>
                      <a:pt x="1183" y="1910"/>
                    </a:lnTo>
                    <a:lnTo>
                      <a:pt x="1245" y="1912"/>
                    </a:lnTo>
                    <a:lnTo>
                      <a:pt x="1300" y="1915"/>
                    </a:lnTo>
                    <a:lnTo>
                      <a:pt x="1351" y="1918"/>
                    </a:lnTo>
                    <a:lnTo>
                      <a:pt x="1398" y="1919"/>
                    </a:lnTo>
                    <a:lnTo>
                      <a:pt x="1439" y="1921"/>
                    </a:lnTo>
                    <a:lnTo>
                      <a:pt x="1477" y="1923"/>
                    </a:lnTo>
                    <a:lnTo>
                      <a:pt x="1510" y="1925"/>
                    </a:lnTo>
                    <a:lnTo>
                      <a:pt x="1539" y="1926"/>
                    </a:lnTo>
                    <a:lnTo>
                      <a:pt x="1564" y="1927"/>
                    </a:lnTo>
                    <a:lnTo>
                      <a:pt x="1586" y="1928"/>
                    </a:lnTo>
                    <a:lnTo>
                      <a:pt x="1605" y="1929"/>
                    </a:lnTo>
                    <a:lnTo>
                      <a:pt x="1622" y="1929"/>
                    </a:lnTo>
                    <a:lnTo>
                      <a:pt x="1635" y="1930"/>
                    </a:lnTo>
                    <a:lnTo>
                      <a:pt x="1645" y="1930"/>
                    </a:lnTo>
                    <a:lnTo>
                      <a:pt x="1654" y="1931"/>
                    </a:lnTo>
                    <a:lnTo>
                      <a:pt x="1662" y="1931"/>
                    </a:lnTo>
                    <a:lnTo>
                      <a:pt x="1666" y="1931"/>
                    </a:lnTo>
                    <a:lnTo>
                      <a:pt x="1671" y="1931"/>
                    </a:lnTo>
                    <a:lnTo>
                      <a:pt x="1673" y="1931"/>
                    </a:lnTo>
                    <a:lnTo>
                      <a:pt x="1674" y="1931"/>
                    </a:lnTo>
                    <a:lnTo>
                      <a:pt x="1675" y="1931"/>
                    </a:lnTo>
                    <a:lnTo>
                      <a:pt x="1675" y="1931"/>
                    </a:lnTo>
                    <a:lnTo>
                      <a:pt x="1675" y="1932"/>
                    </a:lnTo>
                    <a:lnTo>
                      <a:pt x="1679" y="1822"/>
                    </a:lnTo>
                    <a:lnTo>
                      <a:pt x="1683" y="1721"/>
                    </a:lnTo>
                    <a:lnTo>
                      <a:pt x="1686" y="1627"/>
                    </a:lnTo>
                    <a:lnTo>
                      <a:pt x="1689" y="1541"/>
                    </a:lnTo>
                    <a:lnTo>
                      <a:pt x="1692" y="1461"/>
                    </a:lnTo>
                    <a:lnTo>
                      <a:pt x="1694" y="1388"/>
                    </a:lnTo>
                    <a:lnTo>
                      <a:pt x="1696" y="1321"/>
                    </a:lnTo>
                    <a:lnTo>
                      <a:pt x="1699" y="1261"/>
                    </a:lnTo>
                    <a:lnTo>
                      <a:pt x="1701" y="1205"/>
                    </a:lnTo>
                    <a:lnTo>
                      <a:pt x="1702" y="1156"/>
                    </a:lnTo>
                    <a:lnTo>
                      <a:pt x="1704" y="1112"/>
                    </a:lnTo>
                    <a:lnTo>
                      <a:pt x="1705" y="1073"/>
                    </a:lnTo>
                    <a:lnTo>
                      <a:pt x="1706" y="1038"/>
                    </a:lnTo>
                    <a:lnTo>
                      <a:pt x="1708" y="1008"/>
                    </a:lnTo>
                    <a:lnTo>
                      <a:pt x="1709" y="981"/>
                    </a:lnTo>
                    <a:lnTo>
                      <a:pt x="1710" y="959"/>
                    </a:lnTo>
                    <a:lnTo>
                      <a:pt x="1710" y="940"/>
                    </a:lnTo>
                    <a:lnTo>
                      <a:pt x="1711" y="923"/>
                    </a:lnTo>
                    <a:lnTo>
                      <a:pt x="1711" y="911"/>
                    </a:lnTo>
                    <a:lnTo>
                      <a:pt x="1711" y="900"/>
                    </a:lnTo>
                    <a:lnTo>
                      <a:pt x="1712" y="892"/>
                    </a:lnTo>
                    <a:lnTo>
                      <a:pt x="1712" y="886"/>
                    </a:lnTo>
                    <a:lnTo>
                      <a:pt x="1712" y="881"/>
                    </a:lnTo>
                    <a:lnTo>
                      <a:pt x="1712" y="879"/>
                    </a:lnTo>
                    <a:lnTo>
                      <a:pt x="1712" y="877"/>
                    </a:lnTo>
                    <a:lnTo>
                      <a:pt x="1712" y="876"/>
                    </a:lnTo>
                    <a:lnTo>
                      <a:pt x="1712" y="876"/>
                    </a:lnTo>
                    <a:lnTo>
                      <a:pt x="1712" y="876"/>
                    </a:lnTo>
                    <a:lnTo>
                      <a:pt x="1575" y="872"/>
                    </a:lnTo>
                    <a:lnTo>
                      <a:pt x="1448" y="870"/>
                    </a:lnTo>
                    <a:lnTo>
                      <a:pt x="1327" y="867"/>
                    </a:lnTo>
                    <a:lnTo>
                      <a:pt x="1213" y="864"/>
                    </a:lnTo>
                    <a:lnTo>
                      <a:pt x="1108" y="861"/>
                    </a:lnTo>
                    <a:lnTo>
                      <a:pt x="1009" y="859"/>
                    </a:lnTo>
                    <a:lnTo>
                      <a:pt x="917" y="857"/>
                    </a:lnTo>
                    <a:lnTo>
                      <a:pt x="833" y="856"/>
                    </a:lnTo>
                    <a:lnTo>
                      <a:pt x="753" y="853"/>
                    </a:lnTo>
                    <a:lnTo>
                      <a:pt x="681" y="851"/>
                    </a:lnTo>
                    <a:lnTo>
                      <a:pt x="613" y="850"/>
                    </a:lnTo>
                    <a:lnTo>
                      <a:pt x="552" y="849"/>
                    </a:lnTo>
                    <a:lnTo>
                      <a:pt x="495" y="848"/>
                    </a:lnTo>
                    <a:lnTo>
                      <a:pt x="444" y="847"/>
                    </a:lnTo>
                    <a:lnTo>
                      <a:pt x="399" y="846"/>
                    </a:lnTo>
                    <a:lnTo>
                      <a:pt x="356" y="845"/>
                    </a:lnTo>
                    <a:lnTo>
                      <a:pt x="320" y="843"/>
                    </a:lnTo>
                    <a:lnTo>
                      <a:pt x="286" y="842"/>
                    </a:lnTo>
                    <a:lnTo>
                      <a:pt x="256" y="842"/>
                    </a:lnTo>
                    <a:lnTo>
                      <a:pt x="231" y="841"/>
                    </a:lnTo>
                    <a:lnTo>
                      <a:pt x="209" y="841"/>
                    </a:lnTo>
                    <a:lnTo>
                      <a:pt x="190" y="840"/>
                    </a:lnTo>
                    <a:lnTo>
                      <a:pt x="174" y="840"/>
                    </a:lnTo>
                    <a:lnTo>
                      <a:pt x="161" y="840"/>
                    </a:lnTo>
                    <a:lnTo>
                      <a:pt x="150" y="839"/>
                    </a:lnTo>
                    <a:lnTo>
                      <a:pt x="141" y="839"/>
                    </a:lnTo>
                    <a:lnTo>
                      <a:pt x="134" y="839"/>
                    </a:lnTo>
                    <a:lnTo>
                      <a:pt x="129" y="839"/>
                    </a:lnTo>
                    <a:lnTo>
                      <a:pt x="125" y="839"/>
                    </a:lnTo>
                    <a:lnTo>
                      <a:pt x="123" y="839"/>
                    </a:lnTo>
                    <a:lnTo>
                      <a:pt x="121" y="839"/>
                    </a:lnTo>
                    <a:lnTo>
                      <a:pt x="121" y="839"/>
                    </a:lnTo>
                    <a:lnTo>
                      <a:pt x="120" y="839"/>
                    </a:lnTo>
                    <a:lnTo>
                      <a:pt x="120" y="839"/>
                    </a:lnTo>
                    <a:close/>
                    <a:moveTo>
                      <a:pt x="120" y="749"/>
                    </a:moveTo>
                    <a:lnTo>
                      <a:pt x="1712" y="781"/>
                    </a:lnTo>
                    <a:lnTo>
                      <a:pt x="1726" y="780"/>
                    </a:lnTo>
                    <a:lnTo>
                      <a:pt x="1740" y="783"/>
                    </a:lnTo>
                    <a:lnTo>
                      <a:pt x="1752" y="787"/>
                    </a:lnTo>
                    <a:lnTo>
                      <a:pt x="1760" y="793"/>
                    </a:lnTo>
                    <a:lnTo>
                      <a:pt x="1769" y="800"/>
                    </a:lnTo>
                    <a:lnTo>
                      <a:pt x="1776" y="806"/>
                    </a:lnTo>
                    <a:lnTo>
                      <a:pt x="1797" y="837"/>
                    </a:lnTo>
                    <a:lnTo>
                      <a:pt x="1799" y="850"/>
                    </a:lnTo>
                    <a:lnTo>
                      <a:pt x="1801" y="863"/>
                    </a:lnTo>
                    <a:lnTo>
                      <a:pt x="1802" y="876"/>
                    </a:lnTo>
                    <a:lnTo>
                      <a:pt x="1799" y="985"/>
                    </a:lnTo>
                    <a:lnTo>
                      <a:pt x="1795" y="1088"/>
                    </a:lnTo>
                    <a:lnTo>
                      <a:pt x="1792" y="1182"/>
                    </a:lnTo>
                    <a:lnTo>
                      <a:pt x="1789" y="1269"/>
                    </a:lnTo>
                    <a:lnTo>
                      <a:pt x="1786" y="1348"/>
                    </a:lnTo>
                    <a:lnTo>
                      <a:pt x="1783" y="1423"/>
                    </a:lnTo>
                    <a:lnTo>
                      <a:pt x="1781" y="1489"/>
                    </a:lnTo>
                    <a:lnTo>
                      <a:pt x="1779" y="1550"/>
                    </a:lnTo>
                    <a:lnTo>
                      <a:pt x="1777" y="1606"/>
                    </a:lnTo>
                    <a:lnTo>
                      <a:pt x="1775" y="1655"/>
                    </a:lnTo>
                    <a:lnTo>
                      <a:pt x="1774" y="1699"/>
                    </a:lnTo>
                    <a:lnTo>
                      <a:pt x="1773" y="1739"/>
                    </a:lnTo>
                    <a:lnTo>
                      <a:pt x="1772" y="1774"/>
                    </a:lnTo>
                    <a:lnTo>
                      <a:pt x="1771" y="1805"/>
                    </a:lnTo>
                    <a:lnTo>
                      <a:pt x="1770" y="1831"/>
                    </a:lnTo>
                    <a:lnTo>
                      <a:pt x="1769" y="1854"/>
                    </a:lnTo>
                    <a:lnTo>
                      <a:pt x="1767" y="1874"/>
                    </a:lnTo>
                    <a:lnTo>
                      <a:pt x="1767" y="1889"/>
                    </a:lnTo>
                    <a:lnTo>
                      <a:pt x="1767" y="1902"/>
                    </a:lnTo>
                    <a:lnTo>
                      <a:pt x="1766" y="1912"/>
                    </a:lnTo>
                    <a:lnTo>
                      <a:pt x="1766" y="1921"/>
                    </a:lnTo>
                    <a:lnTo>
                      <a:pt x="1766" y="1927"/>
                    </a:lnTo>
                    <a:lnTo>
                      <a:pt x="1766" y="1931"/>
                    </a:lnTo>
                    <a:lnTo>
                      <a:pt x="1766" y="1935"/>
                    </a:lnTo>
                    <a:lnTo>
                      <a:pt x="1766" y="1936"/>
                    </a:lnTo>
                    <a:lnTo>
                      <a:pt x="1766" y="1937"/>
                    </a:lnTo>
                    <a:lnTo>
                      <a:pt x="1766" y="1938"/>
                    </a:lnTo>
                    <a:lnTo>
                      <a:pt x="1766" y="1938"/>
                    </a:lnTo>
                    <a:lnTo>
                      <a:pt x="1765" y="1949"/>
                    </a:lnTo>
                    <a:lnTo>
                      <a:pt x="1763" y="1960"/>
                    </a:lnTo>
                    <a:lnTo>
                      <a:pt x="1759" y="1972"/>
                    </a:lnTo>
                    <a:lnTo>
                      <a:pt x="1753" y="1983"/>
                    </a:lnTo>
                    <a:lnTo>
                      <a:pt x="1746" y="1995"/>
                    </a:lnTo>
                    <a:lnTo>
                      <a:pt x="1740" y="2002"/>
                    </a:lnTo>
                    <a:lnTo>
                      <a:pt x="1709" y="2022"/>
                    </a:lnTo>
                    <a:lnTo>
                      <a:pt x="1695" y="2024"/>
                    </a:lnTo>
                    <a:lnTo>
                      <a:pt x="1676" y="2027"/>
                    </a:lnTo>
                    <a:lnTo>
                      <a:pt x="1539" y="2020"/>
                    </a:lnTo>
                    <a:lnTo>
                      <a:pt x="1410" y="2014"/>
                    </a:lnTo>
                    <a:lnTo>
                      <a:pt x="1289" y="2009"/>
                    </a:lnTo>
                    <a:lnTo>
                      <a:pt x="1176" y="2003"/>
                    </a:lnTo>
                    <a:lnTo>
                      <a:pt x="1070" y="1998"/>
                    </a:lnTo>
                    <a:lnTo>
                      <a:pt x="971" y="1993"/>
                    </a:lnTo>
                    <a:lnTo>
                      <a:pt x="879" y="1989"/>
                    </a:lnTo>
                    <a:lnTo>
                      <a:pt x="793" y="1986"/>
                    </a:lnTo>
                    <a:lnTo>
                      <a:pt x="714" y="1981"/>
                    </a:lnTo>
                    <a:lnTo>
                      <a:pt x="641" y="1978"/>
                    </a:lnTo>
                    <a:lnTo>
                      <a:pt x="574" y="1975"/>
                    </a:lnTo>
                    <a:lnTo>
                      <a:pt x="512" y="1972"/>
                    </a:lnTo>
                    <a:lnTo>
                      <a:pt x="455" y="1969"/>
                    </a:lnTo>
                    <a:lnTo>
                      <a:pt x="404" y="1967"/>
                    </a:lnTo>
                    <a:lnTo>
                      <a:pt x="357" y="1965"/>
                    </a:lnTo>
                    <a:lnTo>
                      <a:pt x="316" y="1962"/>
                    </a:lnTo>
                    <a:lnTo>
                      <a:pt x="279" y="1961"/>
                    </a:lnTo>
                    <a:lnTo>
                      <a:pt x="245" y="1959"/>
                    </a:lnTo>
                    <a:lnTo>
                      <a:pt x="216" y="1958"/>
                    </a:lnTo>
                    <a:lnTo>
                      <a:pt x="191" y="1957"/>
                    </a:lnTo>
                    <a:lnTo>
                      <a:pt x="169" y="1956"/>
                    </a:lnTo>
                    <a:lnTo>
                      <a:pt x="150" y="1955"/>
                    </a:lnTo>
                    <a:lnTo>
                      <a:pt x="133" y="1953"/>
                    </a:lnTo>
                    <a:lnTo>
                      <a:pt x="120" y="1953"/>
                    </a:lnTo>
                    <a:lnTo>
                      <a:pt x="109" y="1952"/>
                    </a:lnTo>
                    <a:lnTo>
                      <a:pt x="100" y="1952"/>
                    </a:lnTo>
                    <a:lnTo>
                      <a:pt x="93" y="1952"/>
                    </a:lnTo>
                    <a:lnTo>
                      <a:pt x="88" y="1951"/>
                    </a:lnTo>
                    <a:lnTo>
                      <a:pt x="84" y="1951"/>
                    </a:lnTo>
                    <a:lnTo>
                      <a:pt x="82" y="1951"/>
                    </a:lnTo>
                    <a:lnTo>
                      <a:pt x="80" y="1951"/>
                    </a:lnTo>
                    <a:lnTo>
                      <a:pt x="80" y="1951"/>
                    </a:lnTo>
                    <a:lnTo>
                      <a:pt x="79" y="1951"/>
                    </a:lnTo>
                    <a:lnTo>
                      <a:pt x="79" y="1951"/>
                    </a:lnTo>
                    <a:lnTo>
                      <a:pt x="68" y="1951"/>
                    </a:lnTo>
                    <a:lnTo>
                      <a:pt x="58" y="1948"/>
                    </a:lnTo>
                    <a:lnTo>
                      <a:pt x="50" y="1943"/>
                    </a:lnTo>
                    <a:lnTo>
                      <a:pt x="40" y="1938"/>
                    </a:lnTo>
                    <a:lnTo>
                      <a:pt x="30" y="1929"/>
                    </a:lnTo>
                    <a:lnTo>
                      <a:pt x="19" y="1920"/>
                    </a:lnTo>
                    <a:lnTo>
                      <a:pt x="14" y="1913"/>
                    </a:lnTo>
                    <a:lnTo>
                      <a:pt x="10" y="1903"/>
                    </a:lnTo>
                    <a:lnTo>
                      <a:pt x="4" y="1893"/>
                    </a:lnTo>
                    <a:lnTo>
                      <a:pt x="3" y="1881"/>
                    </a:lnTo>
                    <a:lnTo>
                      <a:pt x="1" y="1867"/>
                    </a:lnTo>
                    <a:lnTo>
                      <a:pt x="0" y="1855"/>
                    </a:lnTo>
                    <a:lnTo>
                      <a:pt x="3" y="1746"/>
                    </a:lnTo>
                    <a:lnTo>
                      <a:pt x="8" y="1645"/>
                    </a:lnTo>
                    <a:lnTo>
                      <a:pt x="11" y="1553"/>
                    </a:lnTo>
                    <a:lnTo>
                      <a:pt x="13" y="1466"/>
                    </a:lnTo>
                    <a:lnTo>
                      <a:pt x="17" y="1388"/>
                    </a:lnTo>
                    <a:lnTo>
                      <a:pt x="19" y="1316"/>
                    </a:lnTo>
                    <a:lnTo>
                      <a:pt x="21" y="1251"/>
                    </a:lnTo>
                    <a:lnTo>
                      <a:pt x="23" y="1192"/>
                    </a:lnTo>
                    <a:lnTo>
                      <a:pt x="26" y="1140"/>
                    </a:lnTo>
                    <a:lnTo>
                      <a:pt x="27" y="1092"/>
                    </a:lnTo>
                    <a:lnTo>
                      <a:pt x="29" y="1050"/>
                    </a:lnTo>
                    <a:lnTo>
                      <a:pt x="30" y="1012"/>
                    </a:lnTo>
                    <a:lnTo>
                      <a:pt x="31" y="980"/>
                    </a:lnTo>
                    <a:lnTo>
                      <a:pt x="32" y="951"/>
                    </a:lnTo>
                    <a:lnTo>
                      <a:pt x="33" y="928"/>
                    </a:lnTo>
                    <a:lnTo>
                      <a:pt x="33" y="907"/>
                    </a:lnTo>
                    <a:lnTo>
                      <a:pt x="34" y="890"/>
                    </a:lnTo>
                    <a:lnTo>
                      <a:pt x="34" y="876"/>
                    </a:lnTo>
                    <a:lnTo>
                      <a:pt x="36" y="864"/>
                    </a:lnTo>
                    <a:lnTo>
                      <a:pt x="36" y="856"/>
                    </a:lnTo>
                    <a:lnTo>
                      <a:pt x="36" y="849"/>
                    </a:lnTo>
                    <a:lnTo>
                      <a:pt x="36" y="845"/>
                    </a:lnTo>
                    <a:lnTo>
                      <a:pt x="36" y="841"/>
                    </a:lnTo>
                    <a:lnTo>
                      <a:pt x="36" y="839"/>
                    </a:lnTo>
                    <a:lnTo>
                      <a:pt x="36" y="839"/>
                    </a:lnTo>
                    <a:lnTo>
                      <a:pt x="36" y="838"/>
                    </a:lnTo>
                    <a:lnTo>
                      <a:pt x="36" y="838"/>
                    </a:lnTo>
                    <a:lnTo>
                      <a:pt x="37" y="827"/>
                    </a:lnTo>
                    <a:lnTo>
                      <a:pt x="39" y="816"/>
                    </a:lnTo>
                    <a:lnTo>
                      <a:pt x="43" y="803"/>
                    </a:lnTo>
                    <a:lnTo>
                      <a:pt x="48" y="793"/>
                    </a:lnTo>
                    <a:lnTo>
                      <a:pt x="53" y="785"/>
                    </a:lnTo>
                    <a:lnTo>
                      <a:pt x="62" y="773"/>
                    </a:lnTo>
                    <a:lnTo>
                      <a:pt x="71" y="767"/>
                    </a:lnTo>
                    <a:lnTo>
                      <a:pt x="79" y="761"/>
                    </a:lnTo>
                    <a:lnTo>
                      <a:pt x="88" y="759"/>
                    </a:lnTo>
                    <a:lnTo>
                      <a:pt x="99" y="753"/>
                    </a:lnTo>
                    <a:lnTo>
                      <a:pt x="109" y="751"/>
                    </a:lnTo>
                    <a:lnTo>
                      <a:pt x="120" y="749"/>
                    </a:lnTo>
                    <a:close/>
                    <a:moveTo>
                      <a:pt x="1802" y="724"/>
                    </a:moveTo>
                    <a:lnTo>
                      <a:pt x="1804" y="727"/>
                    </a:lnTo>
                    <a:lnTo>
                      <a:pt x="1805" y="729"/>
                    </a:lnTo>
                    <a:lnTo>
                      <a:pt x="1807" y="730"/>
                    </a:lnTo>
                    <a:lnTo>
                      <a:pt x="1810" y="734"/>
                    </a:lnTo>
                    <a:lnTo>
                      <a:pt x="1807" y="730"/>
                    </a:lnTo>
                    <a:lnTo>
                      <a:pt x="1805" y="729"/>
                    </a:lnTo>
                    <a:lnTo>
                      <a:pt x="1804" y="727"/>
                    </a:lnTo>
                    <a:lnTo>
                      <a:pt x="1802" y="724"/>
                    </a:lnTo>
                    <a:close/>
                    <a:moveTo>
                      <a:pt x="1785" y="715"/>
                    </a:moveTo>
                    <a:lnTo>
                      <a:pt x="1792" y="717"/>
                    </a:lnTo>
                    <a:lnTo>
                      <a:pt x="1799" y="721"/>
                    </a:lnTo>
                    <a:lnTo>
                      <a:pt x="1792" y="717"/>
                    </a:lnTo>
                    <a:lnTo>
                      <a:pt x="1785" y="715"/>
                    </a:lnTo>
                    <a:close/>
                    <a:moveTo>
                      <a:pt x="1759" y="702"/>
                    </a:moveTo>
                    <a:lnTo>
                      <a:pt x="1765" y="706"/>
                    </a:lnTo>
                    <a:lnTo>
                      <a:pt x="1770" y="708"/>
                    </a:lnTo>
                    <a:lnTo>
                      <a:pt x="1772" y="708"/>
                    </a:lnTo>
                    <a:lnTo>
                      <a:pt x="1779" y="711"/>
                    </a:lnTo>
                    <a:lnTo>
                      <a:pt x="1772" y="708"/>
                    </a:lnTo>
                    <a:lnTo>
                      <a:pt x="1770" y="708"/>
                    </a:lnTo>
                    <a:lnTo>
                      <a:pt x="1765" y="706"/>
                    </a:lnTo>
                    <a:lnTo>
                      <a:pt x="1759" y="702"/>
                    </a:lnTo>
                    <a:close/>
                    <a:moveTo>
                      <a:pt x="1735" y="700"/>
                    </a:moveTo>
                    <a:lnTo>
                      <a:pt x="1735" y="700"/>
                    </a:lnTo>
                    <a:lnTo>
                      <a:pt x="1741" y="702"/>
                    </a:lnTo>
                    <a:lnTo>
                      <a:pt x="1743" y="702"/>
                    </a:lnTo>
                    <a:lnTo>
                      <a:pt x="1743" y="702"/>
                    </a:lnTo>
                    <a:lnTo>
                      <a:pt x="1741" y="702"/>
                    </a:lnTo>
                    <a:lnTo>
                      <a:pt x="1735" y="700"/>
                    </a:lnTo>
                    <a:close/>
                    <a:moveTo>
                      <a:pt x="1369" y="621"/>
                    </a:moveTo>
                    <a:lnTo>
                      <a:pt x="1368" y="627"/>
                    </a:lnTo>
                    <a:lnTo>
                      <a:pt x="1367" y="631"/>
                    </a:lnTo>
                    <a:lnTo>
                      <a:pt x="1367" y="634"/>
                    </a:lnTo>
                    <a:lnTo>
                      <a:pt x="1366" y="636"/>
                    </a:lnTo>
                    <a:lnTo>
                      <a:pt x="1366" y="637"/>
                    </a:lnTo>
                    <a:lnTo>
                      <a:pt x="1366" y="638"/>
                    </a:lnTo>
                    <a:lnTo>
                      <a:pt x="1366" y="638"/>
                    </a:lnTo>
                    <a:lnTo>
                      <a:pt x="1366" y="638"/>
                    </a:lnTo>
                    <a:lnTo>
                      <a:pt x="1393" y="639"/>
                    </a:lnTo>
                    <a:lnTo>
                      <a:pt x="1414" y="639"/>
                    </a:lnTo>
                    <a:lnTo>
                      <a:pt x="1429" y="639"/>
                    </a:lnTo>
                    <a:lnTo>
                      <a:pt x="1439" y="639"/>
                    </a:lnTo>
                    <a:lnTo>
                      <a:pt x="1445" y="639"/>
                    </a:lnTo>
                    <a:lnTo>
                      <a:pt x="1449" y="639"/>
                    </a:lnTo>
                    <a:lnTo>
                      <a:pt x="1450" y="639"/>
                    </a:lnTo>
                    <a:lnTo>
                      <a:pt x="1450" y="639"/>
                    </a:lnTo>
                    <a:lnTo>
                      <a:pt x="1449" y="634"/>
                    </a:lnTo>
                    <a:lnTo>
                      <a:pt x="1449" y="629"/>
                    </a:lnTo>
                    <a:lnTo>
                      <a:pt x="1448" y="627"/>
                    </a:lnTo>
                    <a:lnTo>
                      <a:pt x="1448" y="625"/>
                    </a:lnTo>
                    <a:lnTo>
                      <a:pt x="1448" y="624"/>
                    </a:lnTo>
                    <a:lnTo>
                      <a:pt x="1448" y="623"/>
                    </a:lnTo>
                    <a:lnTo>
                      <a:pt x="1448" y="623"/>
                    </a:lnTo>
                    <a:lnTo>
                      <a:pt x="1448" y="623"/>
                    </a:lnTo>
                    <a:lnTo>
                      <a:pt x="1422" y="623"/>
                    </a:lnTo>
                    <a:lnTo>
                      <a:pt x="1402" y="621"/>
                    </a:lnTo>
                    <a:lnTo>
                      <a:pt x="1388" y="621"/>
                    </a:lnTo>
                    <a:lnTo>
                      <a:pt x="1379" y="621"/>
                    </a:lnTo>
                    <a:lnTo>
                      <a:pt x="1373" y="621"/>
                    </a:lnTo>
                    <a:lnTo>
                      <a:pt x="1370" y="621"/>
                    </a:lnTo>
                    <a:lnTo>
                      <a:pt x="1369" y="621"/>
                    </a:lnTo>
                    <a:lnTo>
                      <a:pt x="1369" y="621"/>
                    </a:lnTo>
                    <a:close/>
                    <a:moveTo>
                      <a:pt x="1811" y="585"/>
                    </a:moveTo>
                    <a:lnTo>
                      <a:pt x="1812" y="594"/>
                    </a:lnTo>
                    <a:lnTo>
                      <a:pt x="1812" y="595"/>
                    </a:lnTo>
                    <a:lnTo>
                      <a:pt x="1812" y="595"/>
                    </a:lnTo>
                    <a:lnTo>
                      <a:pt x="1812" y="594"/>
                    </a:lnTo>
                    <a:lnTo>
                      <a:pt x="1811" y="585"/>
                    </a:lnTo>
                    <a:close/>
                    <a:moveTo>
                      <a:pt x="1806" y="573"/>
                    </a:moveTo>
                    <a:lnTo>
                      <a:pt x="1811" y="584"/>
                    </a:lnTo>
                    <a:lnTo>
                      <a:pt x="1811" y="585"/>
                    </a:lnTo>
                    <a:lnTo>
                      <a:pt x="1811" y="584"/>
                    </a:lnTo>
                    <a:lnTo>
                      <a:pt x="1806" y="573"/>
                    </a:lnTo>
                    <a:close/>
                    <a:moveTo>
                      <a:pt x="1559" y="569"/>
                    </a:moveTo>
                    <a:lnTo>
                      <a:pt x="1537" y="569"/>
                    </a:lnTo>
                    <a:lnTo>
                      <a:pt x="1520" y="570"/>
                    </a:lnTo>
                    <a:lnTo>
                      <a:pt x="1509" y="570"/>
                    </a:lnTo>
                    <a:lnTo>
                      <a:pt x="1502" y="570"/>
                    </a:lnTo>
                    <a:lnTo>
                      <a:pt x="1499" y="570"/>
                    </a:lnTo>
                    <a:lnTo>
                      <a:pt x="1498" y="570"/>
                    </a:lnTo>
                    <a:lnTo>
                      <a:pt x="1498" y="570"/>
                    </a:lnTo>
                    <a:lnTo>
                      <a:pt x="1497" y="596"/>
                    </a:lnTo>
                    <a:lnTo>
                      <a:pt x="1495" y="615"/>
                    </a:lnTo>
                    <a:lnTo>
                      <a:pt x="1495" y="627"/>
                    </a:lnTo>
                    <a:lnTo>
                      <a:pt x="1495" y="634"/>
                    </a:lnTo>
                    <a:lnTo>
                      <a:pt x="1494" y="638"/>
                    </a:lnTo>
                    <a:lnTo>
                      <a:pt x="1494" y="639"/>
                    </a:lnTo>
                    <a:lnTo>
                      <a:pt x="1494" y="639"/>
                    </a:lnTo>
                    <a:lnTo>
                      <a:pt x="1518" y="641"/>
                    </a:lnTo>
                    <a:lnTo>
                      <a:pt x="1534" y="641"/>
                    </a:lnTo>
                    <a:lnTo>
                      <a:pt x="1545" y="642"/>
                    </a:lnTo>
                    <a:lnTo>
                      <a:pt x="1552" y="642"/>
                    </a:lnTo>
                    <a:lnTo>
                      <a:pt x="1555" y="644"/>
                    </a:lnTo>
                    <a:lnTo>
                      <a:pt x="1557" y="644"/>
                    </a:lnTo>
                    <a:lnTo>
                      <a:pt x="1557" y="644"/>
                    </a:lnTo>
                    <a:lnTo>
                      <a:pt x="1558" y="618"/>
                    </a:lnTo>
                    <a:lnTo>
                      <a:pt x="1558" y="600"/>
                    </a:lnTo>
                    <a:lnTo>
                      <a:pt x="1559" y="587"/>
                    </a:lnTo>
                    <a:lnTo>
                      <a:pt x="1559" y="578"/>
                    </a:lnTo>
                    <a:lnTo>
                      <a:pt x="1559" y="573"/>
                    </a:lnTo>
                    <a:lnTo>
                      <a:pt x="1559" y="570"/>
                    </a:lnTo>
                    <a:lnTo>
                      <a:pt x="1559" y="569"/>
                    </a:lnTo>
                    <a:close/>
                    <a:moveTo>
                      <a:pt x="1614" y="567"/>
                    </a:moveTo>
                    <a:lnTo>
                      <a:pt x="1625" y="581"/>
                    </a:lnTo>
                    <a:lnTo>
                      <a:pt x="1634" y="591"/>
                    </a:lnTo>
                    <a:lnTo>
                      <a:pt x="1640" y="599"/>
                    </a:lnTo>
                    <a:lnTo>
                      <a:pt x="1644" y="604"/>
                    </a:lnTo>
                    <a:lnTo>
                      <a:pt x="1646" y="607"/>
                    </a:lnTo>
                    <a:lnTo>
                      <a:pt x="1648" y="608"/>
                    </a:lnTo>
                    <a:lnTo>
                      <a:pt x="1648" y="609"/>
                    </a:lnTo>
                    <a:lnTo>
                      <a:pt x="1648" y="609"/>
                    </a:lnTo>
                    <a:lnTo>
                      <a:pt x="1635" y="621"/>
                    </a:lnTo>
                    <a:lnTo>
                      <a:pt x="1625" y="630"/>
                    </a:lnTo>
                    <a:lnTo>
                      <a:pt x="1620" y="636"/>
                    </a:lnTo>
                    <a:lnTo>
                      <a:pt x="1615" y="639"/>
                    </a:lnTo>
                    <a:lnTo>
                      <a:pt x="1613" y="641"/>
                    </a:lnTo>
                    <a:lnTo>
                      <a:pt x="1613" y="641"/>
                    </a:lnTo>
                    <a:lnTo>
                      <a:pt x="1613" y="641"/>
                    </a:lnTo>
                    <a:lnTo>
                      <a:pt x="1623" y="640"/>
                    </a:lnTo>
                    <a:lnTo>
                      <a:pt x="1630" y="640"/>
                    </a:lnTo>
                    <a:lnTo>
                      <a:pt x="1633" y="639"/>
                    </a:lnTo>
                    <a:lnTo>
                      <a:pt x="1634" y="639"/>
                    </a:lnTo>
                    <a:lnTo>
                      <a:pt x="1635" y="639"/>
                    </a:lnTo>
                    <a:lnTo>
                      <a:pt x="1645" y="630"/>
                    </a:lnTo>
                    <a:lnTo>
                      <a:pt x="1653" y="625"/>
                    </a:lnTo>
                    <a:lnTo>
                      <a:pt x="1658" y="621"/>
                    </a:lnTo>
                    <a:lnTo>
                      <a:pt x="1660" y="619"/>
                    </a:lnTo>
                    <a:lnTo>
                      <a:pt x="1660" y="619"/>
                    </a:lnTo>
                    <a:lnTo>
                      <a:pt x="1660" y="619"/>
                    </a:lnTo>
                    <a:lnTo>
                      <a:pt x="1663" y="623"/>
                    </a:lnTo>
                    <a:lnTo>
                      <a:pt x="1664" y="626"/>
                    </a:lnTo>
                    <a:lnTo>
                      <a:pt x="1666" y="627"/>
                    </a:lnTo>
                    <a:lnTo>
                      <a:pt x="1666" y="628"/>
                    </a:lnTo>
                    <a:lnTo>
                      <a:pt x="1668" y="629"/>
                    </a:lnTo>
                    <a:lnTo>
                      <a:pt x="1668" y="629"/>
                    </a:lnTo>
                    <a:lnTo>
                      <a:pt x="1668" y="629"/>
                    </a:lnTo>
                    <a:lnTo>
                      <a:pt x="1671" y="634"/>
                    </a:lnTo>
                    <a:lnTo>
                      <a:pt x="1674" y="638"/>
                    </a:lnTo>
                    <a:lnTo>
                      <a:pt x="1676" y="640"/>
                    </a:lnTo>
                    <a:lnTo>
                      <a:pt x="1678" y="642"/>
                    </a:lnTo>
                    <a:lnTo>
                      <a:pt x="1679" y="644"/>
                    </a:lnTo>
                    <a:lnTo>
                      <a:pt x="1680" y="645"/>
                    </a:lnTo>
                    <a:lnTo>
                      <a:pt x="1680" y="645"/>
                    </a:lnTo>
                    <a:lnTo>
                      <a:pt x="1680" y="645"/>
                    </a:lnTo>
                    <a:lnTo>
                      <a:pt x="1680" y="645"/>
                    </a:lnTo>
                    <a:lnTo>
                      <a:pt x="1691" y="644"/>
                    </a:lnTo>
                    <a:lnTo>
                      <a:pt x="1698" y="642"/>
                    </a:lnTo>
                    <a:lnTo>
                      <a:pt x="1701" y="642"/>
                    </a:lnTo>
                    <a:lnTo>
                      <a:pt x="1702" y="642"/>
                    </a:lnTo>
                    <a:lnTo>
                      <a:pt x="1702" y="642"/>
                    </a:lnTo>
                    <a:lnTo>
                      <a:pt x="1691" y="629"/>
                    </a:lnTo>
                    <a:lnTo>
                      <a:pt x="1682" y="619"/>
                    </a:lnTo>
                    <a:lnTo>
                      <a:pt x="1676" y="613"/>
                    </a:lnTo>
                    <a:lnTo>
                      <a:pt x="1672" y="609"/>
                    </a:lnTo>
                    <a:lnTo>
                      <a:pt x="1671" y="607"/>
                    </a:lnTo>
                    <a:lnTo>
                      <a:pt x="1670" y="606"/>
                    </a:lnTo>
                    <a:lnTo>
                      <a:pt x="1670" y="606"/>
                    </a:lnTo>
                    <a:lnTo>
                      <a:pt x="1683" y="594"/>
                    </a:lnTo>
                    <a:lnTo>
                      <a:pt x="1692" y="586"/>
                    </a:lnTo>
                    <a:lnTo>
                      <a:pt x="1699" y="579"/>
                    </a:lnTo>
                    <a:lnTo>
                      <a:pt x="1702" y="576"/>
                    </a:lnTo>
                    <a:lnTo>
                      <a:pt x="1704" y="574"/>
                    </a:lnTo>
                    <a:lnTo>
                      <a:pt x="1705" y="574"/>
                    </a:lnTo>
                    <a:lnTo>
                      <a:pt x="1705" y="574"/>
                    </a:lnTo>
                    <a:lnTo>
                      <a:pt x="1694" y="573"/>
                    </a:lnTo>
                    <a:lnTo>
                      <a:pt x="1688" y="571"/>
                    </a:lnTo>
                    <a:lnTo>
                      <a:pt x="1684" y="570"/>
                    </a:lnTo>
                    <a:lnTo>
                      <a:pt x="1682" y="570"/>
                    </a:lnTo>
                    <a:lnTo>
                      <a:pt x="1682" y="570"/>
                    </a:lnTo>
                    <a:lnTo>
                      <a:pt x="1672" y="581"/>
                    </a:lnTo>
                    <a:lnTo>
                      <a:pt x="1665" y="589"/>
                    </a:lnTo>
                    <a:lnTo>
                      <a:pt x="1661" y="594"/>
                    </a:lnTo>
                    <a:lnTo>
                      <a:pt x="1659" y="596"/>
                    </a:lnTo>
                    <a:lnTo>
                      <a:pt x="1658" y="596"/>
                    </a:lnTo>
                    <a:lnTo>
                      <a:pt x="1658" y="596"/>
                    </a:lnTo>
                    <a:lnTo>
                      <a:pt x="1649" y="586"/>
                    </a:lnTo>
                    <a:lnTo>
                      <a:pt x="1643" y="578"/>
                    </a:lnTo>
                    <a:lnTo>
                      <a:pt x="1640" y="574"/>
                    </a:lnTo>
                    <a:lnTo>
                      <a:pt x="1639" y="571"/>
                    </a:lnTo>
                    <a:lnTo>
                      <a:pt x="1638" y="570"/>
                    </a:lnTo>
                    <a:lnTo>
                      <a:pt x="1638" y="570"/>
                    </a:lnTo>
                    <a:lnTo>
                      <a:pt x="1626" y="569"/>
                    </a:lnTo>
                    <a:lnTo>
                      <a:pt x="1620" y="568"/>
                    </a:lnTo>
                    <a:lnTo>
                      <a:pt x="1616" y="568"/>
                    </a:lnTo>
                    <a:lnTo>
                      <a:pt x="1615" y="567"/>
                    </a:lnTo>
                    <a:lnTo>
                      <a:pt x="1614" y="567"/>
                    </a:lnTo>
                    <a:close/>
                    <a:moveTo>
                      <a:pt x="1803" y="558"/>
                    </a:moveTo>
                    <a:lnTo>
                      <a:pt x="1803" y="559"/>
                    </a:lnTo>
                    <a:lnTo>
                      <a:pt x="1806" y="573"/>
                    </a:lnTo>
                    <a:lnTo>
                      <a:pt x="1803" y="559"/>
                    </a:lnTo>
                    <a:lnTo>
                      <a:pt x="1803" y="558"/>
                    </a:lnTo>
                    <a:lnTo>
                      <a:pt x="1803" y="558"/>
                    </a:lnTo>
                    <a:close/>
                    <a:moveTo>
                      <a:pt x="44" y="555"/>
                    </a:moveTo>
                    <a:lnTo>
                      <a:pt x="42" y="568"/>
                    </a:lnTo>
                    <a:lnTo>
                      <a:pt x="39" y="580"/>
                    </a:lnTo>
                    <a:lnTo>
                      <a:pt x="42" y="568"/>
                    </a:lnTo>
                    <a:lnTo>
                      <a:pt x="44" y="555"/>
                    </a:lnTo>
                    <a:close/>
                    <a:moveTo>
                      <a:pt x="1972" y="530"/>
                    </a:moveTo>
                    <a:lnTo>
                      <a:pt x="1982" y="533"/>
                    </a:lnTo>
                    <a:lnTo>
                      <a:pt x="1992" y="534"/>
                    </a:lnTo>
                    <a:lnTo>
                      <a:pt x="2001" y="537"/>
                    </a:lnTo>
                    <a:lnTo>
                      <a:pt x="2007" y="543"/>
                    </a:lnTo>
                    <a:lnTo>
                      <a:pt x="2019" y="547"/>
                    </a:lnTo>
                    <a:lnTo>
                      <a:pt x="2029" y="553"/>
                    </a:lnTo>
                    <a:lnTo>
                      <a:pt x="2038" y="561"/>
                    </a:lnTo>
                    <a:lnTo>
                      <a:pt x="2059" y="593"/>
                    </a:lnTo>
                    <a:lnTo>
                      <a:pt x="2061" y="604"/>
                    </a:lnTo>
                    <a:lnTo>
                      <a:pt x="2062" y="616"/>
                    </a:lnTo>
                    <a:lnTo>
                      <a:pt x="2064" y="630"/>
                    </a:lnTo>
                    <a:lnTo>
                      <a:pt x="2061" y="740"/>
                    </a:lnTo>
                    <a:lnTo>
                      <a:pt x="2056" y="842"/>
                    </a:lnTo>
                    <a:lnTo>
                      <a:pt x="2053" y="937"/>
                    </a:lnTo>
                    <a:lnTo>
                      <a:pt x="2049" y="1023"/>
                    </a:lnTo>
                    <a:lnTo>
                      <a:pt x="2047" y="1103"/>
                    </a:lnTo>
                    <a:lnTo>
                      <a:pt x="2044" y="1178"/>
                    </a:lnTo>
                    <a:lnTo>
                      <a:pt x="2042" y="1244"/>
                    </a:lnTo>
                    <a:lnTo>
                      <a:pt x="2039" y="1305"/>
                    </a:lnTo>
                    <a:lnTo>
                      <a:pt x="2038" y="1361"/>
                    </a:lnTo>
                    <a:lnTo>
                      <a:pt x="2036" y="1410"/>
                    </a:lnTo>
                    <a:lnTo>
                      <a:pt x="2035" y="1454"/>
                    </a:lnTo>
                    <a:lnTo>
                      <a:pt x="2033" y="1494"/>
                    </a:lnTo>
                    <a:lnTo>
                      <a:pt x="2032" y="1528"/>
                    </a:lnTo>
                    <a:lnTo>
                      <a:pt x="2031" y="1559"/>
                    </a:lnTo>
                    <a:lnTo>
                      <a:pt x="2029" y="1586"/>
                    </a:lnTo>
                    <a:lnTo>
                      <a:pt x="2029" y="1608"/>
                    </a:lnTo>
                    <a:lnTo>
                      <a:pt x="2028" y="1627"/>
                    </a:lnTo>
                    <a:lnTo>
                      <a:pt x="2028" y="1644"/>
                    </a:lnTo>
                    <a:lnTo>
                      <a:pt x="2027" y="1657"/>
                    </a:lnTo>
                    <a:lnTo>
                      <a:pt x="2027" y="1667"/>
                    </a:lnTo>
                    <a:lnTo>
                      <a:pt x="2027" y="1675"/>
                    </a:lnTo>
                    <a:lnTo>
                      <a:pt x="2026" y="1681"/>
                    </a:lnTo>
                    <a:lnTo>
                      <a:pt x="2026" y="1686"/>
                    </a:lnTo>
                    <a:lnTo>
                      <a:pt x="2026" y="1689"/>
                    </a:lnTo>
                    <a:lnTo>
                      <a:pt x="2026" y="1690"/>
                    </a:lnTo>
                    <a:lnTo>
                      <a:pt x="2026" y="1691"/>
                    </a:lnTo>
                    <a:lnTo>
                      <a:pt x="2026" y="1691"/>
                    </a:lnTo>
                    <a:lnTo>
                      <a:pt x="2026" y="1691"/>
                    </a:lnTo>
                    <a:lnTo>
                      <a:pt x="2026" y="1707"/>
                    </a:lnTo>
                    <a:lnTo>
                      <a:pt x="2024" y="1720"/>
                    </a:lnTo>
                    <a:lnTo>
                      <a:pt x="2019" y="1731"/>
                    </a:lnTo>
                    <a:lnTo>
                      <a:pt x="2014" y="1743"/>
                    </a:lnTo>
                    <a:lnTo>
                      <a:pt x="2006" y="1750"/>
                    </a:lnTo>
                    <a:lnTo>
                      <a:pt x="2001" y="1757"/>
                    </a:lnTo>
                    <a:lnTo>
                      <a:pt x="1991" y="1767"/>
                    </a:lnTo>
                    <a:lnTo>
                      <a:pt x="1980" y="1774"/>
                    </a:lnTo>
                    <a:lnTo>
                      <a:pt x="1968" y="1777"/>
                    </a:lnTo>
                    <a:lnTo>
                      <a:pt x="1957" y="1782"/>
                    </a:lnTo>
                    <a:lnTo>
                      <a:pt x="1943" y="1786"/>
                    </a:lnTo>
                    <a:lnTo>
                      <a:pt x="1931" y="1788"/>
                    </a:lnTo>
                    <a:lnTo>
                      <a:pt x="1903" y="1786"/>
                    </a:lnTo>
                    <a:lnTo>
                      <a:pt x="1882" y="1785"/>
                    </a:lnTo>
                    <a:lnTo>
                      <a:pt x="1866" y="1784"/>
                    </a:lnTo>
                    <a:lnTo>
                      <a:pt x="1855" y="1784"/>
                    </a:lnTo>
                    <a:lnTo>
                      <a:pt x="1847" y="1782"/>
                    </a:lnTo>
                    <a:lnTo>
                      <a:pt x="1843" y="1782"/>
                    </a:lnTo>
                    <a:lnTo>
                      <a:pt x="1841" y="1782"/>
                    </a:lnTo>
                    <a:lnTo>
                      <a:pt x="1840" y="1782"/>
                    </a:lnTo>
                    <a:lnTo>
                      <a:pt x="1840" y="1782"/>
                    </a:lnTo>
                    <a:lnTo>
                      <a:pt x="1840" y="1754"/>
                    </a:lnTo>
                    <a:lnTo>
                      <a:pt x="1839" y="1733"/>
                    </a:lnTo>
                    <a:lnTo>
                      <a:pt x="1839" y="1716"/>
                    </a:lnTo>
                    <a:lnTo>
                      <a:pt x="1839" y="1704"/>
                    </a:lnTo>
                    <a:lnTo>
                      <a:pt x="1839" y="1696"/>
                    </a:lnTo>
                    <a:lnTo>
                      <a:pt x="1839" y="1690"/>
                    </a:lnTo>
                    <a:lnTo>
                      <a:pt x="1839" y="1688"/>
                    </a:lnTo>
                    <a:lnTo>
                      <a:pt x="1839" y="1687"/>
                    </a:lnTo>
                    <a:lnTo>
                      <a:pt x="1839" y="1687"/>
                    </a:lnTo>
                    <a:lnTo>
                      <a:pt x="1867" y="1689"/>
                    </a:lnTo>
                    <a:lnTo>
                      <a:pt x="1890" y="1690"/>
                    </a:lnTo>
                    <a:lnTo>
                      <a:pt x="1907" y="1690"/>
                    </a:lnTo>
                    <a:lnTo>
                      <a:pt x="1918" y="1691"/>
                    </a:lnTo>
                    <a:lnTo>
                      <a:pt x="1927" y="1691"/>
                    </a:lnTo>
                    <a:lnTo>
                      <a:pt x="1932" y="1691"/>
                    </a:lnTo>
                    <a:lnTo>
                      <a:pt x="1934" y="1691"/>
                    </a:lnTo>
                    <a:lnTo>
                      <a:pt x="1935" y="1693"/>
                    </a:lnTo>
                    <a:lnTo>
                      <a:pt x="1935" y="1693"/>
                    </a:lnTo>
                    <a:lnTo>
                      <a:pt x="1940" y="1582"/>
                    </a:lnTo>
                    <a:lnTo>
                      <a:pt x="1943" y="1479"/>
                    </a:lnTo>
                    <a:lnTo>
                      <a:pt x="1946" y="1385"/>
                    </a:lnTo>
                    <a:lnTo>
                      <a:pt x="1950" y="1297"/>
                    </a:lnTo>
                    <a:lnTo>
                      <a:pt x="1952" y="1216"/>
                    </a:lnTo>
                    <a:lnTo>
                      <a:pt x="1955" y="1143"/>
                    </a:lnTo>
                    <a:lnTo>
                      <a:pt x="1957" y="1075"/>
                    </a:lnTo>
                    <a:lnTo>
                      <a:pt x="1960" y="1014"/>
                    </a:lnTo>
                    <a:lnTo>
                      <a:pt x="1961" y="959"/>
                    </a:lnTo>
                    <a:lnTo>
                      <a:pt x="1963" y="909"/>
                    </a:lnTo>
                    <a:lnTo>
                      <a:pt x="1964" y="863"/>
                    </a:lnTo>
                    <a:lnTo>
                      <a:pt x="1966" y="825"/>
                    </a:lnTo>
                    <a:lnTo>
                      <a:pt x="1967" y="789"/>
                    </a:lnTo>
                    <a:lnTo>
                      <a:pt x="1968" y="759"/>
                    </a:lnTo>
                    <a:lnTo>
                      <a:pt x="1970" y="732"/>
                    </a:lnTo>
                    <a:lnTo>
                      <a:pt x="1970" y="709"/>
                    </a:lnTo>
                    <a:lnTo>
                      <a:pt x="1971" y="690"/>
                    </a:lnTo>
                    <a:lnTo>
                      <a:pt x="1971" y="674"/>
                    </a:lnTo>
                    <a:lnTo>
                      <a:pt x="1972" y="660"/>
                    </a:lnTo>
                    <a:lnTo>
                      <a:pt x="1972" y="650"/>
                    </a:lnTo>
                    <a:lnTo>
                      <a:pt x="1972" y="641"/>
                    </a:lnTo>
                    <a:lnTo>
                      <a:pt x="1973" y="636"/>
                    </a:lnTo>
                    <a:lnTo>
                      <a:pt x="1973" y="631"/>
                    </a:lnTo>
                    <a:lnTo>
                      <a:pt x="1973" y="628"/>
                    </a:lnTo>
                    <a:lnTo>
                      <a:pt x="1973" y="627"/>
                    </a:lnTo>
                    <a:lnTo>
                      <a:pt x="1973" y="626"/>
                    </a:lnTo>
                    <a:lnTo>
                      <a:pt x="1973" y="625"/>
                    </a:lnTo>
                    <a:lnTo>
                      <a:pt x="1973" y="625"/>
                    </a:lnTo>
                    <a:lnTo>
                      <a:pt x="1944" y="626"/>
                    </a:lnTo>
                    <a:lnTo>
                      <a:pt x="1922" y="626"/>
                    </a:lnTo>
                    <a:lnTo>
                      <a:pt x="1905" y="626"/>
                    </a:lnTo>
                    <a:lnTo>
                      <a:pt x="1893" y="626"/>
                    </a:lnTo>
                    <a:lnTo>
                      <a:pt x="1885" y="626"/>
                    </a:lnTo>
                    <a:lnTo>
                      <a:pt x="1881" y="626"/>
                    </a:lnTo>
                    <a:lnTo>
                      <a:pt x="1877" y="626"/>
                    </a:lnTo>
                    <a:lnTo>
                      <a:pt x="1876" y="626"/>
                    </a:lnTo>
                    <a:lnTo>
                      <a:pt x="1876" y="626"/>
                    </a:lnTo>
                    <a:lnTo>
                      <a:pt x="1876" y="621"/>
                    </a:lnTo>
                    <a:lnTo>
                      <a:pt x="1875" y="618"/>
                    </a:lnTo>
                    <a:lnTo>
                      <a:pt x="1875" y="616"/>
                    </a:lnTo>
                    <a:lnTo>
                      <a:pt x="1875" y="615"/>
                    </a:lnTo>
                    <a:lnTo>
                      <a:pt x="1875" y="615"/>
                    </a:lnTo>
                    <a:lnTo>
                      <a:pt x="1875" y="615"/>
                    </a:lnTo>
                    <a:lnTo>
                      <a:pt x="1878" y="605"/>
                    </a:lnTo>
                    <a:lnTo>
                      <a:pt x="1878" y="598"/>
                    </a:lnTo>
                    <a:lnTo>
                      <a:pt x="1878" y="593"/>
                    </a:lnTo>
                    <a:lnTo>
                      <a:pt x="1877" y="583"/>
                    </a:lnTo>
                    <a:lnTo>
                      <a:pt x="1876" y="576"/>
                    </a:lnTo>
                    <a:lnTo>
                      <a:pt x="1875" y="570"/>
                    </a:lnTo>
                    <a:lnTo>
                      <a:pt x="1871" y="564"/>
                    </a:lnTo>
                    <a:lnTo>
                      <a:pt x="1868" y="556"/>
                    </a:lnTo>
                    <a:lnTo>
                      <a:pt x="1867" y="549"/>
                    </a:lnTo>
                    <a:lnTo>
                      <a:pt x="1866" y="546"/>
                    </a:lnTo>
                    <a:lnTo>
                      <a:pt x="1864" y="543"/>
                    </a:lnTo>
                    <a:lnTo>
                      <a:pt x="1862" y="539"/>
                    </a:lnTo>
                    <a:lnTo>
                      <a:pt x="1861" y="536"/>
                    </a:lnTo>
                    <a:lnTo>
                      <a:pt x="1860" y="533"/>
                    </a:lnTo>
                    <a:lnTo>
                      <a:pt x="1972" y="530"/>
                    </a:lnTo>
                    <a:close/>
                    <a:moveTo>
                      <a:pt x="57" y="528"/>
                    </a:moveTo>
                    <a:lnTo>
                      <a:pt x="53" y="531"/>
                    </a:lnTo>
                    <a:lnTo>
                      <a:pt x="48" y="543"/>
                    </a:lnTo>
                    <a:lnTo>
                      <a:pt x="53" y="531"/>
                    </a:lnTo>
                    <a:lnTo>
                      <a:pt x="57" y="528"/>
                    </a:lnTo>
                    <a:close/>
                    <a:moveTo>
                      <a:pt x="69" y="516"/>
                    </a:moveTo>
                    <a:lnTo>
                      <a:pt x="62" y="523"/>
                    </a:lnTo>
                    <a:lnTo>
                      <a:pt x="57" y="528"/>
                    </a:lnTo>
                    <a:lnTo>
                      <a:pt x="62" y="523"/>
                    </a:lnTo>
                    <a:lnTo>
                      <a:pt x="69" y="516"/>
                    </a:lnTo>
                    <a:close/>
                    <a:moveTo>
                      <a:pt x="1729" y="512"/>
                    </a:moveTo>
                    <a:lnTo>
                      <a:pt x="1740" y="512"/>
                    </a:lnTo>
                    <a:lnTo>
                      <a:pt x="1751" y="515"/>
                    </a:lnTo>
                    <a:lnTo>
                      <a:pt x="1740" y="512"/>
                    </a:lnTo>
                    <a:lnTo>
                      <a:pt x="1729" y="512"/>
                    </a:lnTo>
                    <a:close/>
                    <a:moveTo>
                      <a:pt x="87" y="500"/>
                    </a:moveTo>
                    <a:lnTo>
                      <a:pt x="87" y="500"/>
                    </a:lnTo>
                    <a:lnTo>
                      <a:pt x="80" y="504"/>
                    </a:lnTo>
                    <a:lnTo>
                      <a:pt x="87" y="500"/>
                    </a:lnTo>
                    <a:close/>
                    <a:moveTo>
                      <a:pt x="135" y="484"/>
                    </a:moveTo>
                    <a:lnTo>
                      <a:pt x="137" y="484"/>
                    </a:lnTo>
                    <a:lnTo>
                      <a:pt x="1725" y="508"/>
                    </a:lnTo>
                    <a:lnTo>
                      <a:pt x="1736" y="508"/>
                    </a:lnTo>
                    <a:lnTo>
                      <a:pt x="1747" y="512"/>
                    </a:lnTo>
                    <a:lnTo>
                      <a:pt x="1760" y="515"/>
                    </a:lnTo>
                    <a:lnTo>
                      <a:pt x="1770" y="521"/>
                    </a:lnTo>
                    <a:lnTo>
                      <a:pt x="1780" y="530"/>
                    </a:lnTo>
                    <a:lnTo>
                      <a:pt x="1791" y="540"/>
                    </a:lnTo>
                    <a:lnTo>
                      <a:pt x="1796" y="547"/>
                    </a:lnTo>
                    <a:lnTo>
                      <a:pt x="1802" y="557"/>
                    </a:lnTo>
                    <a:lnTo>
                      <a:pt x="1803" y="558"/>
                    </a:lnTo>
                    <a:lnTo>
                      <a:pt x="1800" y="551"/>
                    </a:lnTo>
                    <a:lnTo>
                      <a:pt x="1797" y="548"/>
                    </a:lnTo>
                    <a:lnTo>
                      <a:pt x="1792" y="541"/>
                    </a:lnTo>
                    <a:lnTo>
                      <a:pt x="1781" y="533"/>
                    </a:lnTo>
                    <a:lnTo>
                      <a:pt x="1776" y="528"/>
                    </a:lnTo>
                    <a:lnTo>
                      <a:pt x="1772" y="524"/>
                    </a:lnTo>
                    <a:lnTo>
                      <a:pt x="1762" y="518"/>
                    </a:lnTo>
                    <a:lnTo>
                      <a:pt x="1772" y="524"/>
                    </a:lnTo>
                    <a:lnTo>
                      <a:pt x="1776" y="528"/>
                    </a:lnTo>
                    <a:lnTo>
                      <a:pt x="1781" y="533"/>
                    </a:lnTo>
                    <a:lnTo>
                      <a:pt x="1792" y="541"/>
                    </a:lnTo>
                    <a:lnTo>
                      <a:pt x="1797" y="548"/>
                    </a:lnTo>
                    <a:lnTo>
                      <a:pt x="1800" y="551"/>
                    </a:lnTo>
                    <a:lnTo>
                      <a:pt x="1803" y="558"/>
                    </a:lnTo>
                    <a:lnTo>
                      <a:pt x="1806" y="573"/>
                    </a:lnTo>
                    <a:lnTo>
                      <a:pt x="1811" y="583"/>
                    </a:lnTo>
                    <a:lnTo>
                      <a:pt x="1812" y="595"/>
                    </a:lnTo>
                    <a:lnTo>
                      <a:pt x="1810" y="605"/>
                    </a:lnTo>
                    <a:lnTo>
                      <a:pt x="1812" y="595"/>
                    </a:lnTo>
                    <a:lnTo>
                      <a:pt x="1812" y="595"/>
                    </a:lnTo>
                    <a:lnTo>
                      <a:pt x="1810" y="606"/>
                    </a:lnTo>
                    <a:lnTo>
                      <a:pt x="1810" y="641"/>
                    </a:lnTo>
                    <a:lnTo>
                      <a:pt x="1810" y="670"/>
                    </a:lnTo>
                    <a:lnTo>
                      <a:pt x="1810" y="692"/>
                    </a:lnTo>
                    <a:lnTo>
                      <a:pt x="1810" y="709"/>
                    </a:lnTo>
                    <a:lnTo>
                      <a:pt x="1810" y="721"/>
                    </a:lnTo>
                    <a:lnTo>
                      <a:pt x="1810" y="729"/>
                    </a:lnTo>
                    <a:lnTo>
                      <a:pt x="1810" y="734"/>
                    </a:lnTo>
                    <a:lnTo>
                      <a:pt x="1810" y="734"/>
                    </a:lnTo>
                    <a:lnTo>
                      <a:pt x="1810" y="736"/>
                    </a:lnTo>
                    <a:lnTo>
                      <a:pt x="1810" y="737"/>
                    </a:lnTo>
                    <a:lnTo>
                      <a:pt x="1810" y="737"/>
                    </a:lnTo>
                    <a:lnTo>
                      <a:pt x="1806" y="735"/>
                    </a:lnTo>
                    <a:lnTo>
                      <a:pt x="1804" y="731"/>
                    </a:lnTo>
                    <a:lnTo>
                      <a:pt x="1802" y="728"/>
                    </a:lnTo>
                    <a:lnTo>
                      <a:pt x="1800" y="725"/>
                    </a:lnTo>
                    <a:lnTo>
                      <a:pt x="1796" y="721"/>
                    </a:lnTo>
                    <a:lnTo>
                      <a:pt x="1791" y="718"/>
                    </a:lnTo>
                    <a:lnTo>
                      <a:pt x="1784" y="716"/>
                    </a:lnTo>
                    <a:lnTo>
                      <a:pt x="1779" y="712"/>
                    </a:lnTo>
                    <a:lnTo>
                      <a:pt x="1772" y="709"/>
                    </a:lnTo>
                    <a:lnTo>
                      <a:pt x="1766" y="707"/>
                    </a:lnTo>
                    <a:lnTo>
                      <a:pt x="1761" y="704"/>
                    </a:lnTo>
                    <a:lnTo>
                      <a:pt x="1753" y="705"/>
                    </a:lnTo>
                    <a:lnTo>
                      <a:pt x="1745" y="704"/>
                    </a:lnTo>
                    <a:lnTo>
                      <a:pt x="1743" y="702"/>
                    </a:lnTo>
                    <a:lnTo>
                      <a:pt x="1751" y="704"/>
                    </a:lnTo>
                    <a:lnTo>
                      <a:pt x="1743" y="702"/>
                    </a:lnTo>
                    <a:lnTo>
                      <a:pt x="1737" y="700"/>
                    </a:lnTo>
                    <a:lnTo>
                      <a:pt x="1735" y="700"/>
                    </a:lnTo>
                    <a:lnTo>
                      <a:pt x="1733" y="699"/>
                    </a:lnTo>
                    <a:lnTo>
                      <a:pt x="1735" y="700"/>
                    </a:lnTo>
                    <a:lnTo>
                      <a:pt x="1598" y="698"/>
                    </a:lnTo>
                    <a:lnTo>
                      <a:pt x="1465" y="696"/>
                    </a:lnTo>
                    <a:lnTo>
                      <a:pt x="1342" y="694"/>
                    </a:lnTo>
                    <a:lnTo>
                      <a:pt x="1226" y="691"/>
                    </a:lnTo>
                    <a:lnTo>
                      <a:pt x="1117" y="689"/>
                    </a:lnTo>
                    <a:lnTo>
                      <a:pt x="1016" y="687"/>
                    </a:lnTo>
                    <a:lnTo>
                      <a:pt x="921" y="686"/>
                    </a:lnTo>
                    <a:lnTo>
                      <a:pt x="834" y="684"/>
                    </a:lnTo>
                    <a:lnTo>
                      <a:pt x="753" y="682"/>
                    </a:lnTo>
                    <a:lnTo>
                      <a:pt x="677" y="680"/>
                    </a:lnTo>
                    <a:lnTo>
                      <a:pt x="608" y="679"/>
                    </a:lnTo>
                    <a:lnTo>
                      <a:pt x="545" y="678"/>
                    </a:lnTo>
                    <a:lnTo>
                      <a:pt x="488" y="677"/>
                    </a:lnTo>
                    <a:lnTo>
                      <a:pt x="435" y="676"/>
                    </a:lnTo>
                    <a:lnTo>
                      <a:pt x="389" y="676"/>
                    </a:lnTo>
                    <a:lnTo>
                      <a:pt x="345" y="675"/>
                    </a:lnTo>
                    <a:lnTo>
                      <a:pt x="308" y="674"/>
                    </a:lnTo>
                    <a:lnTo>
                      <a:pt x="273" y="674"/>
                    </a:lnTo>
                    <a:lnTo>
                      <a:pt x="243" y="672"/>
                    </a:lnTo>
                    <a:lnTo>
                      <a:pt x="216" y="672"/>
                    </a:lnTo>
                    <a:lnTo>
                      <a:pt x="194" y="671"/>
                    </a:lnTo>
                    <a:lnTo>
                      <a:pt x="174" y="671"/>
                    </a:lnTo>
                    <a:lnTo>
                      <a:pt x="158" y="671"/>
                    </a:lnTo>
                    <a:lnTo>
                      <a:pt x="144" y="670"/>
                    </a:lnTo>
                    <a:lnTo>
                      <a:pt x="133" y="670"/>
                    </a:lnTo>
                    <a:lnTo>
                      <a:pt x="124" y="670"/>
                    </a:lnTo>
                    <a:lnTo>
                      <a:pt x="117" y="670"/>
                    </a:lnTo>
                    <a:lnTo>
                      <a:pt x="112" y="670"/>
                    </a:lnTo>
                    <a:lnTo>
                      <a:pt x="108" y="670"/>
                    </a:lnTo>
                    <a:lnTo>
                      <a:pt x="105" y="670"/>
                    </a:lnTo>
                    <a:lnTo>
                      <a:pt x="104" y="670"/>
                    </a:lnTo>
                    <a:lnTo>
                      <a:pt x="103" y="670"/>
                    </a:lnTo>
                    <a:lnTo>
                      <a:pt x="103" y="670"/>
                    </a:lnTo>
                    <a:lnTo>
                      <a:pt x="103" y="670"/>
                    </a:lnTo>
                    <a:lnTo>
                      <a:pt x="87" y="672"/>
                    </a:lnTo>
                    <a:lnTo>
                      <a:pt x="70" y="674"/>
                    </a:lnTo>
                    <a:lnTo>
                      <a:pt x="67" y="677"/>
                    </a:lnTo>
                    <a:lnTo>
                      <a:pt x="63" y="679"/>
                    </a:lnTo>
                    <a:lnTo>
                      <a:pt x="60" y="680"/>
                    </a:lnTo>
                    <a:lnTo>
                      <a:pt x="57" y="681"/>
                    </a:lnTo>
                    <a:lnTo>
                      <a:pt x="53" y="681"/>
                    </a:lnTo>
                    <a:lnTo>
                      <a:pt x="53" y="685"/>
                    </a:lnTo>
                    <a:lnTo>
                      <a:pt x="52" y="686"/>
                    </a:lnTo>
                    <a:lnTo>
                      <a:pt x="51" y="688"/>
                    </a:lnTo>
                    <a:lnTo>
                      <a:pt x="49" y="689"/>
                    </a:lnTo>
                    <a:lnTo>
                      <a:pt x="47" y="691"/>
                    </a:lnTo>
                    <a:lnTo>
                      <a:pt x="44" y="695"/>
                    </a:lnTo>
                    <a:lnTo>
                      <a:pt x="44" y="661"/>
                    </a:lnTo>
                    <a:lnTo>
                      <a:pt x="46" y="636"/>
                    </a:lnTo>
                    <a:lnTo>
                      <a:pt x="46" y="616"/>
                    </a:lnTo>
                    <a:lnTo>
                      <a:pt x="46" y="600"/>
                    </a:lnTo>
                    <a:lnTo>
                      <a:pt x="46" y="589"/>
                    </a:lnTo>
                    <a:lnTo>
                      <a:pt x="46" y="583"/>
                    </a:lnTo>
                    <a:lnTo>
                      <a:pt x="46" y="578"/>
                    </a:lnTo>
                    <a:lnTo>
                      <a:pt x="46" y="575"/>
                    </a:lnTo>
                    <a:lnTo>
                      <a:pt x="46" y="575"/>
                    </a:lnTo>
                    <a:lnTo>
                      <a:pt x="46" y="575"/>
                    </a:lnTo>
                    <a:lnTo>
                      <a:pt x="49" y="563"/>
                    </a:lnTo>
                    <a:lnTo>
                      <a:pt x="50" y="551"/>
                    </a:lnTo>
                    <a:lnTo>
                      <a:pt x="53" y="539"/>
                    </a:lnTo>
                    <a:lnTo>
                      <a:pt x="59" y="529"/>
                    </a:lnTo>
                    <a:lnTo>
                      <a:pt x="66" y="520"/>
                    </a:lnTo>
                    <a:lnTo>
                      <a:pt x="72" y="514"/>
                    </a:lnTo>
                    <a:lnTo>
                      <a:pt x="82" y="504"/>
                    </a:lnTo>
                    <a:lnTo>
                      <a:pt x="87" y="500"/>
                    </a:lnTo>
                    <a:lnTo>
                      <a:pt x="92" y="497"/>
                    </a:lnTo>
                    <a:lnTo>
                      <a:pt x="104" y="494"/>
                    </a:lnTo>
                    <a:lnTo>
                      <a:pt x="115" y="487"/>
                    </a:lnTo>
                    <a:lnTo>
                      <a:pt x="128" y="485"/>
                    </a:lnTo>
                    <a:lnTo>
                      <a:pt x="115" y="487"/>
                    </a:lnTo>
                    <a:lnTo>
                      <a:pt x="104" y="494"/>
                    </a:lnTo>
                    <a:lnTo>
                      <a:pt x="92" y="497"/>
                    </a:lnTo>
                    <a:lnTo>
                      <a:pt x="87" y="500"/>
                    </a:lnTo>
                    <a:lnTo>
                      <a:pt x="92" y="496"/>
                    </a:lnTo>
                    <a:lnTo>
                      <a:pt x="103" y="493"/>
                    </a:lnTo>
                    <a:lnTo>
                      <a:pt x="113" y="488"/>
                    </a:lnTo>
                    <a:lnTo>
                      <a:pt x="124" y="485"/>
                    </a:lnTo>
                    <a:lnTo>
                      <a:pt x="135" y="484"/>
                    </a:lnTo>
                    <a:close/>
                    <a:moveTo>
                      <a:pt x="1618" y="375"/>
                    </a:moveTo>
                    <a:lnTo>
                      <a:pt x="1616" y="381"/>
                    </a:lnTo>
                    <a:lnTo>
                      <a:pt x="1615" y="385"/>
                    </a:lnTo>
                    <a:lnTo>
                      <a:pt x="1615" y="387"/>
                    </a:lnTo>
                    <a:lnTo>
                      <a:pt x="1614" y="389"/>
                    </a:lnTo>
                    <a:lnTo>
                      <a:pt x="1614" y="391"/>
                    </a:lnTo>
                    <a:lnTo>
                      <a:pt x="1614" y="392"/>
                    </a:lnTo>
                    <a:lnTo>
                      <a:pt x="1614" y="392"/>
                    </a:lnTo>
                    <a:lnTo>
                      <a:pt x="1614" y="392"/>
                    </a:lnTo>
                    <a:lnTo>
                      <a:pt x="1642" y="392"/>
                    </a:lnTo>
                    <a:lnTo>
                      <a:pt x="1663" y="393"/>
                    </a:lnTo>
                    <a:lnTo>
                      <a:pt x="1678" y="393"/>
                    </a:lnTo>
                    <a:lnTo>
                      <a:pt x="1688" y="393"/>
                    </a:lnTo>
                    <a:lnTo>
                      <a:pt x="1694" y="393"/>
                    </a:lnTo>
                    <a:lnTo>
                      <a:pt x="1696" y="393"/>
                    </a:lnTo>
                    <a:lnTo>
                      <a:pt x="1698" y="393"/>
                    </a:lnTo>
                    <a:lnTo>
                      <a:pt x="1698" y="393"/>
                    </a:lnTo>
                    <a:lnTo>
                      <a:pt x="1698" y="387"/>
                    </a:lnTo>
                    <a:lnTo>
                      <a:pt x="1696" y="383"/>
                    </a:lnTo>
                    <a:lnTo>
                      <a:pt x="1696" y="381"/>
                    </a:lnTo>
                    <a:lnTo>
                      <a:pt x="1696" y="378"/>
                    </a:lnTo>
                    <a:lnTo>
                      <a:pt x="1696" y="377"/>
                    </a:lnTo>
                    <a:lnTo>
                      <a:pt x="1696" y="376"/>
                    </a:lnTo>
                    <a:lnTo>
                      <a:pt x="1696" y="376"/>
                    </a:lnTo>
                    <a:lnTo>
                      <a:pt x="1696" y="376"/>
                    </a:lnTo>
                    <a:lnTo>
                      <a:pt x="1670" y="375"/>
                    </a:lnTo>
                    <a:lnTo>
                      <a:pt x="1651" y="375"/>
                    </a:lnTo>
                    <a:lnTo>
                      <a:pt x="1636" y="375"/>
                    </a:lnTo>
                    <a:lnTo>
                      <a:pt x="1628" y="375"/>
                    </a:lnTo>
                    <a:lnTo>
                      <a:pt x="1622" y="375"/>
                    </a:lnTo>
                    <a:lnTo>
                      <a:pt x="1619" y="375"/>
                    </a:lnTo>
                    <a:lnTo>
                      <a:pt x="1618" y="375"/>
                    </a:lnTo>
                    <a:lnTo>
                      <a:pt x="1618" y="375"/>
                    </a:lnTo>
                    <a:close/>
                    <a:moveTo>
                      <a:pt x="1867" y="321"/>
                    </a:moveTo>
                    <a:lnTo>
                      <a:pt x="1880" y="334"/>
                    </a:lnTo>
                    <a:lnTo>
                      <a:pt x="1888" y="344"/>
                    </a:lnTo>
                    <a:lnTo>
                      <a:pt x="1894" y="349"/>
                    </a:lnTo>
                    <a:lnTo>
                      <a:pt x="1897" y="354"/>
                    </a:lnTo>
                    <a:lnTo>
                      <a:pt x="1900" y="355"/>
                    </a:lnTo>
                    <a:lnTo>
                      <a:pt x="1900" y="356"/>
                    </a:lnTo>
                    <a:lnTo>
                      <a:pt x="1900" y="356"/>
                    </a:lnTo>
                    <a:lnTo>
                      <a:pt x="1887" y="368"/>
                    </a:lnTo>
                    <a:lnTo>
                      <a:pt x="1877" y="377"/>
                    </a:lnTo>
                    <a:lnTo>
                      <a:pt x="1872" y="383"/>
                    </a:lnTo>
                    <a:lnTo>
                      <a:pt x="1867" y="386"/>
                    </a:lnTo>
                    <a:lnTo>
                      <a:pt x="1866" y="388"/>
                    </a:lnTo>
                    <a:lnTo>
                      <a:pt x="1865" y="389"/>
                    </a:lnTo>
                    <a:lnTo>
                      <a:pt x="1865" y="389"/>
                    </a:lnTo>
                    <a:lnTo>
                      <a:pt x="1876" y="391"/>
                    </a:lnTo>
                    <a:lnTo>
                      <a:pt x="1883" y="392"/>
                    </a:lnTo>
                    <a:lnTo>
                      <a:pt x="1886" y="392"/>
                    </a:lnTo>
                    <a:lnTo>
                      <a:pt x="1887" y="392"/>
                    </a:lnTo>
                    <a:lnTo>
                      <a:pt x="1887" y="392"/>
                    </a:lnTo>
                    <a:lnTo>
                      <a:pt x="1898" y="381"/>
                    </a:lnTo>
                    <a:lnTo>
                      <a:pt x="1905" y="374"/>
                    </a:lnTo>
                    <a:lnTo>
                      <a:pt x="1910" y="369"/>
                    </a:lnTo>
                    <a:lnTo>
                      <a:pt x="1912" y="367"/>
                    </a:lnTo>
                    <a:lnTo>
                      <a:pt x="1912" y="366"/>
                    </a:lnTo>
                    <a:lnTo>
                      <a:pt x="1913" y="366"/>
                    </a:lnTo>
                    <a:lnTo>
                      <a:pt x="1915" y="369"/>
                    </a:lnTo>
                    <a:lnTo>
                      <a:pt x="1916" y="373"/>
                    </a:lnTo>
                    <a:lnTo>
                      <a:pt x="1918" y="375"/>
                    </a:lnTo>
                    <a:lnTo>
                      <a:pt x="1918" y="376"/>
                    </a:lnTo>
                    <a:lnTo>
                      <a:pt x="1920" y="376"/>
                    </a:lnTo>
                    <a:lnTo>
                      <a:pt x="1920" y="376"/>
                    </a:lnTo>
                    <a:lnTo>
                      <a:pt x="1920" y="376"/>
                    </a:lnTo>
                    <a:lnTo>
                      <a:pt x="1923" y="382"/>
                    </a:lnTo>
                    <a:lnTo>
                      <a:pt x="1926" y="385"/>
                    </a:lnTo>
                    <a:lnTo>
                      <a:pt x="1928" y="387"/>
                    </a:lnTo>
                    <a:lnTo>
                      <a:pt x="1931" y="389"/>
                    </a:lnTo>
                    <a:lnTo>
                      <a:pt x="1932" y="391"/>
                    </a:lnTo>
                    <a:lnTo>
                      <a:pt x="1932" y="392"/>
                    </a:lnTo>
                    <a:lnTo>
                      <a:pt x="1932" y="392"/>
                    </a:lnTo>
                    <a:lnTo>
                      <a:pt x="1933" y="392"/>
                    </a:lnTo>
                    <a:lnTo>
                      <a:pt x="1933" y="392"/>
                    </a:lnTo>
                    <a:lnTo>
                      <a:pt x="1944" y="393"/>
                    </a:lnTo>
                    <a:lnTo>
                      <a:pt x="1951" y="394"/>
                    </a:lnTo>
                    <a:lnTo>
                      <a:pt x="1954" y="395"/>
                    </a:lnTo>
                    <a:lnTo>
                      <a:pt x="1955" y="395"/>
                    </a:lnTo>
                    <a:lnTo>
                      <a:pt x="1955" y="395"/>
                    </a:lnTo>
                    <a:lnTo>
                      <a:pt x="1943" y="382"/>
                    </a:lnTo>
                    <a:lnTo>
                      <a:pt x="1934" y="372"/>
                    </a:lnTo>
                    <a:lnTo>
                      <a:pt x="1928" y="366"/>
                    </a:lnTo>
                    <a:lnTo>
                      <a:pt x="1925" y="362"/>
                    </a:lnTo>
                    <a:lnTo>
                      <a:pt x="1924" y="359"/>
                    </a:lnTo>
                    <a:lnTo>
                      <a:pt x="1923" y="359"/>
                    </a:lnTo>
                    <a:lnTo>
                      <a:pt x="1923" y="359"/>
                    </a:lnTo>
                    <a:lnTo>
                      <a:pt x="1935" y="345"/>
                    </a:lnTo>
                    <a:lnTo>
                      <a:pt x="1944" y="335"/>
                    </a:lnTo>
                    <a:lnTo>
                      <a:pt x="1951" y="328"/>
                    </a:lnTo>
                    <a:lnTo>
                      <a:pt x="1954" y="324"/>
                    </a:lnTo>
                    <a:lnTo>
                      <a:pt x="1956" y="322"/>
                    </a:lnTo>
                    <a:lnTo>
                      <a:pt x="1957" y="321"/>
                    </a:lnTo>
                    <a:lnTo>
                      <a:pt x="1957" y="321"/>
                    </a:lnTo>
                    <a:lnTo>
                      <a:pt x="1946" y="323"/>
                    </a:lnTo>
                    <a:lnTo>
                      <a:pt x="1940" y="323"/>
                    </a:lnTo>
                    <a:lnTo>
                      <a:pt x="1936" y="324"/>
                    </a:lnTo>
                    <a:lnTo>
                      <a:pt x="1935" y="324"/>
                    </a:lnTo>
                    <a:lnTo>
                      <a:pt x="1935" y="324"/>
                    </a:lnTo>
                    <a:lnTo>
                      <a:pt x="1924" y="332"/>
                    </a:lnTo>
                    <a:lnTo>
                      <a:pt x="1917" y="338"/>
                    </a:lnTo>
                    <a:lnTo>
                      <a:pt x="1913" y="342"/>
                    </a:lnTo>
                    <a:lnTo>
                      <a:pt x="1911" y="343"/>
                    </a:lnTo>
                    <a:lnTo>
                      <a:pt x="1910" y="344"/>
                    </a:lnTo>
                    <a:lnTo>
                      <a:pt x="1910" y="344"/>
                    </a:lnTo>
                    <a:lnTo>
                      <a:pt x="1902" y="335"/>
                    </a:lnTo>
                    <a:lnTo>
                      <a:pt x="1896" y="329"/>
                    </a:lnTo>
                    <a:lnTo>
                      <a:pt x="1893" y="326"/>
                    </a:lnTo>
                    <a:lnTo>
                      <a:pt x="1891" y="324"/>
                    </a:lnTo>
                    <a:lnTo>
                      <a:pt x="1891" y="324"/>
                    </a:lnTo>
                    <a:lnTo>
                      <a:pt x="1891" y="324"/>
                    </a:lnTo>
                    <a:lnTo>
                      <a:pt x="1880" y="322"/>
                    </a:lnTo>
                    <a:lnTo>
                      <a:pt x="1873" y="322"/>
                    </a:lnTo>
                    <a:lnTo>
                      <a:pt x="1870" y="321"/>
                    </a:lnTo>
                    <a:lnTo>
                      <a:pt x="1867" y="321"/>
                    </a:lnTo>
                    <a:lnTo>
                      <a:pt x="1867" y="321"/>
                    </a:lnTo>
                    <a:close/>
                    <a:moveTo>
                      <a:pt x="1744" y="319"/>
                    </a:moveTo>
                    <a:lnTo>
                      <a:pt x="1744" y="344"/>
                    </a:lnTo>
                    <a:lnTo>
                      <a:pt x="1743" y="363"/>
                    </a:lnTo>
                    <a:lnTo>
                      <a:pt x="1743" y="375"/>
                    </a:lnTo>
                    <a:lnTo>
                      <a:pt x="1742" y="382"/>
                    </a:lnTo>
                    <a:lnTo>
                      <a:pt x="1742" y="386"/>
                    </a:lnTo>
                    <a:lnTo>
                      <a:pt x="1742" y="387"/>
                    </a:lnTo>
                    <a:lnTo>
                      <a:pt x="1742" y="387"/>
                    </a:lnTo>
                    <a:lnTo>
                      <a:pt x="1767" y="388"/>
                    </a:lnTo>
                    <a:lnTo>
                      <a:pt x="1785" y="389"/>
                    </a:lnTo>
                    <a:lnTo>
                      <a:pt x="1796" y="389"/>
                    </a:lnTo>
                    <a:lnTo>
                      <a:pt x="1804" y="391"/>
                    </a:lnTo>
                    <a:lnTo>
                      <a:pt x="1807" y="391"/>
                    </a:lnTo>
                    <a:lnTo>
                      <a:pt x="1810" y="391"/>
                    </a:lnTo>
                    <a:lnTo>
                      <a:pt x="1810" y="391"/>
                    </a:lnTo>
                    <a:lnTo>
                      <a:pt x="1811" y="365"/>
                    </a:lnTo>
                    <a:lnTo>
                      <a:pt x="1811" y="347"/>
                    </a:lnTo>
                    <a:lnTo>
                      <a:pt x="1812" y="335"/>
                    </a:lnTo>
                    <a:lnTo>
                      <a:pt x="1812" y="327"/>
                    </a:lnTo>
                    <a:lnTo>
                      <a:pt x="1812" y="324"/>
                    </a:lnTo>
                    <a:lnTo>
                      <a:pt x="1812" y="322"/>
                    </a:lnTo>
                    <a:lnTo>
                      <a:pt x="1812" y="322"/>
                    </a:lnTo>
                    <a:lnTo>
                      <a:pt x="1787" y="321"/>
                    </a:lnTo>
                    <a:lnTo>
                      <a:pt x="1770" y="321"/>
                    </a:lnTo>
                    <a:lnTo>
                      <a:pt x="1757" y="319"/>
                    </a:lnTo>
                    <a:lnTo>
                      <a:pt x="1750" y="319"/>
                    </a:lnTo>
                    <a:lnTo>
                      <a:pt x="1746" y="319"/>
                    </a:lnTo>
                    <a:lnTo>
                      <a:pt x="1745" y="319"/>
                    </a:lnTo>
                    <a:lnTo>
                      <a:pt x="1744" y="319"/>
                    </a:lnTo>
                    <a:close/>
                    <a:moveTo>
                      <a:pt x="2113" y="275"/>
                    </a:moveTo>
                    <a:lnTo>
                      <a:pt x="2227" y="277"/>
                    </a:lnTo>
                    <a:lnTo>
                      <a:pt x="2238" y="278"/>
                    </a:lnTo>
                    <a:lnTo>
                      <a:pt x="2249" y="281"/>
                    </a:lnTo>
                    <a:lnTo>
                      <a:pt x="2260" y="285"/>
                    </a:lnTo>
                    <a:lnTo>
                      <a:pt x="2270" y="289"/>
                    </a:lnTo>
                    <a:lnTo>
                      <a:pt x="2279" y="295"/>
                    </a:lnTo>
                    <a:lnTo>
                      <a:pt x="2290" y="303"/>
                    </a:lnTo>
                    <a:lnTo>
                      <a:pt x="2296" y="314"/>
                    </a:lnTo>
                    <a:lnTo>
                      <a:pt x="2301" y="324"/>
                    </a:lnTo>
                    <a:lnTo>
                      <a:pt x="2305" y="335"/>
                    </a:lnTo>
                    <a:lnTo>
                      <a:pt x="2309" y="345"/>
                    </a:lnTo>
                    <a:lnTo>
                      <a:pt x="2313" y="357"/>
                    </a:lnTo>
                    <a:lnTo>
                      <a:pt x="2315" y="373"/>
                    </a:lnTo>
                    <a:lnTo>
                      <a:pt x="2311" y="483"/>
                    </a:lnTo>
                    <a:lnTo>
                      <a:pt x="2308" y="584"/>
                    </a:lnTo>
                    <a:lnTo>
                      <a:pt x="2306" y="678"/>
                    </a:lnTo>
                    <a:lnTo>
                      <a:pt x="2304" y="766"/>
                    </a:lnTo>
                    <a:lnTo>
                      <a:pt x="2301" y="846"/>
                    </a:lnTo>
                    <a:lnTo>
                      <a:pt x="2299" y="919"/>
                    </a:lnTo>
                    <a:lnTo>
                      <a:pt x="2297" y="987"/>
                    </a:lnTo>
                    <a:lnTo>
                      <a:pt x="2295" y="1048"/>
                    </a:lnTo>
                    <a:lnTo>
                      <a:pt x="2294" y="1102"/>
                    </a:lnTo>
                    <a:lnTo>
                      <a:pt x="2293" y="1152"/>
                    </a:lnTo>
                    <a:lnTo>
                      <a:pt x="2290" y="1196"/>
                    </a:lnTo>
                    <a:lnTo>
                      <a:pt x="2289" y="1236"/>
                    </a:lnTo>
                    <a:lnTo>
                      <a:pt x="2288" y="1271"/>
                    </a:lnTo>
                    <a:lnTo>
                      <a:pt x="2288" y="1301"/>
                    </a:lnTo>
                    <a:lnTo>
                      <a:pt x="2287" y="1327"/>
                    </a:lnTo>
                    <a:lnTo>
                      <a:pt x="2286" y="1351"/>
                    </a:lnTo>
                    <a:lnTo>
                      <a:pt x="2286" y="1370"/>
                    </a:lnTo>
                    <a:lnTo>
                      <a:pt x="2285" y="1385"/>
                    </a:lnTo>
                    <a:lnTo>
                      <a:pt x="2285" y="1398"/>
                    </a:lnTo>
                    <a:lnTo>
                      <a:pt x="2285" y="1410"/>
                    </a:lnTo>
                    <a:lnTo>
                      <a:pt x="2285" y="1417"/>
                    </a:lnTo>
                    <a:lnTo>
                      <a:pt x="2284" y="1424"/>
                    </a:lnTo>
                    <a:lnTo>
                      <a:pt x="2284" y="1428"/>
                    </a:lnTo>
                    <a:lnTo>
                      <a:pt x="2284" y="1431"/>
                    </a:lnTo>
                    <a:lnTo>
                      <a:pt x="2284" y="1433"/>
                    </a:lnTo>
                    <a:lnTo>
                      <a:pt x="2284" y="1434"/>
                    </a:lnTo>
                    <a:lnTo>
                      <a:pt x="2284" y="1434"/>
                    </a:lnTo>
                    <a:lnTo>
                      <a:pt x="2284" y="1434"/>
                    </a:lnTo>
                    <a:lnTo>
                      <a:pt x="2281" y="1449"/>
                    </a:lnTo>
                    <a:lnTo>
                      <a:pt x="2279" y="1463"/>
                    </a:lnTo>
                    <a:lnTo>
                      <a:pt x="2273" y="1474"/>
                    </a:lnTo>
                    <a:lnTo>
                      <a:pt x="2268" y="1485"/>
                    </a:lnTo>
                    <a:lnTo>
                      <a:pt x="2263" y="1494"/>
                    </a:lnTo>
                    <a:lnTo>
                      <a:pt x="2255" y="1505"/>
                    </a:lnTo>
                    <a:lnTo>
                      <a:pt x="2225" y="1525"/>
                    </a:lnTo>
                    <a:lnTo>
                      <a:pt x="2193" y="1528"/>
                    </a:lnTo>
                    <a:lnTo>
                      <a:pt x="2165" y="1527"/>
                    </a:lnTo>
                    <a:lnTo>
                      <a:pt x="2143" y="1526"/>
                    </a:lnTo>
                    <a:lnTo>
                      <a:pt x="2127" y="1525"/>
                    </a:lnTo>
                    <a:lnTo>
                      <a:pt x="2115" y="1525"/>
                    </a:lnTo>
                    <a:lnTo>
                      <a:pt x="2107" y="1524"/>
                    </a:lnTo>
                    <a:lnTo>
                      <a:pt x="2103" y="1524"/>
                    </a:lnTo>
                    <a:lnTo>
                      <a:pt x="2101" y="1524"/>
                    </a:lnTo>
                    <a:lnTo>
                      <a:pt x="2099" y="1524"/>
                    </a:lnTo>
                    <a:lnTo>
                      <a:pt x="2099" y="1524"/>
                    </a:lnTo>
                    <a:lnTo>
                      <a:pt x="2101" y="1495"/>
                    </a:lnTo>
                    <a:lnTo>
                      <a:pt x="2102" y="1473"/>
                    </a:lnTo>
                    <a:lnTo>
                      <a:pt x="2103" y="1456"/>
                    </a:lnTo>
                    <a:lnTo>
                      <a:pt x="2103" y="1445"/>
                    </a:lnTo>
                    <a:lnTo>
                      <a:pt x="2104" y="1437"/>
                    </a:lnTo>
                    <a:lnTo>
                      <a:pt x="2104" y="1432"/>
                    </a:lnTo>
                    <a:lnTo>
                      <a:pt x="2104" y="1430"/>
                    </a:lnTo>
                    <a:lnTo>
                      <a:pt x="2104" y="1428"/>
                    </a:lnTo>
                    <a:lnTo>
                      <a:pt x="2104" y="1428"/>
                    </a:lnTo>
                    <a:lnTo>
                      <a:pt x="2133" y="1431"/>
                    </a:lnTo>
                    <a:lnTo>
                      <a:pt x="2155" y="1432"/>
                    </a:lnTo>
                    <a:lnTo>
                      <a:pt x="2170" y="1433"/>
                    </a:lnTo>
                    <a:lnTo>
                      <a:pt x="2180" y="1434"/>
                    </a:lnTo>
                    <a:lnTo>
                      <a:pt x="2187" y="1434"/>
                    </a:lnTo>
                    <a:lnTo>
                      <a:pt x="2190" y="1434"/>
                    </a:lnTo>
                    <a:lnTo>
                      <a:pt x="2192" y="1434"/>
                    </a:lnTo>
                    <a:lnTo>
                      <a:pt x="2192" y="1434"/>
                    </a:lnTo>
                    <a:lnTo>
                      <a:pt x="2195" y="1325"/>
                    </a:lnTo>
                    <a:lnTo>
                      <a:pt x="2198" y="1223"/>
                    </a:lnTo>
                    <a:lnTo>
                      <a:pt x="2200" y="1129"/>
                    </a:lnTo>
                    <a:lnTo>
                      <a:pt x="2203" y="1041"/>
                    </a:lnTo>
                    <a:lnTo>
                      <a:pt x="2205" y="961"/>
                    </a:lnTo>
                    <a:lnTo>
                      <a:pt x="2207" y="888"/>
                    </a:lnTo>
                    <a:lnTo>
                      <a:pt x="2209" y="821"/>
                    </a:lnTo>
                    <a:lnTo>
                      <a:pt x="2212" y="760"/>
                    </a:lnTo>
                    <a:lnTo>
                      <a:pt x="2213" y="705"/>
                    </a:lnTo>
                    <a:lnTo>
                      <a:pt x="2214" y="655"/>
                    </a:lnTo>
                    <a:lnTo>
                      <a:pt x="2216" y="610"/>
                    </a:lnTo>
                    <a:lnTo>
                      <a:pt x="2217" y="571"/>
                    </a:lnTo>
                    <a:lnTo>
                      <a:pt x="2218" y="536"/>
                    </a:lnTo>
                    <a:lnTo>
                      <a:pt x="2218" y="506"/>
                    </a:lnTo>
                    <a:lnTo>
                      <a:pt x="2219" y="479"/>
                    </a:lnTo>
                    <a:lnTo>
                      <a:pt x="2220" y="456"/>
                    </a:lnTo>
                    <a:lnTo>
                      <a:pt x="2220" y="437"/>
                    </a:lnTo>
                    <a:lnTo>
                      <a:pt x="2222" y="422"/>
                    </a:lnTo>
                    <a:lnTo>
                      <a:pt x="2222" y="408"/>
                    </a:lnTo>
                    <a:lnTo>
                      <a:pt x="2222" y="397"/>
                    </a:lnTo>
                    <a:lnTo>
                      <a:pt x="2222" y="389"/>
                    </a:lnTo>
                    <a:lnTo>
                      <a:pt x="2223" y="384"/>
                    </a:lnTo>
                    <a:lnTo>
                      <a:pt x="2223" y="379"/>
                    </a:lnTo>
                    <a:lnTo>
                      <a:pt x="2223" y="376"/>
                    </a:lnTo>
                    <a:lnTo>
                      <a:pt x="2223" y="374"/>
                    </a:lnTo>
                    <a:lnTo>
                      <a:pt x="2223" y="373"/>
                    </a:lnTo>
                    <a:lnTo>
                      <a:pt x="2223" y="373"/>
                    </a:lnTo>
                    <a:lnTo>
                      <a:pt x="2223" y="373"/>
                    </a:lnTo>
                    <a:lnTo>
                      <a:pt x="2195" y="372"/>
                    </a:lnTo>
                    <a:lnTo>
                      <a:pt x="2174" y="371"/>
                    </a:lnTo>
                    <a:lnTo>
                      <a:pt x="2157" y="369"/>
                    </a:lnTo>
                    <a:lnTo>
                      <a:pt x="2145" y="368"/>
                    </a:lnTo>
                    <a:lnTo>
                      <a:pt x="2137" y="368"/>
                    </a:lnTo>
                    <a:lnTo>
                      <a:pt x="2133" y="368"/>
                    </a:lnTo>
                    <a:lnTo>
                      <a:pt x="2130" y="368"/>
                    </a:lnTo>
                    <a:lnTo>
                      <a:pt x="2129" y="367"/>
                    </a:lnTo>
                    <a:lnTo>
                      <a:pt x="2129" y="367"/>
                    </a:lnTo>
                    <a:lnTo>
                      <a:pt x="2130" y="364"/>
                    </a:lnTo>
                    <a:lnTo>
                      <a:pt x="2132" y="361"/>
                    </a:lnTo>
                    <a:lnTo>
                      <a:pt x="2133" y="358"/>
                    </a:lnTo>
                    <a:lnTo>
                      <a:pt x="2133" y="357"/>
                    </a:lnTo>
                    <a:lnTo>
                      <a:pt x="2134" y="356"/>
                    </a:lnTo>
                    <a:lnTo>
                      <a:pt x="2134" y="356"/>
                    </a:lnTo>
                    <a:lnTo>
                      <a:pt x="2134" y="356"/>
                    </a:lnTo>
                    <a:lnTo>
                      <a:pt x="2133" y="349"/>
                    </a:lnTo>
                    <a:lnTo>
                      <a:pt x="2132" y="341"/>
                    </a:lnTo>
                    <a:lnTo>
                      <a:pt x="2130" y="334"/>
                    </a:lnTo>
                    <a:lnTo>
                      <a:pt x="2129" y="327"/>
                    </a:lnTo>
                    <a:lnTo>
                      <a:pt x="2129" y="319"/>
                    </a:lnTo>
                    <a:lnTo>
                      <a:pt x="2128" y="313"/>
                    </a:lnTo>
                    <a:lnTo>
                      <a:pt x="2126" y="307"/>
                    </a:lnTo>
                    <a:lnTo>
                      <a:pt x="2123" y="301"/>
                    </a:lnTo>
                    <a:lnTo>
                      <a:pt x="2121" y="291"/>
                    </a:lnTo>
                    <a:lnTo>
                      <a:pt x="2119" y="287"/>
                    </a:lnTo>
                    <a:lnTo>
                      <a:pt x="2117" y="285"/>
                    </a:lnTo>
                    <a:lnTo>
                      <a:pt x="2115" y="282"/>
                    </a:lnTo>
                    <a:lnTo>
                      <a:pt x="2114" y="278"/>
                    </a:lnTo>
                    <a:lnTo>
                      <a:pt x="2113" y="275"/>
                    </a:lnTo>
                    <a:close/>
                    <a:moveTo>
                      <a:pt x="373" y="246"/>
                    </a:moveTo>
                    <a:lnTo>
                      <a:pt x="1977" y="256"/>
                    </a:lnTo>
                    <a:lnTo>
                      <a:pt x="2012" y="268"/>
                    </a:lnTo>
                    <a:lnTo>
                      <a:pt x="2023" y="274"/>
                    </a:lnTo>
                    <a:lnTo>
                      <a:pt x="2032" y="280"/>
                    </a:lnTo>
                    <a:lnTo>
                      <a:pt x="2043" y="287"/>
                    </a:lnTo>
                    <a:lnTo>
                      <a:pt x="2048" y="298"/>
                    </a:lnTo>
                    <a:lnTo>
                      <a:pt x="2054" y="308"/>
                    </a:lnTo>
                    <a:lnTo>
                      <a:pt x="2057" y="319"/>
                    </a:lnTo>
                    <a:lnTo>
                      <a:pt x="2063" y="331"/>
                    </a:lnTo>
                    <a:lnTo>
                      <a:pt x="2064" y="343"/>
                    </a:lnTo>
                    <a:lnTo>
                      <a:pt x="2062" y="358"/>
                    </a:lnTo>
                    <a:lnTo>
                      <a:pt x="2062" y="394"/>
                    </a:lnTo>
                    <a:lnTo>
                      <a:pt x="2062" y="423"/>
                    </a:lnTo>
                    <a:lnTo>
                      <a:pt x="2062" y="444"/>
                    </a:lnTo>
                    <a:lnTo>
                      <a:pt x="2062" y="460"/>
                    </a:lnTo>
                    <a:lnTo>
                      <a:pt x="2062" y="473"/>
                    </a:lnTo>
                    <a:lnTo>
                      <a:pt x="2062" y="480"/>
                    </a:lnTo>
                    <a:lnTo>
                      <a:pt x="2062" y="486"/>
                    </a:lnTo>
                    <a:lnTo>
                      <a:pt x="2062" y="488"/>
                    </a:lnTo>
                    <a:lnTo>
                      <a:pt x="2062" y="489"/>
                    </a:lnTo>
                    <a:lnTo>
                      <a:pt x="2062" y="489"/>
                    </a:lnTo>
                    <a:lnTo>
                      <a:pt x="2058" y="486"/>
                    </a:lnTo>
                    <a:lnTo>
                      <a:pt x="2056" y="483"/>
                    </a:lnTo>
                    <a:lnTo>
                      <a:pt x="2054" y="479"/>
                    </a:lnTo>
                    <a:lnTo>
                      <a:pt x="2052" y="477"/>
                    </a:lnTo>
                    <a:lnTo>
                      <a:pt x="2048" y="474"/>
                    </a:lnTo>
                    <a:lnTo>
                      <a:pt x="2031" y="459"/>
                    </a:lnTo>
                    <a:lnTo>
                      <a:pt x="2026" y="459"/>
                    </a:lnTo>
                    <a:lnTo>
                      <a:pt x="2023" y="458"/>
                    </a:lnTo>
                    <a:lnTo>
                      <a:pt x="2019" y="457"/>
                    </a:lnTo>
                    <a:lnTo>
                      <a:pt x="2016" y="456"/>
                    </a:lnTo>
                    <a:lnTo>
                      <a:pt x="2013" y="456"/>
                    </a:lnTo>
                    <a:lnTo>
                      <a:pt x="2005" y="453"/>
                    </a:lnTo>
                    <a:lnTo>
                      <a:pt x="1997" y="452"/>
                    </a:lnTo>
                    <a:lnTo>
                      <a:pt x="1991" y="453"/>
                    </a:lnTo>
                    <a:lnTo>
                      <a:pt x="1849" y="450"/>
                    </a:lnTo>
                    <a:lnTo>
                      <a:pt x="1716" y="449"/>
                    </a:lnTo>
                    <a:lnTo>
                      <a:pt x="1591" y="447"/>
                    </a:lnTo>
                    <a:lnTo>
                      <a:pt x="1474" y="446"/>
                    </a:lnTo>
                    <a:lnTo>
                      <a:pt x="1364" y="445"/>
                    </a:lnTo>
                    <a:lnTo>
                      <a:pt x="1262" y="443"/>
                    </a:lnTo>
                    <a:lnTo>
                      <a:pt x="1167" y="442"/>
                    </a:lnTo>
                    <a:lnTo>
                      <a:pt x="1078" y="440"/>
                    </a:lnTo>
                    <a:lnTo>
                      <a:pt x="997" y="439"/>
                    </a:lnTo>
                    <a:lnTo>
                      <a:pt x="920" y="439"/>
                    </a:lnTo>
                    <a:lnTo>
                      <a:pt x="852" y="438"/>
                    </a:lnTo>
                    <a:lnTo>
                      <a:pt x="787" y="437"/>
                    </a:lnTo>
                    <a:lnTo>
                      <a:pt x="729" y="436"/>
                    </a:lnTo>
                    <a:lnTo>
                      <a:pt x="676" y="436"/>
                    </a:lnTo>
                    <a:lnTo>
                      <a:pt x="628" y="435"/>
                    </a:lnTo>
                    <a:lnTo>
                      <a:pt x="585" y="435"/>
                    </a:lnTo>
                    <a:lnTo>
                      <a:pt x="547" y="434"/>
                    </a:lnTo>
                    <a:lnTo>
                      <a:pt x="513" y="434"/>
                    </a:lnTo>
                    <a:lnTo>
                      <a:pt x="483" y="433"/>
                    </a:lnTo>
                    <a:lnTo>
                      <a:pt x="456" y="433"/>
                    </a:lnTo>
                    <a:lnTo>
                      <a:pt x="433" y="433"/>
                    </a:lnTo>
                    <a:lnTo>
                      <a:pt x="413" y="433"/>
                    </a:lnTo>
                    <a:lnTo>
                      <a:pt x="396" y="432"/>
                    </a:lnTo>
                    <a:lnTo>
                      <a:pt x="383" y="432"/>
                    </a:lnTo>
                    <a:lnTo>
                      <a:pt x="372" y="432"/>
                    </a:lnTo>
                    <a:lnTo>
                      <a:pt x="362" y="432"/>
                    </a:lnTo>
                    <a:lnTo>
                      <a:pt x="355" y="432"/>
                    </a:lnTo>
                    <a:lnTo>
                      <a:pt x="350" y="432"/>
                    </a:lnTo>
                    <a:lnTo>
                      <a:pt x="346" y="432"/>
                    </a:lnTo>
                    <a:lnTo>
                      <a:pt x="343" y="432"/>
                    </a:lnTo>
                    <a:lnTo>
                      <a:pt x="342" y="432"/>
                    </a:lnTo>
                    <a:lnTo>
                      <a:pt x="341" y="432"/>
                    </a:lnTo>
                    <a:lnTo>
                      <a:pt x="341" y="432"/>
                    </a:lnTo>
                    <a:lnTo>
                      <a:pt x="341" y="432"/>
                    </a:lnTo>
                    <a:lnTo>
                      <a:pt x="338" y="432"/>
                    </a:lnTo>
                    <a:lnTo>
                      <a:pt x="336" y="432"/>
                    </a:lnTo>
                    <a:lnTo>
                      <a:pt x="335" y="432"/>
                    </a:lnTo>
                    <a:lnTo>
                      <a:pt x="335" y="432"/>
                    </a:lnTo>
                    <a:lnTo>
                      <a:pt x="335" y="432"/>
                    </a:lnTo>
                    <a:lnTo>
                      <a:pt x="330" y="433"/>
                    </a:lnTo>
                    <a:lnTo>
                      <a:pt x="330" y="433"/>
                    </a:lnTo>
                    <a:lnTo>
                      <a:pt x="330" y="433"/>
                    </a:lnTo>
                    <a:lnTo>
                      <a:pt x="329" y="433"/>
                    </a:lnTo>
                    <a:lnTo>
                      <a:pt x="326" y="433"/>
                    </a:lnTo>
                    <a:lnTo>
                      <a:pt x="324" y="434"/>
                    </a:lnTo>
                    <a:lnTo>
                      <a:pt x="308" y="433"/>
                    </a:lnTo>
                    <a:lnTo>
                      <a:pt x="296" y="433"/>
                    </a:lnTo>
                    <a:lnTo>
                      <a:pt x="290" y="433"/>
                    </a:lnTo>
                    <a:lnTo>
                      <a:pt x="286" y="433"/>
                    </a:lnTo>
                    <a:lnTo>
                      <a:pt x="285" y="433"/>
                    </a:lnTo>
                    <a:lnTo>
                      <a:pt x="285" y="433"/>
                    </a:lnTo>
                    <a:lnTo>
                      <a:pt x="286" y="404"/>
                    </a:lnTo>
                    <a:lnTo>
                      <a:pt x="288" y="382"/>
                    </a:lnTo>
                    <a:lnTo>
                      <a:pt x="289" y="365"/>
                    </a:lnTo>
                    <a:lnTo>
                      <a:pt x="289" y="353"/>
                    </a:lnTo>
                    <a:lnTo>
                      <a:pt x="290" y="344"/>
                    </a:lnTo>
                    <a:lnTo>
                      <a:pt x="290" y="339"/>
                    </a:lnTo>
                    <a:lnTo>
                      <a:pt x="290" y="337"/>
                    </a:lnTo>
                    <a:lnTo>
                      <a:pt x="290" y="336"/>
                    </a:lnTo>
                    <a:lnTo>
                      <a:pt x="290" y="336"/>
                    </a:lnTo>
                    <a:lnTo>
                      <a:pt x="290" y="325"/>
                    </a:lnTo>
                    <a:lnTo>
                      <a:pt x="293" y="313"/>
                    </a:lnTo>
                    <a:lnTo>
                      <a:pt x="296" y="301"/>
                    </a:lnTo>
                    <a:lnTo>
                      <a:pt x="301" y="291"/>
                    </a:lnTo>
                    <a:lnTo>
                      <a:pt x="306" y="282"/>
                    </a:lnTo>
                    <a:lnTo>
                      <a:pt x="315" y="271"/>
                    </a:lnTo>
                    <a:lnTo>
                      <a:pt x="325" y="261"/>
                    </a:lnTo>
                    <a:lnTo>
                      <a:pt x="341" y="251"/>
                    </a:lnTo>
                    <a:lnTo>
                      <a:pt x="373" y="246"/>
                    </a:lnTo>
                    <a:close/>
                    <a:moveTo>
                      <a:pt x="1870" y="119"/>
                    </a:moveTo>
                    <a:lnTo>
                      <a:pt x="1871" y="124"/>
                    </a:lnTo>
                    <a:lnTo>
                      <a:pt x="1871" y="127"/>
                    </a:lnTo>
                    <a:lnTo>
                      <a:pt x="1871" y="131"/>
                    </a:lnTo>
                    <a:lnTo>
                      <a:pt x="1872" y="133"/>
                    </a:lnTo>
                    <a:lnTo>
                      <a:pt x="1872" y="134"/>
                    </a:lnTo>
                    <a:lnTo>
                      <a:pt x="1872" y="134"/>
                    </a:lnTo>
                    <a:lnTo>
                      <a:pt x="1872" y="135"/>
                    </a:lnTo>
                    <a:lnTo>
                      <a:pt x="1872" y="135"/>
                    </a:lnTo>
                    <a:lnTo>
                      <a:pt x="1900" y="135"/>
                    </a:lnTo>
                    <a:lnTo>
                      <a:pt x="1921" y="135"/>
                    </a:lnTo>
                    <a:lnTo>
                      <a:pt x="1935" y="135"/>
                    </a:lnTo>
                    <a:lnTo>
                      <a:pt x="1945" y="135"/>
                    </a:lnTo>
                    <a:lnTo>
                      <a:pt x="1952" y="135"/>
                    </a:lnTo>
                    <a:lnTo>
                      <a:pt x="1955" y="135"/>
                    </a:lnTo>
                    <a:lnTo>
                      <a:pt x="1956" y="135"/>
                    </a:lnTo>
                    <a:lnTo>
                      <a:pt x="1956" y="135"/>
                    </a:lnTo>
                    <a:lnTo>
                      <a:pt x="1955" y="130"/>
                    </a:lnTo>
                    <a:lnTo>
                      <a:pt x="1955" y="126"/>
                    </a:lnTo>
                    <a:lnTo>
                      <a:pt x="1954" y="123"/>
                    </a:lnTo>
                    <a:lnTo>
                      <a:pt x="1954" y="121"/>
                    </a:lnTo>
                    <a:lnTo>
                      <a:pt x="1954" y="120"/>
                    </a:lnTo>
                    <a:lnTo>
                      <a:pt x="1954" y="120"/>
                    </a:lnTo>
                    <a:lnTo>
                      <a:pt x="1954" y="119"/>
                    </a:lnTo>
                    <a:lnTo>
                      <a:pt x="1954" y="119"/>
                    </a:lnTo>
                    <a:lnTo>
                      <a:pt x="1926" y="119"/>
                    </a:lnTo>
                    <a:lnTo>
                      <a:pt x="1905" y="119"/>
                    </a:lnTo>
                    <a:lnTo>
                      <a:pt x="1891" y="119"/>
                    </a:lnTo>
                    <a:lnTo>
                      <a:pt x="1880" y="119"/>
                    </a:lnTo>
                    <a:lnTo>
                      <a:pt x="1874" y="119"/>
                    </a:lnTo>
                    <a:lnTo>
                      <a:pt x="1871" y="119"/>
                    </a:lnTo>
                    <a:lnTo>
                      <a:pt x="1870" y="119"/>
                    </a:lnTo>
                    <a:lnTo>
                      <a:pt x="1870" y="119"/>
                    </a:lnTo>
                    <a:close/>
                    <a:moveTo>
                      <a:pt x="2217" y="64"/>
                    </a:moveTo>
                    <a:lnTo>
                      <a:pt x="2206" y="65"/>
                    </a:lnTo>
                    <a:lnTo>
                      <a:pt x="2199" y="66"/>
                    </a:lnTo>
                    <a:lnTo>
                      <a:pt x="2196" y="66"/>
                    </a:lnTo>
                    <a:lnTo>
                      <a:pt x="2195" y="66"/>
                    </a:lnTo>
                    <a:lnTo>
                      <a:pt x="2195" y="66"/>
                    </a:lnTo>
                    <a:lnTo>
                      <a:pt x="2184" y="75"/>
                    </a:lnTo>
                    <a:lnTo>
                      <a:pt x="2177" y="81"/>
                    </a:lnTo>
                    <a:lnTo>
                      <a:pt x="2173" y="84"/>
                    </a:lnTo>
                    <a:lnTo>
                      <a:pt x="2170" y="86"/>
                    </a:lnTo>
                    <a:lnTo>
                      <a:pt x="2169" y="86"/>
                    </a:lnTo>
                    <a:lnTo>
                      <a:pt x="2169" y="86"/>
                    </a:lnTo>
                    <a:lnTo>
                      <a:pt x="2160" y="79"/>
                    </a:lnTo>
                    <a:lnTo>
                      <a:pt x="2155" y="73"/>
                    </a:lnTo>
                    <a:lnTo>
                      <a:pt x="2152" y="69"/>
                    </a:lnTo>
                    <a:lnTo>
                      <a:pt x="2150" y="67"/>
                    </a:lnTo>
                    <a:lnTo>
                      <a:pt x="2149" y="66"/>
                    </a:lnTo>
                    <a:lnTo>
                      <a:pt x="2149" y="66"/>
                    </a:lnTo>
                    <a:lnTo>
                      <a:pt x="2138" y="65"/>
                    </a:lnTo>
                    <a:lnTo>
                      <a:pt x="2132" y="64"/>
                    </a:lnTo>
                    <a:lnTo>
                      <a:pt x="2128" y="64"/>
                    </a:lnTo>
                    <a:lnTo>
                      <a:pt x="2127" y="64"/>
                    </a:lnTo>
                    <a:lnTo>
                      <a:pt x="2127" y="64"/>
                    </a:lnTo>
                    <a:lnTo>
                      <a:pt x="2139" y="76"/>
                    </a:lnTo>
                    <a:lnTo>
                      <a:pt x="2147" y="86"/>
                    </a:lnTo>
                    <a:lnTo>
                      <a:pt x="2154" y="92"/>
                    </a:lnTo>
                    <a:lnTo>
                      <a:pt x="2157" y="96"/>
                    </a:lnTo>
                    <a:lnTo>
                      <a:pt x="2158" y="99"/>
                    </a:lnTo>
                    <a:lnTo>
                      <a:pt x="2159" y="99"/>
                    </a:lnTo>
                    <a:lnTo>
                      <a:pt x="2159" y="99"/>
                    </a:lnTo>
                    <a:lnTo>
                      <a:pt x="2148" y="112"/>
                    </a:lnTo>
                    <a:lnTo>
                      <a:pt x="2139" y="121"/>
                    </a:lnTo>
                    <a:lnTo>
                      <a:pt x="2133" y="127"/>
                    </a:lnTo>
                    <a:lnTo>
                      <a:pt x="2129" y="132"/>
                    </a:lnTo>
                    <a:lnTo>
                      <a:pt x="2126" y="135"/>
                    </a:lnTo>
                    <a:lnTo>
                      <a:pt x="2125" y="136"/>
                    </a:lnTo>
                    <a:lnTo>
                      <a:pt x="2125" y="137"/>
                    </a:lnTo>
                    <a:lnTo>
                      <a:pt x="2125" y="137"/>
                    </a:lnTo>
                    <a:lnTo>
                      <a:pt x="2136" y="135"/>
                    </a:lnTo>
                    <a:lnTo>
                      <a:pt x="2142" y="135"/>
                    </a:lnTo>
                    <a:lnTo>
                      <a:pt x="2145" y="134"/>
                    </a:lnTo>
                    <a:lnTo>
                      <a:pt x="2147" y="134"/>
                    </a:lnTo>
                    <a:lnTo>
                      <a:pt x="2147" y="134"/>
                    </a:lnTo>
                    <a:lnTo>
                      <a:pt x="2157" y="123"/>
                    </a:lnTo>
                    <a:lnTo>
                      <a:pt x="2165" y="116"/>
                    </a:lnTo>
                    <a:lnTo>
                      <a:pt x="2168" y="112"/>
                    </a:lnTo>
                    <a:lnTo>
                      <a:pt x="2170" y="110"/>
                    </a:lnTo>
                    <a:lnTo>
                      <a:pt x="2172" y="109"/>
                    </a:lnTo>
                    <a:lnTo>
                      <a:pt x="2172" y="109"/>
                    </a:lnTo>
                    <a:lnTo>
                      <a:pt x="2174" y="113"/>
                    </a:lnTo>
                    <a:lnTo>
                      <a:pt x="2176" y="115"/>
                    </a:lnTo>
                    <a:lnTo>
                      <a:pt x="2177" y="117"/>
                    </a:lnTo>
                    <a:lnTo>
                      <a:pt x="2178" y="119"/>
                    </a:lnTo>
                    <a:lnTo>
                      <a:pt x="2178" y="119"/>
                    </a:lnTo>
                    <a:lnTo>
                      <a:pt x="2178" y="119"/>
                    </a:lnTo>
                    <a:lnTo>
                      <a:pt x="2178" y="119"/>
                    </a:lnTo>
                    <a:lnTo>
                      <a:pt x="2183" y="124"/>
                    </a:lnTo>
                    <a:lnTo>
                      <a:pt x="2186" y="127"/>
                    </a:lnTo>
                    <a:lnTo>
                      <a:pt x="2188" y="130"/>
                    </a:lnTo>
                    <a:lnTo>
                      <a:pt x="2189" y="132"/>
                    </a:lnTo>
                    <a:lnTo>
                      <a:pt x="2190" y="133"/>
                    </a:lnTo>
                    <a:lnTo>
                      <a:pt x="2192" y="134"/>
                    </a:lnTo>
                    <a:lnTo>
                      <a:pt x="2192" y="134"/>
                    </a:lnTo>
                    <a:lnTo>
                      <a:pt x="2192" y="134"/>
                    </a:lnTo>
                    <a:lnTo>
                      <a:pt x="2192" y="134"/>
                    </a:lnTo>
                    <a:lnTo>
                      <a:pt x="2203" y="135"/>
                    </a:lnTo>
                    <a:lnTo>
                      <a:pt x="2209" y="136"/>
                    </a:lnTo>
                    <a:lnTo>
                      <a:pt x="2213" y="137"/>
                    </a:lnTo>
                    <a:lnTo>
                      <a:pt x="2215" y="137"/>
                    </a:lnTo>
                    <a:lnTo>
                      <a:pt x="2215" y="137"/>
                    </a:lnTo>
                    <a:lnTo>
                      <a:pt x="2203" y="124"/>
                    </a:lnTo>
                    <a:lnTo>
                      <a:pt x="2194" y="115"/>
                    </a:lnTo>
                    <a:lnTo>
                      <a:pt x="2188" y="109"/>
                    </a:lnTo>
                    <a:lnTo>
                      <a:pt x="2185" y="104"/>
                    </a:lnTo>
                    <a:lnTo>
                      <a:pt x="2183" y="103"/>
                    </a:lnTo>
                    <a:lnTo>
                      <a:pt x="2183" y="102"/>
                    </a:lnTo>
                    <a:lnTo>
                      <a:pt x="2182" y="102"/>
                    </a:lnTo>
                    <a:lnTo>
                      <a:pt x="2194" y="90"/>
                    </a:lnTo>
                    <a:lnTo>
                      <a:pt x="2203" y="80"/>
                    </a:lnTo>
                    <a:lnTo>
                      <a:pt x="2208" y="73"/>
                    </a:lnTo>
                    <a:lnTo>
                      <a:pt x="2213" y="69"/>
                    </a:lnTo>
                    <a:lnTo>
                      <a:pt x="2215" y="66"/>
                    </a:lnTo>
                    <a:lnTo>
                      <a:pt x="2216" y="64"/>
                    </a:lnTo>
                    <a:lnTo>
                      <a:pt x="2217" y="64"/>
                    </a:lnTo>
                    <a:lnTo>
                      <a:pt x="2217" y="64"/>
                    </a:lnTo>
                    <a:close/>
                    <a:moveTo>
                      <a:pt x="2003" y="62"/>
                    </a:moveTo>
                    <a:lnTo>
                      <a:pt x="2003" y="86"/>
                    </a:lnTo>
                    <a:lnTo>
                      <a:pt x="2002" y="105"/>
                    </a:lnTo>
                    <a:lnTo>
                      <a:pt x="2002" y="117"/>
                    </a:lnTo>
                    <a:lnTo>
                      <a:pt x="2002" y="126"/>
                    </a:lnTo>
                    <a:lnTo>
                      <a:pt x="2001" y="132"/>
                    </a:lnTo>
                    <a:lnTo>
                      <a:pt x="2001" y="134"/>
                    </a:lnTo>
                    <a:lnTo>
                      <a:pt x="2001" y="135"/>
                    </a:lnTo>
                    <a:lnTo>
                      <a:pt x="2001" y="135"/>
                    </a:lnTo>
                    <a:lnTo>
                      <a:pt x="2026" y="134"/>
                    </a:lnTo>
                    <a:lnTo>
                      <a:pt x="2044" y="134"/>
                    </a:lnTo>
                    <a:lnTo>
                      <a:pt x="2055" y="133"/>
                    </a:lnTo>
                    <a:lnTo>
                      <a:pt x="2063" y="133"/>
                    </a:lnTo>
                    <a:lnTo>
                      <a:pt x="2066" y="133"/>
                    </a:lnTo>
                    <a:lnTo>
                      <a:pt x="2068" y="133"/>
                    </a:lnTo>
                    <a:lnTo>
                      <a:pt x="2068" y="133"/>
                    </a:lnTo>
                    <a:lnTo>
                      <a:pt x="2069" y="107"/>
                    </a:lnTo>
                    <a:lnTo>
                      <a:pt x="2069" y="90"/>
                    </a:lnTo>
                    <a:lnTo>
                      <a:pt x="2071" y="77"/>
                    </a:lnTo>
                    <a:lnTo>
                      <a:pt x="2071" y="71"/>
                    </a:lnTo>
                    <a:lnTo>
                      <a:pt x="2071" y="66"/>
                    </a:lnTo>
                    <a:lnTo>
                      <a:pt x="2071" y="65"/>
                    </a:lnTo>
                    <a:lnTo>
                      <a:pt x="2071" y="65"/>
                    </a:lnTo>
                    <a:lnTo>
                      <a:pt x="2046" y="64"/>
                    </a:lnTo>
                    <a:lnTo>
                      <a:pt x="2027" y="63"/>
                    </a:lnTo>
                    <a:lnTo>
                      <a:pt x="2016" y="63"/>
                    </a:lnTo>
                    <a:lnTo>
                      <a:pt x="2008" y="63"/>
                    </a:lnTo>
                    <a:lnTo>
                      <a:pt x="2005" y="63"/>
                    </a:lnTo>
                    <a:lnTo>
                      <a:pt x="2003" y="62"/>
                    </a:lnTo>
                    <a:lnTo>
                      <a:pt x="2003" y="62"/>
                    </a:lnTo>
                    <a:close/>
                    <a:moveTo>
                      <a:pt x="2237" y="0"/>
                    </a:moveTo>
                    <a:lnTo>
                      <a:pt x="2246" y="2"/>
                    </a:lnTo>
                    <a:lnTo>
                      <a:pt x="2256" y="3"/>
                    </a:lnTo>
                    <a:lnTo>
                      <a:pt x="2265" y="4"/>
                    </a:lnTo>
                    <a:lnTo>
                      <a:pt x="2271" y="6"/>
                    </a:lnTo>
                    <a:lnTo>
                      <a:pt x="2284" y="15"/>
                    </a:lnTo>
                    <a:lnTo>
                      <a:pt x="2294" y="22"/>
                    </a:lnTo>
                    <a:lnTo>
                      <a:pt x="2303" y="31"/>
                    </a:lnTo>
                    <a:lnTo>
                      <a:pt x="2324" y="62"/>
                    </a:lnTo>
                    <a:lnTo>
                      <a:pt x="2325" y="73"/>
                    </a:lnTo>
                    <a:lnTo>
                      <a:pt x="2326" y="85"/>
                    </a:lnTo>
                    <a:lnTo>
                      <a:pt x="2328" y="101"/>
                    </a:lnTo>
                    <a:lnTo>
                      <a:pt x="2326" y="135"/>
                    </a:lnTo>
                    <a:lnTo>
                      <a:pt x="2325" y="164"/>
                    </a:lnTo>
                    <a:lnTo>
                      <a:pt x="2324" y="186"/>
                    </a:lnTo>
                    <a:lnTo>
                      <a:pt x="2324" y="202"/>
                    </a:lnTo>
                    <a:lnTo>
                      <a:pt x="2323" y="214"/>
                    </a:lnTo>
                    <a:lnTo>
                      <a:pt x="2323" y="222"/>
                    </a:lnTo>
                    <a:lnTo>
                      <a:pt x="2321" y="227"/>
                    </a:lnTo>
                    <a:lnTo>
                      <a:pt x="2321" y="230"/>
                    </a:lnTo>
                    <a:lnTo>
                      <a:pt x="2321" y="231"/>
                    </a:lnTo>
                    <a:lnTo>
                      <a:pt x="2321" y="231"/>
                    </a:lnTo>
                    <a:lnTo>
                      <a:pt x="2320" y="227"/>
                    </a:lnTo>
                    <a:lnTo>
                      <a:pt x="2318" y="224"/>
                    </a:lnTo>
                    <a:lnTo>
                      <a:pt x="2316" y="221"/>
                    </a:lnTo>
                    <a:lnTo>
                      <a:pt x="2313" y="218"/>
                    </a:lnTo>
                    <a:lnTo>
                      <a:pt x="2308" y="215"/>
                    </a:lnTo>
                    <a:lnTo>
                      <a:pt x="2290" y="201"/>
                    </a:lnTo>
                    <a:lnTo>
                      <a:pt x="2287" y="201"/>
                    </a:lnTo>
                    <a:lnTo>
                      <a:pt x="2283" y="200"/>
                    </a:lnTo>
                    <a:lnTo>
                      <a:pt x="2279" y="198"/>
                    </a:lnTo>
                    <a:lnTo>
                      <a:pt x="2276" y="197"/>
                    </a:lnTo>
                    <a:lnTo>
                      <a:pt x="2273" y="197"/>
                    </a:lnTo>
                    <a:lnTo>
                      <a:pt x="2266" y="194"/>
                    </a:lnTo>
                    <a:lnTo>
                      <a:pt x="2259" y="193"/>
                    </a:lnTo>
                    <a:lnTo>
                      <a:pt x="2249" y="194"/>
                    </a:lnTo>
                    <a:lnTo>
                      <a:pt x="2106" y="194"/>
                    </a:lnTo>
                    <a:lnTo>
                      <a:pt x="1972" y="193"/>
                    </a:lnTo>
                    <a:lnTo>
                      <a:pt x="1844" y="192"/>
                    </a:lnTo>
                    <a:lnTo>
                      <a:pt x="1725" y="191"/>
                    </a:lnTo>
                    <a:lnTo>
                      <a:pt x="1614" y="191"/>
                    </a:lnTo>
                    <a:lnTo>
                      <a:pt x="1510" y="190"/>
                    </a:lnTo>
                    <a:lnTo>
                      <a:pt x="1413" y="190"/>
                    </a:lnTo>
                    <a:lnTo>
                      <a:pt x="1323" y="188"/>
                    </a:lnTo>
                    <a:lnTo>
                      <a:pt x="1240" y="188"/>
                    </a:lnTo>
                    <a:lnTo>
                      <a:pt x="1164" y="187"/>
                    </a:lnTo>
                    <a:lnTo>
                      <a:pt x="1092" y="187"/>
                    </a:lnTo>
                    <a:lnTo>
                      <a:pt x="1028" y="186"/>
                    </a:lnTo>
                    <a:lnTo>
                      <a:pt x="969" y="186"/>
                    </a:lnTo>
                    <a:lnTo>
                      <a:pt x="915" y="186"/>
                    </a:lnTo>
                    <a:lnTo>
                      <a:pt x="867" y="186"/>
                    </a:lnTo>
                    <a:lnTo>
                      <a:pt x="823" y="185"/>
                    </a:lnTo>
                    <a:lnTo>
                      <a:pt x="784" y="185"/>
                    </a:lnTo>
                    <a:lnTo>
                      <a:pt x="749" y="185"/>
                    </a:lnTo>
                    <a:lnTo>
                      <a:pt x="718" y="185"/>
                    </a:lnTo>
                    <a:lnTo>
                      <a:pt x="692" y="185"/>
                    </a:lnTo>
                    <a:lnTo>
                      <a:pt x="668" y="184"/>
                    </a:lnTo>
                    <a:lnTo>
                      <a:pt x="648" y="184"/>
                    </a:lnTo>
                    <a:lnTo>
                      <a:pt x="631" y="184"/>
                    </a:lnTo>
                    <a:lnTo>
                      <a:pt x="617" y="184"/>
                    </a:lnTo>
                    <a:lnTo>
                      <a:pt x="605" y="184"/>
                    </a:lnTo>
                    <a:lnTo>
                      <a:pt x="596" y="184"/>
                    </a:lnTo>
                    <a:lnTo>
                      <a:pt x="588" y="184"/>
                    </a:lnTo>
                    <a:lnTo>
                      <a:pt x="584" y="184"/>
                    </a:lnTo>
                    <a:lnTo>
                      <a:pt x="580" y="184"/>
                    </a:lnTo>
                    <a:lnTo>
                      <a:pt x="577" y="184"/>
                    </a:lnTo>
                    <a:lnTo>
                      <a:pt x="575" y="184"/>
                    </a:lnTo>
                    <a:lnTo>
                      <a:pt x="575" y="184"/>
                    </a:lnTo>
                    <a:lnTo>
                      <a:pt x="574" y="184"/>
                    </a:lnTo>
                    <a:lnTo>
                      <a:pt x="574" y="184"/>
                    </a:lnTo>
                    <a:lnTo>
                      <a:pt x="572" y="184"/>
                    </a:lnTo>
                    <a:lnTo>
                      <a:pt x="570" y="184"/>
                    </a:lnTo>
                    <a:lnTo>
                      <a:pt x="570" y="184"/>
                    </a:lnTo>
                    <a:lnTo>
                      <a:pt x="568" y="184"/>
                    </a:lnTo>
                    <a:lnTo>
                      <a:pt x="568" y="184"/>
                    </a:lnTo>
                    <a:lnTo>
                      <a:pt x="566" y="185"/>
                    </a:lnTo>
                    <a:lnTo>
                      <a:pt x="564" y="185"/>
                    </a:lnTo>
                    <a:lnTo>
                      <a:pt x="564" y="185"/>
                    </a:lnTo>
                    <a:lnTo>
                      <a:pt x="563" y="185"/>
                    </a:lnTo>
                    <a:lnTo>
                      <a:pt x="563" y="185"/>
                    </a:lnTo>
                    <a:lnTo>
                      <a:pt x="557" y="186"/>
                    </a:lnTo>
                    <a:lnTo>
                      <a:pt x="541" y="185"/>
                    </a:lnTo>
                    <a:lnTo>
                      <a:pt x="530" y="185"/>
                    </a:lnTo>
                    <a:lnTo>
                      <a:pt x="523" y="185"/>
                    </a:lnTo>
                    <a:lnTo>
                      <a:pt x="520" y="185"/>
                    </a:lnTo>
                    <a:lnTo>
                      <a:pt x="518" y="185"/>
                    </a:lnTo>
                    <a:lnTo>
                      <a:pt x="518" y="185"/>
                    </a:lnTo>
                    <a:lnTo>
                      <a:pt x="518" y="155"/>
                    </a:lnTo>
                    <a:lnTo>
                      <a:pt x="518" y="133"/>
                    </a:lnTo>
                    <a:lnTo>
                      <a:pt x="518" y="117"/>
                    </a:lnTo>
                    <a:lnTo>
                      <a:pt x="518" y="106"/>
                    </a:lnTo>
                    <a:lnTo>
                      <a:pt x="518" y="101"/>
                    </a:lnTo>
                    <a:lnTo>
                      <a:pt x="518" y="97"/>
                    </a:lnTo>
                    <a:lnTo>
                      <a:pt x="518" y="95"/>
                    </a:lnTo>
                    <a:lnTo>
                      <a:pt x="518" y="95"/>
                    </a:lnTo>
                    <a:lnTo>
                      <a:pt x="521" y="80"/>
                    </a:lnTo>
                    <a:lnTo>
                      <a:pt x="524" y="67"/>
                    </a:lnTo>
                    <a:lnTo>
                      <a:pt x="531" y="55"/>
                    </a:lnTo>
                    <a:lnTo>
                      <a:pt x="535" y="44"/>
                    </a:lnTo>
                    <a:lnTo>
                      <a:pt x="541" y="36"/>
                    </a:lnTo>
                    <a:lnTo>
                      <a:pt x="550" y="30"/>
                    </a:lnTo>
                    <a:lnTo>
                      <a:pt x="555" y="20"/>
                    </a:lnTo>
                    <a:lnTo>
                      <a:pt x="565" y="13"/>
                    </a:lnTo>
                    <a:lnTo>
                      <a:pt x="575" y="10"/>
                    </a:lnTo>
                    <a:lnTo>
                      <a:pt x="586" y="4"/>
                    </a:lnTo>
                    <a:lnTo>
                      <a:pt x="596" y="2"/>
                    </a:lnTo>
                    <a:lnTo>
                      <a:pt x="607" y="0"/>
                    </a:lnTo>
                    <a:lnTo>
                      <a:pt x="2237"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5" name="Group 14"/>
          <p:cNvGrpSpPr/>
          <p:nvPr/>
        </p:nvGrpSpPr>
        <p:grpSpPr>
          <a:xfrm>
            <a:off x="9046141" y="4723197"/>
            <a:ext cx="1387282" cy="1882495"/>
            <a:chOff x="9046542" y="4723370"/>
            <a:chExt cx="1387479" cy="1882762"/>
          </a:xfrm>
        </p:grpSpPr>
        <p:grpSp>
          <p:nvGrpSpPr>
            <p:cNvPr id="9" name="Group 8"/>
            <p:cNvGrpSpPr/>
            <p:nvPr/>
          </p:nvGrpSpPr>
          <p:grpSpPr>
            <a:xfrm>
              <a:off x="9046542" y="4723370"/>
              <a:ext cx="1387479" cy="1882762"/>
              <a:chOff x="8895710" y="4704320"/>
              <a:chExt cx="1387479" cy="1882762"/>
            </a:xfrm>
          </p:grpSpPr>
          <p:grpSp>
            <p:nvGrpSpPr>
              <p:cNvPr id="378" name="Group 377"/>
              <p:cNvGrpSpPr/>
              <p:nvPr/>
            </p:nvGrpSpPr>
            <p:grpSpPr>
              <a:xfrm>
                <a:off x="9061799" y="4704320"/>
                <a:ext cx="1221390" cy="1882762"/>
                <a:chOff x="8522533" y="3512012"/>
                <a:chExt cx="1480444" cy="2282101"/>
              </a:xfrm>
            </p:grpSpPr>
            <p:sp>
              <p:nvSpPr>
                <p:cNvPr id="380" name="Rectangle 379"/>
                <p:cNvSpPr/>
                <p:nvPr/>
              </p:nvSpPr>
              <p:spPr>
                <a:xfrm>
                  <a:off x="8522533" y="5561192"/>
                  <a:ext cx="546582" cy="232921"/>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grpSp>
          </p:grpSp>
          <p:sp>
            <p:nvSpPr>
              <p:cNvPr id="376" name="Rectangle 375"/>
              <p:cNvSpPr/>
              <p:nvPr/>
            </p:nvSpPr>
            <p:spPr>
              <a:xfrm>
                <a:off x="8895710" y="5379198"/>
                <a:ext cx="832929" cy="192162"/>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LOB Apps</a:t>
                </a:r>
              </a:p>
            </p:txBody>
          </p:sp>
          <p:grpSp>
            <p:nvGrpSpPr>
              <p:cNvPr id="8" name="Group 7"/>
              <p:cNvGrpSpPr/>
              <p:nvPr/>
            </p:nvGrpSpPr>
            <p:grpSpPr>
              <a:xfrm>
                <a:off x="8924232" y="4771449"/>
                <a:ext cx="789096" cy="583101"/>
                <a:chOff x="8924232" y="4771449"/>
                <a:chExt cx="789096" cy="583101"/>
              </a:xfrm>
            </p:grpSpPr>
            <p:sp>
              <p:nvSpPr>
                <p:cNvPr id="95" name="Rectangle 36"/>
                <p:cNvSpPr>
                  <a:spLocks noChangeArrowheads="1"/>
                </p:cNvSpPr>
                <p:nvPr/>
              </p:nvSpPr>
              <p:spPr bwMode="auto">
                <a:xfrm>
                  <a:off x="8924232" y="4771449"/>
                  <a:ext cx="789096" cy="583101"/>
                </a:xfrm>
                <a:prstGeom prst="rect">
                  <a:avLst/>
                </a:prstGeom>
                <a:noFill/>
                <a:ln w="317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6" name="Freeform 37"/>
                <p:cNvSpPr>
                  <a:spLocks noEditPoints="1"/>
                </p:cNvSpPr>
                <p:nvPr/>
              </p:nvSpPr>
              <p:spPr bwMode="auto">
                <a:xfrm>
                  <a:off x="8924232" y="4850572"/>
                  <a:ext cx="789096" cy="396209"/>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7" name="Freeform 38"/>
                <p:cNvSpPr>
                  <a:spLocks/>
                </p:cNvSpPr>
                <p:nvPr/>
              </p:nvSpPr>
              <p:spPr bwMode="auto">
                <a:xfrm>
                  <a:off x="8932815" y="4805413"/>
                  <a:ext cx="739258" cy="503360"/>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FFFF"/>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4" name="Group 13"/>
            <p:cNvGrpSpPr/>
            <p:nvPr/>
          </p:nvGrpSpPr>
          <p:grpSpPr>
            <a:xfrm>
              <a:off x="9064821" y="5642995"/>
              <a:ext cx="543741" cy="762486"/>
              <a:chOff x="8226354" y="5693963"/>
              <a:chExt cx="648704" cy="909675"/>
            </a:xfrm>
          </p:grpSpPr>
          <p:sp>
            <p:nvSpPr>
              <p:cNvPr id="130" name="Freeform 730"/>
              <p:cNvSpPr>
                <a:spLocks noEditPoints="1"/>
              </p:cNvSpPr>
              <p:nvPr/>
            </p:nvSpPr>
            <p:spPr bwMode="auto">
              <a:xfrm>
                <a:off x="8410469" y="5693963"/>
                <a:ext cx="464589" cy="909675"/>
              </a:xfrm>
              <a:custGeom>
                <a:avLst/>
                <a:gdLst>
                  <a:gd name="T0" fmla="*/ 2121 w 2429"/>
                  <a:gd name="T1" fmla="*/ 4239 h 4758"/>
                  <a:gd name="T2" fmla="*/ 268 w 2429"/>
                  <a:gd name="T3" fmla="*/ 4074 h 4758"/>
                  <a:gd name="T4" fmla="*/ 268 w 2429"/>
                  <a:gd name="T5" fmla="*/ 4278 h 4758"/>
                  <a:gd name="T6" fmla="*/ 307 w 2429"/>
                  <a:gd name="T7" fmla="*/ 3875 h 4758"/>
                  <a:gd name="T8" fmla="*/ 307 w 2429"/>
                  <a:gd name="T9" fmla="*/ 3749 h 4758"/>
                  <a:gd name="T10" fmla="*/ 677 w 2429"/>
                  <a:gd name="T11" fmla="*/ 3914 h 4758"/>
                  <a:gd name="T12" fmla="*/ 307 w 2429"/>
                  <a:gd name="T13" fmla="*/ 3386 h 4758"/>
                  <a:gd name="T14" fmla="*/ 638 w 2429"/>
                  <a:gd name="T15" fmla="*/ 3386 h 4758"/>
                  <a:gd name="T16" fmla="*/ 677 w 2429"/>
                  <a:gd name="T17" fmla="*/ 3347 h 4758"/>
                  <a:gd name="T18" fmla="*/ 268 w 2429"/>
                  <a:gd name="T19" fmla="*/ 3347 h 4758"/>
                  <a:gd name="T20" fmla="*/ 2160 w 2429"/>
                  <a:gd name="T21" fmla="*/ 1162 h 4758"/>
                  <a:gd name="T22" fmla="*/ 2121 w 2429"/>
                  <a:gd name="T23" fmla="*/ 1123 h 4758"/>
                  <a:gd name="T24" fmla="*/ 307 w 2429"/>
                  <a:gd name="T25" fmla="*/ 1123 h 4758"/>
                  <a:gd name="T26" fmla="*/ 268 w 2429"/>
                  <a:gd name="T27" fmla="*/ 1162 h 4758"/>
                  <a:gd name="T28" fmla="*/ 307 w 2429"/>
                  <a:gd name="T29" fmla="*/ 707 h 4758"/>
                  <a:gd name="T30" fmla="*/ 307 w 2429"/>
                  <a:gd name="T31" fmla="*/ 522 h 4758"/>
                  <a:gd name="T32" fmla="*/ 2160 w 2429"/>
                  <a:gd name="T33" fmla="*/ 746 h 4758"/>
                  <a:gd name="T34" fmla="*/ 336 w 2429"/>
                  <a:gd name="T35" fmla="*/ 0 h 4758"/>
                  <a:gd name="T36" fmla="*/ 2198 w 2429"/>
                  <a:gd name="T37" fmla="*/ 15 h 4758"/>
                  <a:gd name="T38" fmla="*/ 2329 w 2429"/>
                  <a:gd name="T39" fmla="*/ 88 h 4758"/>
                  <a:gd name="T40" fmla="*/ 2412 w 2429"/>
                  <a:gd name="T41" fmla="*/ 206 h 4758"/>
                  <a:gd name="T42" fmla="*/ 2429 w 2429"/>
                  <a:gd name="T43" fmla="*/ 4456 h 4758"/>
                  <a:gd name="T44" fmla="*/ 2391 w 2429"/>
                  <a:gd name="T45" fmla="*/ 4595 h 4758"/>
                  <a:gd name="T46" fmla="*/ 2290 w 2429"/>
                  <a:gd name="T47" fmla="*/ 4700 h 4758"/>
                  <a:gd name="T48" fmla="*/ 2146 w 2429"/>
                  <a:gd name="T49" fmla="*/ 4754 h 4758"/>
                  <a:gd name="T50" fmla="*/ 283 w 2429"/>
                  <a:gd name="T51" fmla="*/ 4754 h 4758"/>
                  <a:gd name="T52" fmla="*/ 138 w 2429"/>
                  <a:gd name="T53" fmla="*/ 4700 h 4758"/>
                  <a:gd name="T54" fmla="*/ 37 w 2429"/>
                  <a:gd name="T55" fmla="*/ 4595 h 4758"/>
                  <a:gd name="T56" fmla="*/ 0 w 2429"/>
                  <a:gd name="T57" fmla="*/ 4456 h 4758"/>
                  <a:gd name="T58" fmla="*/ 39 w 2429"/>
                  <a:gd name="T59" fmla="*/ 4456 h 4758"/>
                  <a:gd name="T60" fmla="*/ 72 w 2429"/>
                  <a:gd name="T61" fmla="*/ 4577 h 4758"/>
                  <a:gd name="T62" fmla="*/ 161 w 2429"/>
                  <a:gd name="T63" fmla="*/ 4668 h 4758"/>
                  <a:gd name="T64" fmla="*/ 289 w 2429"/>
                  <a:gd name="T65" fmla="*/ 4716 h 4758"/>
                  <a:gd name="T66" fmla="*/ 2140 w 2429"/>
                  <a:gd name="T67" fmla="*/ 4716 h 4758"/>
                  <a:gd name="T68" fmla="*/ 2267 w 2429"/>
                  <a:gd name="T69" fmla="*/ 4668 h 4758"/>
                  <a:gd name="T70" fmla="*/ 2357 w 2429"/>
                  <a:gd name="T71" fmla="*/ 4577 h 4758"/>
                  <a:gd name="T72" fmla="*/ 2390 w 2429"/>
                  <a:gd name="T73" fmla="*/ 4456 h 4758"/>
                  <a:gd name="T74" fmla="*/ 2374 w 2429"/>
                  <a:gd name="T75" fmla="*/ 218 h 4758"/>
                  <a:gd name="T76" fmla="*/ 2302 w 2429"/>
                  <a:gd name="T77" fmla="*/ 115 h 4758"/>
                  <a:gd name="T78" fmla="*/ 2186 w 2429"/>
                  <a:gd name="T79" fmla="*/ 52 h 4758"/>
                  <a:gd name="T80" fmla="*/ 336 w 2429"/>
                  <a:gd name="T81" fmla="*/ 39 h 4758"/>
                  <a:gd name="T82" fmla="*/ 200 w 2429"/>
                  <a:gd name="T83" fmla="*/ 68 h 4758"/>
                  <a:gd name="T84" fmla="*/ 96 w 2429"/>
                  <a:gd name="T85" fmla="*/ 147 h 4758"/>
                  <a:gd name="T86" fmla="*/ 43 w 2429"/>
                  <a:gd name="T87" fmla="*/ 258 h 4758"/>
                  <a:gd name="T88" fmla="*/ 0 w 2429"/>
                  <a:gd name="T89" fmla="*/ 1318 h 4758"/>
                  <a:gd name="T90" fmla="*/ 17 w 2429"/>
                  <a:gd name="T91" fmla="*/ 206 h 4758"/>
                  <a:gd name="T92" fmla="*/ 98 w 2429"/>
                  <a:gd name="T93" fmla="*/ 88 h 4758"/>
                  <a:gd name="T94" fmla="*/ 231 w 2429"/>
                  <a:gd name="T95" fmla="*/ 15 h 4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9" h="4758">
                    <a:moveTo>
                      <a:pt x="307" y="4113"/>
                    </a:moveTo>
                    <a:lnTo>
                      <a:pt x="307" y="4239"/>
                    </a:lnTo>
                    <a:lnTo>
                      <a:pt x="2121" y="4239"/>
                    </a:lnTo>
                    <a:lnTo>
                      <a:pt x="2121" y="4113"/>
                    </a:lnTo>
                    <a:lnTo>
                      <a:pt x="307" y="4113"/>
                    </a:lnTo>
                    <a:close/>
                    <a:moveTo>
                      <a:pt x="268" y="4074"/>
                    </a:moveTo>
                    <a:lnTo>
                      <a:pt x="2160" y="4074"/>
                    </a:lnTo>
                    <a:lnTo>
                      <a:pt x="2160" y="4278"/>
                    </a:lnTo>
                    <a:lnTo>
                      <a:pt x="268" y="4278"/>
                    </a:lnTo>
                    <a:lnTo>
                      <a:pt x="268" y="4074"/>
                    </a:lnTo>
                    <a:close/>
                    <a:moveTo>
                      <a:pt x="307" y="3749"/>
                    </a:moveTo>
                    <a:lnTo>
                      <a:pt x="307" y="3875"/>
                    </a:lnTo>
                    <a:lnTo>
                      <a:pt x="638" y="3875"/>
                    </a:lnTo>
                    <a:lnTo>
                      <a:pt x="638" y="3749"/>
                    </a:lnTo>
                    <a:lnTo>
                      <a:pt x="307" y="3749"/>
                    </a:lnTo>
                    <a:close/>
                    <a:moveTo>
                      <a:pt x="268" y="3710"/>
                    </a:moveTo>
                    <a:lnTo>
                      <a:pt x="677" y="3710"/>
                    </a:lnTo>
                    <a:lnTo>
                      <a:pt x="677" y="3914"/>
                    </a:lnTo>
                    <a:lnTo>
                      <a:pt x="268" y="3914"/>
                    </a:lnTo>
                    <a:lnTo>
                      <a:pt x="268" y="3710"/>
                    </a:lnTo>
                    <a:close/>
                    <a:moveTo>
                      <a:pt x="307" y="3386"/>
                    </a:moveTo>
                    <a:lnTo>
                      <a:pt x="307" y="3510"/>
                    </a:lnTo>
                    <a:lnTo>
                      <a:pt x="638" y="3510"/>
                    </a:lnTo>
                    <a:lnTo>
                      <a:pt x="638" y="3386"/>
                    </a:lnTo>
                    <a:lnTo>
                      <a:pt x="307" y="3386"/>
                    </a:lnTo>
                    <a:close/>
                    <a:moveTo>
                      <a:pt x="268" y="3347"/>
                    </a:moveTo>
                    <a:lnTo>
                      <a:pt x="677" y="3347"/>
                    </a:lnTo>
                    <a:lnTo>
                      <a:pt x="677" y="3549"/>
                    </a:lnTo>
                    <a:lnTo>
                      <a:pt x="268" y="3549"/>
                    </a:lnTo>
                    <a:lnTo>
                      <a:pt x="268" y="3347"/>
                    </a:lnTo>
                    <a:close/>
                    <a:moveTo>
                      <a:pt x="268" y="877"/>
                    </a:moveTo>
                    <a:lnTo>
                      <a:pt x="2160" y="877"/>
                    </a:lnTo>
                    <a:lnTo>
                      <a:pt x="2160" y="1162"/>
                    </a:lnTo>
                    <a:lnTo>
                      <a:pt x="1737" y="1162"/>
                    </a:lnTo>
                    <a:lnTo>
                      <a:pt x="1737" y="1123"/>
                    </a:lnTo>
                    <a:lnTo>
                      <a:pt x="2121" y="1123"/>
                    </a:lnTo>
                    <a:lnTo>
                      <a:pt x="2121" y="916"/>
                    </a:lnTo>
                    <a:lnTo>
                      <a:pt x="307" y="916"/>
                    </a:lnTo>
                    <a:lnTo>
                      <a:pt x="307" y="1123"/>
                    </a:lnTo>
                    <a:lnTo>
                      <a:pt x="404" y="1123"/>
                    </a:lnTo>
                    <a:lnTo>
                      <a:pt x="404" y="1162"/>
                    </a:lnTo>
                    <a:lnTo>
                      <a:pt x="268" y="1162"/>
                    </a:lnTo>
                    <a:lnTo>
                      <a:pt x="268" y="877"/>
                    </a:lnTo>
                    <a:close/>
                    <a:moveTo>
                      <a:pt x="307" y="522"/>
                    </a:moveTo>
                    <a:lnTo>
                      <a:pt x="307" y="707"/>
                    </a:lnTo>
                    <a:lnTo>
                      <a:pt x="2121" y="707"/>
                    </a:lnTo>
                    <a:lnTo>
                      <a:pt x="2121" y="522"/>
                    </a:lnTo>
                    <a:lnTo>
                      <a:pt x="307" y="522"/>
                    </a:lnTo>
                    <a:close/>
                    <a:moveTo>
                      <a:pt x="268" y="482"/>
                    </a:moveTo>
                    <a:lnTo>
                      <a:pt x="2160" y="482"/>
                    </a:lnTo>
                    <a:lnTo>
                      <a:pt x="2160" y="746"/>
                    </a:lnTo>
                    <a:lnTo>
                      <a:pt x="268" y="746"/>
                    </a:lnTo>
                    <a:lnTo>
                      <a:pt x="268" y="482"/>
                    </a:lnTo>
                    <a:close/>
                    <a:moveTo>
                      <a:pt x="336" y="0"/>
                    </a:moveTo>
                    <a:lnTo>
                      <a:pt x="2091" y="0"/>
                    </a:lnTo>
                    <a:lnTo>
                      <a:pt x="2146" y="4"/>
                    </a:lnTo>
                    <a:lnTo>
                      <a:pt x="2198" y="15"/>
                    </a:lnTo>
                    <a:lnTo>
                      <a:pt x="2247" y="33"/>
                    </a:lnTo>
                    <a:lnTo>
                      <a:pt x="2290" y="57"/>
                    </a:lnTo>
                    <a:lnTo>
                      <a:pt x="2329" y="88"/>
                    </a:lnTo>
                    <a:lnTo>
                      <a:pt x="2364" y="124"/>
                    </a:lnTo>
                    <a:lnTo>
                      <a:pt x="2391" y="163"/>
                    </a:lnTo>
                    <a:lnTo>
                      <a:pt x="2412" y="206"/>
                    </a:lnTo>
                    <a:lnTo>
                      <a:pt x="2425" y="253"/>
                    </a:lnTo>
                    <a:lnTo>
                      <a:pt x="2429" y="302"/>
                    </a:lnTo>
                    <a:lnTo>
                      <a:pt x="2429" y="4456"/>
                    </a:lnTo>
                    <a:lnTo>
                      <a:pt x="2425" y="4505"/>
                    </a:lnTo>
                    <a:lnTo>
                      <a:pt x="2412" y="4551"/>
                    </a:lnTo>
                    <a:lnTo>
                      <a:pt x="2391" y="4595"/>
                    </a:lnTo>
                    <a:lnTo>
                      <a:pt x="2364" y="4634"/>
                    </a:lnTo>
                    <a:lnTo>
                      <a:pt x="2329" y="4670"/>
                    </a:lnTo>
                    <a:lnTo>
                      <a:pt x="2290" y="4700"/>
                    </a:lnTo>
                    <a:lnTo>
                      <a:pt x="2247" y="4725"/>
                    </a:lnTo>
                    <a:lnTo>
                      <a:pt x="2198" y="4742"/>
                    </a:lnTo>
                    <a:lnTo>
                      <a:pt x="2146" y="4754"/>
                    </a:lnTo>
                    <a:lnTo>
                      <a:pt x="2091" y="4758"/>
                    </a:lnTo>
                    <a:lnTo>
                      <a:pt x="336" y="4758"/>
                    </a:lnTo>
                    <a:lnTo>
                      <a:pt x="283" y="4754"/>
                    </a:lnTo>
                    <a:lnTo>
                      <a:pt x="231" y="4742"/>
                    </a:lnTo>
                    <a:lnTo>
                      <a:pt x="182" y="4725"/>
                    </a:lnTo>
                    <a:lnTo>
                      <a:pt x="138" y="4700"/>
                    </a:lnTo>
                    <a:lnTo>
                      <a:pt x="98" y="4670"/>
                    </a:lnTo>
                    <a:lnTo>
                      <a:pt x="65" y="4634"/>
                    </a:lnTo>
                    <a:lnTo>
                      <a:pt x="37" y="4595"/>
                    </a:lnTo>
                    <a:lnTo>
                      <a:pt x="17" y="4551"/>
                    </a:lnTo>
                    <a:lnTo>
                      <a:pt x="4" y="4505"/>
                    </a:lnTo>
                    <a:lnTo>
                      <a:pt x="0" y="4456"/>
                    </a:lnTo>
                    <a:lnTo>
                      <a:pt x="0" y="3351"/>
                    </a:lnTo>
                    <a:lnTo>
                      <a:pt x="39" y="3351"/>
                    </a:lnTo>
                    <a:lnTo>
                      <a:pt x="39" y="4456"/>
                    </a:lnTo>
                    <a:lnTo>
                      <a:pt x="43" y="4499"/>
                    </a:lnTo>
                    <a:lnTo>
                      <a:pt x="53" y="4540"/>
                    </a:lnTo>
                    <a:lnTo>
                      <a:pt x="72" y="4577"/>
                    </a:lnTo>
                    <a:lnTo>
                      <a:pt x="96" y="4612"/>
                    </a:lnTo>
                    <a:lnTo>
                      <a:pt x="125" y="4642"/>
                    </a:lnTo>
                    <a:lnTo>
                      <a:pt x="161" y="4668"/>
                    </a:lnTo>
                    <a:lnTo>
                      <a:pt x="200" y="4690"/>
                    </a:lnTo>
                    <a:lnTo>
                      <a:pt x="242" y="4706"/>
                    </a:lnTo>
                    <a:lnTo>
                      <a:pt x="289" y="4716"/>
                    </a:lnTo>
                    <a:lnTo>
                      <a:pt x="336" y="4719"/>
                    </a:lnTo>
                    <a:lnTo>
                      <a:pt x="2091" y="4719"/>
                    </a:lnTo>
                    <a:lnTo>
                      <a:pt x="2140" y="4716"/>
                    </a:lnTo>
                    <a:lnTo>
                      <a:pt x="2186" y="4706"/>
                    </a:lnTo>
                    <a:lnTo>
                      <a:pt x="2228" y="4690"/>
                    </a:lnTo>
                    <a:lnTo>
                      <a:pt x="2267" y="4668"/>
                    </a:lnTo>
                    <a:lnTo>
                      <a:pt x="2302" y="4642"/>
                    </a:lnTo>
                    <a:lnTo>
                      <a:pt x="2332" y="4612"/>
                    </a:lnTo>
                    <a:lnTo>
                      <a:pt x="2357" y="4577"/>
                    </a:lnTo>
                    <a:lnTo>
                      <a:pt x="2374" y="4540"/>
                    </a:lnTo>
                    <a:lnTo>
                      <a:pt x="2386" y="4499"/>
                    </a:lnTo>
                    <a:lnTo>
                      <a:pt x="2390" y="4456"/>
                    </a:lnTo>
                    <a:lnTo>
                      <a:pt x="2390" y="302"/>
                    </a:lnTo>
                    <a:lnTo>
                      <a:pt x="2386" y="258"/>
                    </a:lnTo>
                    <a:lnTo>
                      <a:pt x="2374" y="218"/>
                    </a:lnTo>
                    <a:lnTo>
                      <a:pt x="2357" y="180"/>
                    </a:lnTo>
                    <a:lnTo>
                      <a:pt x="2332" y="147"/>
                    </a:lnTo>
                    <a:lnTo>
                      <a:pt x="2302" y="115"/>
                    </a:lnTo>
                    <a:lnTo>
                      <a:pt x="2267" y="89"/>
                    </a:lnTo>
                    <a:lnTo>
                      <a:pt x="2228" y="68"/>
                    </a:lnTo>
                    <a:lnTo>
                      <a:pt x="2186" y="52"/>
                    </a:lnTo>
                    <a:lnTo>
                      <a:pt x="2140" y="41"/>
                    </a:lnTo>
                    <a:lnTo>
                      <a:pt x="2091" y="39"/>
                    </a:lnTo>
                    <a:lnTo>
                      <a:pt x="336" y="39"/>
                    </a:lnTo>
                    <a:lnTo>
                      <a:pt x="289" y="41"/>
                    </a:lnTo>
                    <a:lnTo>
                      <a:pt x="242" y="52"/>
                    </a:lnTo>
                    <a:lnTo>
                      <a:pt x="200" y="68"/>
                    </a:lnTo>
                    <a:lnTo>
                      <a:pt x="161" y="89"/>
                    </a:lnTo>
                    <a:lnTo>
                      <a:pt x="125" y="115"/>
                    </a:lnTo>
                    <a:lnTo>
                      <a:pt x="96" y="147"/>
                    </a:lnTo>
                    <a:lnTo>
                      <a:pt x="72" y="180"/>
                    </a:lnTo>
                    <a:lnTo>
                      <a:pt x="53" y="218"/>
                    </a:lnTo>
                    <a:lnTo>
                      <a:pt x="43" y="258"/>
                    </a:lnTo>
                    <a:lnTo>
                      <a:pt x="39" y="302"/>
                    </a:lnTo>
                    <a:lnTo>
                      <a:pt x="39" y="1318"/>
                    </a:lnTo>
                    <a:lnTo>
                      <a:pt x="0" y="1318"/>
                    </a:lnTo>
                    <a:lnTo>
                      <a:pt x="0" y="302"/>
                    </a:lnTo>
                    <a:lnTo>
                      <a:pt x="4" y="253"/>
                    </a:lnTo>
                    <a:lnTo>
                      <a:pt x="17" y="206"/>
                    </a:lnTo>
                    <a:lnTo>
                      <a:pt x="37" y="163"/>
                    </a:lnTo>
                    <a:lnTo>
                      <a:pt x="65" y="124"/>
                    </a:lnTo>
                    <a:lnTo>
                      <a:pt x="98" y="88"/>
                    </a:lnTo>
                    <a:lnTo>
                      <a:pt x="138" y="57"/>
                    </a:lnTo>
                    <a:lnTo>
                      <a:pt x="182" y="33"/>
                    </a:lnTo>
                    <a:lnTo>
                      <a:pt x="231" y="15"/>
                    </a:lnTo>
                    <a:lnTo>
                      <a:pt x="283" y="4"/>
                    </a:lnTo>
                    <a:lnTo>
                      <a:pt x="33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31" name="Freeform 731"/>
              <p:cNvSpPr>
                <a:spLocks noEditPoints="1"/>
              </p:cNvSpPr>
              <p:nvPr/>
            </p:nvSpPr>
            <p:spPr bwMode="auto">
              <a:xfrm>
                <a:off x="8226354" y="5878651"/>
                <a:ext cx="543741" cy="465735"/>
              </a:xfrm>
              <a:custGeom>
                <a:avLst/>
                <a:gdLst>
                  <a:gd name="T0" fmla="*/ 263 w 2844"/>
                  <a:gd name="T1" fmla="*/ 611 h 2438"/>
                  <a:gd name="T2" fmla="*/ 250 w 2844"/>
                  <a:gd name="T3" fmla="*/ 747 h 2438"/>
                  <a:gd name="T4" fmla="*/ 231 w 2844"/>
                  <a:gd name="T5" fmla="*/ 1425 h 2438"/>
                  <a:gd name="T6" fmla="*/ 2588 w 2844"/>
                  <a:gd name="T7" fmla="*/ 2321 h 2438"/>
                  <a:gd name="T8" fmla="*/ 2665 w 2844"/>
                  <a:gd name="T9" fmla="*/ 2292 h 2438"/>
                  <a:gd name="T10" fmla="*/ 2718 w 2844"/>
                  <a:gd name="T11" fmla="*/ 1401 h 2438"/>
                  <a:gd name="T12" fmla="*/ 2730 w 2844"/>
                  <a:gd name="T13" fmla="*/ 1253 h 2438"/>
                  <a:gd name="T14" fmla="*/ 2746 w 2844"/>
                  <a:gd name="T15" fmla="*/ 1008 h 2438"/>
                  <a:gd name="T16" fmla="*/ 2749 w 2844"/>
                  <a:gd name="T17" fmla="*/ 780 h 2438"/>
                  <a:gd name="T18" fmla="*/ 2721 w 2844"/>
                  <a:gd name="T19" fmla="*/ 679 h 2438"/>
                  <a:gd name="T20" fmla="*/ 2444 w 2844"/>
                  <a:gd name="T21" fmla="*/ 77 h 2438"/>
                  <a:gd name="T22" fmla="*/ 1506 w 2844"/>
                  <a:gd name="T23" fmla="*/ 81 h 2438"/>
                  <a:gd name="T24" fmla="*/ 1450 w 2844"/>
                  <a:gd name="T25" fmla="*/ 149 h 2438"/>
                  <a:gd name="T26" fmla="*/ 1438 w 2844"/>
                  <a:gd name="T27" fmla="*/ 251 h 2438"/>
                  <a:gd name="T28" fmla="*/ 1344 w 2844"/>
                  <a:gd name="T29" fmla="*/ 376 h 2438"/>
                  <a:gd name="T30" fmla="*/ 124 w 2844"/>
                  <a:gd name="T31" fmla="*/ 405 h 2438"/>
                  <a:gd name="T32" fmla="*/ 79 w 2844"/>
                  <a:gd name="T33" fmla="*/ 517 h 2438"/>
                  <a:gd name="T34" fmla="*/ 78 w 2844"/>
                  <a:gd name="T35" fmla="*/ 661 h 2438"/>
                  <a:gd name="T36" fmla="*/ 79 w 2844"/>
                  <a:gd name="T37" fmla="*/ 2022 h 2438"/>
                  <a:gd name="T38" fmla="*/ 72 w 2844"/>
                  <a:gd name="T39" fmla="*/ 2179 h 2438"/>
                  <a:gd name="T40" fmla="*/ 104 w 2844"/>
                  <a:gd name="T41" fmla="*/ 2328 h 2438"/>
                  <a:gd name="T42" fmla="*/ 179 w 2844"/>
                  <a:gd name="T43" fmla="*/ 655 h 2438"/>
                  <a:gd name="T44" fmla="*/ 214 w 2844"/>
                  <a:gd name="T45" fmla="*/ 527 h 2438"/>
                  <a:gd name="T46" fmla="*/ 344 w 2844"/>
                  <a:gd name="T47" fmla="*/ 478 h 2438"/>
                  <a:gd name="T48" fmla="*/ 2294 w 2844"/>
                  <a:gd name="T49" fmla="*/ 579 h 2438"/>
                  <a:gd name="T50" fmla="*/ 2731 w 2844"/>
                  <a:gd name="T51" fmla="*/ 598 h 2438"/>
                  <a:gd name="T52" fmla="*/ 2756 w 2844"/>
                  <a:gd name="T53" fmla="*/ 482 h 2438"/>
                  <a:gd name="T54" fmla="*/ 2710 w 2844"/>
                  <a:gd name="T55" fmla="*/ 382 h 2438"/>
                  <a:gd name="T56" fmla="*/ 2642 w 2844"/>
                  <a:gd name="T57" fmla="*/ 323 h 2438"/>
                  <a:gd name="T58" fmla="*/ 2620 w 2844"/>
                  <a:gd name="T59" fmla="*/ 168 h 2438"/>
                  <a:gd name="T60" fmla="*/ 2557 w 2844"/>
                  <a:gd name="T61" fmla="*/ 89 h 2438"/>
                  <a:gd name="T62" fmla="*/ 1630 w 2844"/>
                  <a:gd name="T63" fmla="*/ 0 h 2438"/>
                  <a:gd name="T64" fmla="*/ 2632 w 2844"/>
                  <a:gd name="T65" fmla="*/ 37 h 2438"/>
                  <a:gd name="T66" fmla="*/ 2700 w 2844"/>
                  <a:gd name="T67" fmla="*/ 200 h 2438"/>
                  <a:gd name="T68" fmla="*/ 2733 w 2844"/>
                  <a:gd name="T69" fmla="*/ 310 h 2438"/>
                  <a:gd name="T70" fmla="*/ 2792 w 2844"/>
                  <a:gd name="T71" fmla="*/ 349 h 2438"/>
                  <a:gd name="T72" fmla="*/ 2843 w 2844"/>
                  <a:gd name="T73" fmla="*/ 535 h 2438"/>
                  <a:gd name="T74" fmla="*/ 2834 w 2844"/>
                  <a:gd name="T75" fmla="*/ 762 h 2438"/>
                  <a:gd name="T76" fmla="*/ 2760 w 2844"/>
                  <a:gd name="T77" fmla="*/ 2077 h 2438"/>
                  <a:gd name="T78" fmla="*/ 2756 w 2844"/>
                  <a:gd name="T79" fmla="*/ 2218 h 2438"/>
                  <a:gd name="T80" fmla="*/ 2716 w 2844"/>
                  <a:gd name="T81" fmla="*/ 2353 h 2438"/>
                  <a:gd name="T82" fmla="*/ 2570 w 2844"/>
                  <a:gd name="T83" fmla="*/ 2402 h 2438"/>
                  <a:gd name="T84" fmla="*/ 117 w 2844"/>
                  <a:gd name="T85" fmla="*/ 2438 h 2438"/>
                  <a:gd name="T86" fmla="*/ 32 w 2844"/>
                  <a:gd name="T87" fmla="*/ 2351 h 2438"/>
                  <a:gd name="T88" fmla="*/ 3 w 2844"/>
                  <a:gd name="T89" fmla="*/ 768 h 2438"/>
                  <a:gd name="T90" fmla="*/ 0 w 2844"/>
                  <a:gd name="T91" fmla="*/ 603 h 2438"/>
                  <a:gd name="T92" fmla="*/ 20 w 2844"/>
                  <a:gd name="T93" fmla="*/ 443 h 2438"/>
                  <a:gd name="T94" fmla="*/ 110 w 2844"/>
                  <a:gd name="T95" fmla="*/ 334 h 2438"/>
                  <a:gd name="T96" fmla="*/ 1293 w 2844"/>
                  <a:gd name="T97" fmla="*/ 311 h 2438"/>
                  <a:gd name="T98" fmla="*/ 1354 w 2844"/>
                  <a:gd name="T99" fmla="*/ 242 h 2438"/>
                  <a:gd name="T100" fmla="*/ 1373 w 2844"/>
                  <a:gd name="T101" fmla="*/ 120 h 2438"/>
                  <a:gd name="T102" fmla="*/ 1463 w 2844"/>
                  <a:gd name="T103" fmla="*/ 21 h 2438"/>
                  <a:gd name="T104" fmla="*/ 1600 w 2844"/>
                  <a:gd name="T105"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4" h="2438">
                    <a:moveTo>
                      <a:pt x="314" y="557"/>
                    </a:moveTo>
                    <a:lnTo>
                      <a:pt x="296" y="561"/>
                    </a:lnTo>
                    <a:lnTo>
                      <a:pt x="282" y="573"/>
                    </a:lnTo>
                    <a:lnTo>
                      <a:pt x="270" y="590"/>
                    </a:lnTo>
                    <a:lnTo>
                      <a:pt x="263" y="611"/>
                    </a:lnTo>
                    <a:lnTo>
                      <a:pt x="257" y="635"/>
                    </a:lnTo>
                    <a:lnTo>
                      <a:pt x="253" y="663"/>
                    </a:lnTo>
                    <a:lnTo>
                      <a:pt x="250" y="690"/>
                    </a:lnTo>
                    <a:lnTo>
                      <a:pt x="250" y="719"/>
                    </a:lnTo>
                    <a:lnTo>
                      <a:pt x="250" y="747"/>
                    </a:lnTo>
                    <a:lnTo>
                      <a:pt x="250" y="773"/>
                    </a:lnTo>
                    <a:lnTo>
                      <a:pt x="251" y="796"/>
                    </a:lnTo>
                    <a:lnTo>
                      <a:pt x="251" y="816"/>
                    </a:lnTo>
                    <a:lnTo>
                      <a:pt x="251" y="830"/>
                    </a:lnTo>
                    <a:lnTo>
                      <a:pt x="231" y="1425"/>
                    </a:lnTo>
                    <a:lnTo>
                      <a:pt x="198" y="2359"/>
                    </a:lnTo>
                    <a:lnTo>
                      <a:pt x="1765" y="2334"/>
                    </a:lnTo>
                    <a:lnTo>
                      <a:pt x="2551" y="2321"/>
                    </a:lnTo>
                    <a:lnTo>
                      <a:pt x="2570" y="2321"/>
                    </a:lnTo>
                    <a:lnTo>
                      <a:pt x="2588" y="2321"/>
                    </a:lnTo>
                    <a:lnTo>
                      <a:pt x="2607" y="2321"/>
                    </a:lnTo>
                    <a:lnTo>
                      <a:pt x="2624" y="2318"/>
                    </a:lnTo>
                    <a:lnTo>
                      <a:pt x="2640" y="2314"/>
                    </a:lnTo>
                    <a:lnTo>
                      <a:pt x="2653" y="2305"/>
                    </a:lnTo>
                    <a:lnTo>
                      <a:pt x="2665" y="2292"/>
                    </a:lnTo>
                    <a:lnTo>
                      <a:pt x="2671" y="2275"/>
                    </a:lnTo>
                    <a:lnTo>
                      <a:pt x="2674" y="2252"/>
                    </a:lnTo>
                    <a:lnTo>
                      <a:pt x="2677" y="2191"/>
                    </a:lnTo>
                    <a:lnTo>
                      <a:pt x="2697" y="1796"/>
                    </a:lnTo>
                    <a:lnTo>
                      <a:pt x="2718" y="1401"/>
                    </a:lnTo>
                    <a:lnTo>
                      <a:pt x="2718" y="1384"/>
                    </a:lnTo>
                    <a:lnTo>
                      <a:pt x="2721" y="1360"/>
                    </a:lnTo>
                    <a:lnTo>
                      <a:pt x="2723" y="1329"/>
                    </a:lnTo>
                    <a:lnTo>
                      <a:pt x="2726" y="1293"/>
                    </a:lnTo>
                    <a:lnTo>
                      <a:pt x="2730" y="1253"/>
                    </a:lnTo>
                    <a:lnTo>
                      <a:pt x="2733" y="1208"/>
                    </a:lnTo>
                    <a:lnTo>
                      <a:pt x="2737" y="1160"/>
                    </a:lnTo>
                    <a:lnTo>
                      <a:pt x="2740" y="1111"/>
                    </a:lnTo>
                    <a:lnTo>
                      <a:pt x="2743" y="1060"/>
                    </a:lnTo>
                    <a:lnTo>
                      <a:pt x="2746" y="1008"/>
                    </a:lnTo>
                    <a:lnTo>
                      <a:pt x="2749" y="958"/>
                    </a:lnTo>
                    <a:lnTo>
                      <a:pt x="2750" y="910"/>
                    </a:lnTo>
                    <a:lnTo>
                      <a:pt x="2750" y="862"/>
                    </a:lnTo>
                    <a:lnTo>
                      <a:pt x="2750" y="819"/>
                    </a:lnTo>
                    <a:lnTo>
                      <a:pt x="2749" y="780"/>
                    </a:lnTo>
                    <a:lnTo>
                      <a:pt x="2747" y="747"/>
                    </a:lnTo>
                    <a:lnTo>
                      <a:pt x="2743" y="718"/>
                    </a:lnTo>
                    <a:lnTo>
                      <a:pt x="2737" y="696"/>
                    </a:lnTo>
                    <a:lnTo>
                      <a:pt x="2730" y="683"/>
                    </a:lnTo>
                    <a:lnTo>
                      <a:pt x="2721" y="679"/>
                    </a:lnTo>
                    <a:lnTo>
                      <a:pt x="2531" y="668"/>
                    </a:lnTo>
                    <a:lnTo>
                      <a:pt x="620" y="573"/>
                    </a:lnTo>
                    <a:lnTo>
                      <a:pt x="314" y="557"/>
                    </a:lnTo>
                    <a:close/>
                    <a:moveTo>
                      <a:pt x="2467" y="77"/>
                    </a:moveTo>
                    <a:lnTo>
                      <a:pt x="2444" y="77"/>
                    </a:lnTo>
                    <a:lnTo>
                      <a:pt x="2419" y="79"/>
                    </a:lnTo>
                    <a:lnTo>
                      <a:pt x="2396" y="79"/>
                    </a:lnTo>
                    <a:lnTo>
                      <a:pt x="2373" y="80"/>
                    </a:lnTo>
                    <a:lnTo>
                      <a:pt x="1529" y="80"/>
                    </a:lnTo>
                    <a:lnTo>
                      <a:pt x="1506" y="81"/>
                    </a:lnTo>
                    <a:lnTo>
                      <a:pt x="1487" y="89"/>
                    </a:lnTo>
                    <a:lnTo>
                      <a:pt x="1473" y="100"/>
                    </a:lnTo>
                    <a:lnTo>
                      <a:pt x="1463" y="113"/>
                    </a:lnTo>
                    <a:lnTo>
                      <a:pt x="1455" y="131"/>
                    </a:lnTo>
                    <a:lnTo>
                      <a:pt x="1450" y="149"/>
                    </a:lnTo>
                    <a:lnTo>
                      <a:pt x="1447" y="170"/>
                    </a:lnTo>
                    <a:lnTo>
                      <a:pt x="1444" y="190"/>
                    </a:lnTo>
                    <a:lnTo>
                      <a:pt x="1442" y="212"/>
                    </a:lnTo>
                    <a:lnTo>
                      <a:pt x="1441" y="232"/>
                    </a:lnTo>
                    <a:lnTo>
                      <a:pt x="1438" y="251"/>
                    </a:lnTo>
                    <a:lnTo>
                      <a:pt x="1434" y="268"/>
                    </a:lnTo>
                    <a:lnTo>
                      <a:pt x="1419" y="303"/>
                    </a:lnTo>
                    <a:lnTo>
                      <a:pt x="1399" y="333"/>
                    </a:lnTo>
                    <a:lnTo>
                      <a:pt x="1374" y="358"/>
                    </a:lnTo>
                    <a:lnTo>
                      <a:pt x="1344" y="376"/>
                    </a:lnTo>
                    <a:lnTo>
                      <a:pt x="1311" y="388"/>
                    </a:lnTo>
                    <a:lnTo>
                      <a:pt x="1273" y="392"/>
                    </a:lnTo>
                    <a:lnTo>
                      <a:pt x="163" y="392"/>
                    </a:lnTo>
                    <a:lnTo>
                      <a:pt x="142" y="395"/>
                    </a:lnTo>
                    <a:lnTo>
                      <a:pt x="124" y="405"/>
                    </a:lnTo>
                    <a:lnTo>
                      <a:pt x="110" y="420"/>
                    </a:lnTo>
                    <a:lnTo>
                      <a:pt x="98" y="439"/>
                    </a:lnTo>
                    <a:lnTo>
                      <a:pt x="90" y="462"/>
                    </a:lnTo>
                    <a:lnTo>
                      <a:pt x="84" y="488"/>
                    </a:lnTo>
                    <a:lnTo>
                      <a:pt x="79" y="517"/>
                    </a:lnTo>
                    <a:lnTo>
                      <a:pt x="77" y="546"/>
                    </a:lnTo>
                    <a:lnTo>
                      <a:pt x="77" y="576"/>
                    </a:lnTo>
                    <a:lnTo>
                      <a:pt x="77" y="605"/>
                    </a:lnTo>
                    <a:lnTo>
                      <a:pt x="77" y="634"/>
                    </a:lnTo>
                    <a:lnTo>
                      <a:pt x="78" y="661"/>
                    </a:lnTo>
                    <a:lnTo>
                      <a:pt x="79" y="684"/>
                    </a:lnTo>
                    <a:lnTo>
                      <a:pt x="81" y="705"/>
                    </a:lnTo>
                    <a:lnTo>
                      <a:pt x="81" y="722"/>
                    </a:lnTo>
                    <a:lnTo>
                      <a:pt x="81" y="1999"/>
                    </a:lnTo>
                    <a:lnTo>
                      <a:pt x="79" y="2022"/>
                    </a:lnTo>
                    <a:lnTo>
                      <a:pt x="78" y="2049"/>
                    </a:lnTo>
                    <a:lnTo>
                      <a:pt x="77" y="2078"/>
                    </a:lnTo>
                    <a:lnTo>
                      <a:pt x="75" y="2111"/>
                    </a:lnTo>
                    <a:lnTo>
                      <a:pt x="74" y="2146"/>
                    </a:lnTo>
                    <a:lnTo>
                      <a:pt x="72" y="2179"/>
                    </a:lnTo>
                    <a:lnTo>
                      <a:pt x="74" y="2214"/>
                    </a:lnTo>
                    <a:lnTo>
                      <a:pt x="77" y="2247"/>
                    </a:lnTo>
                    <a:lnTo>
                      <a:pt x="82" y="2278"/>
                    </a:lnTo>
                    <a:lnTo>
                      <a:pt x="92" y="2305"/>
                    </a:lnTo>
                    <a:lnTo>
                      <a:pt x="104" y="2328"/>
                    </a:lnTo>
                    <a:lnTo>
                      <a:pt x="121" y="2346"/>
                    </a:lnTo>
                    <a:lnTo>
                      <a:pt x="176" y="736"/>
                    </a:lnTo>
                    <a:lnTo>
                      <a:pt x="178" y="710"/>
                    </a:lnTo>
                    <a:lnTo>
                      <a:pt x="178" y="683"/>
                    </a:lnTo>
                    <a:lnTo>
                      <a:pt x="179" y="655"/>
                    </a:lnTo>
                    <a:lnTo>
                      <a:pt x="181" y="628"/>
                    </a:lnTo>
                    <a:lnTo>
                      <a:pt x="185" y="600"/>
                    </a:lnTo>
                    <a:lnTo>
                      <a:pt x="191" y="573"/>
                    </a:lnTo>
                    <a:lnTo>
                      <a:pt x="201" y="550"/>
                    </a:lnTo>
                    <a:lnTo>
                      <a:pt x="214" y="527"/>
                    </a:lnTo>
                    <a:lnTo>
                      <a:pt x="231" y="508"/>
                    </a:lnTo>
                    <a:lnTo>
                      <a:pt x="253" y="493"/>
                    </a:lnTo>
                    <a:lnTo>
                      <a:pt x="282" y="482"/>
                    </a:lnTo>
                    <a:lnTo>
                      <a:pt x="312" y="478"/>
                    </a:lnTo>
                    <a:lnTo>
                      <a:pt x="344" y="478"/>
                    </a:lnTo>
                    <a:lnTo>
                      <a:pt x="379" y="479"/>
                    </a:lnTo>
                    <a:lnTo>
                      <a:pt x="410" y="483"/>
                    </a:lnTo>
                    <a:lnTo>
                      <a:pt x="441" y="485"/>
                    </a:lnTo>
                    <a:lnTo>
                      <a:pt x="1302" y="528"/>
                    </a:lnTo>
                    <a:lnTo>
                      <a:pt x="2294" y="579"/>
                    </a:lnTo>
                    <a:lnTo>
                      <a:pt x="2630" y="595"/>
                    </a:lnTo>
                    <a:lnTo>
                      <a:pt x="2653" y="595"/>
                    </a:lnTo>
                    <a:lnTo>
                      <a:pt x="2679" y="595"/>
                    </a:lnTo>
                    <a:lnTo>
                      <a:pt x="2707" y="595"/>
                    </a:lnTo>
                    <a:lnTo>
                      <a:pt x="2731" y="598"/>
                    </a:lnTo>
                    <a:lnTo>
                      <a:pt x="2755" y="605"/>
                    </a:lnTo>
                    <a:lnTo>
                      <a:pt x="2755" y="576"/>
                    </a:lnTo>
                    <a:lnTo>
                      <a:pt x="2756" y="546"/>
                    </a:lnTo>
                    <a:lnTo>
                      <a:pt x="2757" y="514"/>
                    </a:lnTo>
                    <a:lnTo>
                      <a:pt x="2756" y="482"/>
                    </a:lnTo>
                    <a:lnTo>
                      <a:pt x="2752" y="452"/>
                    </a:lnTo>
                    <a:lnTo>
                      <a:pt x="2744" y="423"/>
                    </a:lnTo>
                    <a:lnTo>
                      <a:pt x="2731" y="398"/>
                    </a:lnTo>
                    <a:lnTo>
                      <a:pt x="2721" y="389"/>
                    </a:lnTo>
                    <a:lnTo>
                      <a:pt x="2710" y="382"/>
                    </a:lnTo>
                    <a:lnTo>
                      <a:pt x="2695" y="376"/>
                    </a:lnTo>
                    <a:lnTo>
                      <a:pt x="2682" y="371"/>
                    </a:lnTo>
                    <a:lnTo>
                      <a:pt x="2669" y="362"/>
                    </a:lnTo>
                    <a:lnTo>
                      <a:pt x="2658" y="350"/>
                    </a:lnTo>
                    <a:lnTo>
                      <a:pt x="2642" y="323"/>
                    </a:lnTo>
                    <a:lnTo>
                      <a:pt x="2632" y="292"/>
                    </a:lnTo>
                    <a:lnTo>
                      <a:pt x="2626" y="261"/>
                    </a:lnTo>
                    <a:lnTo>
                      <a:pt x="2623" y="230"/>
                    </a:lnTo>
                    <a:lnTo>
                      <a:pt x="2622" y="199"/>
                    </a:lnTo>
                    <a:lnTo>
                      <a:pt x="2620" y="168"/>
                    </a:lnTo>
                    <a:lnTo>
                      <a:pt x="2613" y="144"/>
                    </a:lnTo>
                    <a:lnTo>
                      <a:pt x="2604" y="125"/>
                    </a:lnTo>
                    <a:lnTo>
                      <a:pt x="2591" y="109"/>
                    </a:lnTo>
                    <a:lnTo>
                      <a:pt x="2575" y="97"/>
                    </a:lnTo>
                    <a:lnTo>
                      <a:pt x="2557" y="89"/>
                    </a:lnTo>
                    <a:lnTo>
                      <a:pt x="2536" y="83"/>
                    </a:lnTo>
                    <a:lnTo>
                      <a:pt x="2515" y="79"/>
                    </a:lnTo>
                    <a:lnTo>
                      <a:pt x="2492" y="77"/>
                    </a:lnTo>
                    <a:lnTo>
                      <a:pt x="2467" y="77"/>
                    </a:lnTo>
                    <a:close/>
                    <a:moveTo>
                      <a:pt x="1630" y="0"/>
                    </a:moveTo>
                    <a:lnTo>
                      <a:pt x="1659" y="2"/>
                    </a:lnTo>
                    <a:lnTo>
                      <a:pt x="2531" y="2"/>
                    </a:lnTo>
                    <a:lnTo>
                      <a:pt x="2568" y="5"/>
                    </a:lnTo>
                    <a:lnTo>
                      <a:pt x="2603" y="18"/>
                    </a:lnTo>
                    <a:lnTo>
                      <a:pt x="2632" y="37"/>
                    </a:lnTo>
                    <a:lnTo>
                      <a:pt x="2658" y="61"/>
                    </a:lnTo>
                    <a:lnTo>
                      <a:pt x="2678" y="92"/>
                    </a:lnTo>
                    <a:lnTo>
                      <a:pt x="2692" y="128"/>
                    </a:lnTo>
                    <a:lnTo>
                      <a:pt x="2698" y="164"/>
                    </a:lnTo>
                    <a:lnTo>
                      <a:pt x="2700" y="200"/>
                    </a:lnTo>
                    <a:lnTo>
                      <a:pt x="2701" y="238"/>
                    </a:lnTo>
                    <a:lnTo>
                      <a:pt x="2708" y="274"/>
                    </a:lnTo>
                    <a:lnTo>
                      <a:pt x="2714" y="291"/>
                    </a:lnTo>
                    <a:lnTo>
                      <a:pt x="2723" y="303"/>
                    </a:lnTo>
                    <a:lnTo>
                      <a:pt x="2733" y="310"/>
                    </a:lnTo>
                    <a:lnTo>
                      <a:pt x="2743" y="316"/>
                    </a:lnTo>
                    <a:lnTo>
                      <a:pt x="2755" y="321"/>
                    </a:lnTo>
                    <a:lnTo>
                      <a:pt x="2768" y="327"/>
                    </a:lnTo>
                    <a:lnTo>
                      <a:pt x="2779" y="336"/>
                    </a:lnTo>
                    <a:lnTo>
                      <a:pt x="2792" y="349"/>
                    </a:lnTo>
                    <a:lnTo>
                      <a:pt x="2809" y="378"/>
                    </a:lnTo>
                    <a:lnTo>
                      <a:pt x="2824" y="413"/>
                    </a:lnTo>
                    <a:lnTo>
                      <a:pt x="2833" y="450"/>
                    </a:lnTo>
                    <a:lnTo>
                      <a:pt x="2840" y="492"/>
                    </a:lnTo>
                    <a:lnTo>
                      <a:pt x="2843" y="535"/>
                    </a:lnTo>
                    <a:lnTo>
                      <a:pt x="2844" y="580"/>
                    </a:lnTo>
                    <a:lnTo>
                      <a:pt x="2844" y="626"/>
                    </a:lnTo>
                    <a:lnTo>
                      <a:pt x="2841" y="673"/>
                    </a:lnTo>
                    <a:lnTo>
                      <a:pt x="2838" y="719"/>
                    </a:lnTo>
                    <a:lnTo>
                      <a:pt x="2834" y="762"/>
                    </a:lnTo>
                    <a:lnTo>
                      <a:pt x="2831" y="803"/>
                    </a:lnTo>
                    <a:lnTo>
                      <a:pt x="2828" y="840"/>
                    </a:lnTo>
                    <a:lnTo>
                      <a:pt x="2825" y="875"/>
                    </a:lnTo>
                    <a:lnTo>
                      <a:pt x="2792" y="1475"/>
                    </a:lnTo>
                    <a:lnTo>
                      <a:pt x="2760" y="2077"/>
                    </a:lnTo>
                    <a:lnTo>
                      <a:pt x="2759" y="2101"/>
                    </a:lnTo>
                    <a:lnTo>
                      <a:pt x="2759" y="2129"/>
                    </a:lnTo>
                    <a:lnTo>
                      <a:pt x="2759" y="2158"/>
                    </a:lnTo>
                    <a:lnTo>
                      <a:pt x="2757" y="2188"/>
                    </a:lnTo>
                    <a:lnTo>
                      <a:pt x="2756" y="2218"/>
                    </a:lnTo>
                    <a:lnTo>
                      <a:pt x="2753" y="2249"/>
                    </a:lnTo>
                    <a:lnTo>
                      <a:pt x="2747" y="2278"/>
                    </a:lnTo>
                    <a:lnTo>
                      <a:pt x="2740" y="2305"/>
                    </a:lnTo>
                    <a:lnTo>
                      <a:pt x="2729" y="2331"/>
                    </a:lnTo>
                    <a:lnTo>
                      <a:pt x="2716" y="2353"/>
                    </a:lnTo>
                    <a:lnTo>
                      <a:pt x="2697" y="2372"/>
                    </a:lnTo>
                    <a:lnTo>
                      <a:pt x="2675" y="2386"/>
                    </a:lnTo>
                    <a:lnTo>
                      <a:pt x="2649" y="2396"/>
                    </a:lnTo>
                    <a:lnTo>
                      <a:pt x="2610" y="2401"/>
                    </a:lnTo>
                    <a:lnTo>
                      <a:pt x="2570" y="2402"/>
                    </a:lnTo>
                    <a:lnTo>
                      <a:pt x="2529" y="2402"/>
                    </a:lnTo>
                    <a:lnTo>
                      <a:pt x="2489" y="2401"/>
                    </a:lnTo>
                    <a:lnTo>
                      <a:pt x="2127" y="2406"/>
                    </a:lnTo>
                    <a:lnTo>
                      <a:pt x="240" y="2437"/>
                    </a:lnTo>
                    <a:lnTo>
                      <a:pt x="117" y="2438"/>
                    </a:lnTo>
                    <a:lnTo>
                      <a:pt x="98" y="2419"/>
                    </a:lnTo>
                    <a:lnTo>
                      <a:pt x="81" y="2403"/>
                    </a:lnTo>
                    <a:lnTo>
                      <a:pt x="62" y="2386"/>
                    </a:lnTo>
                    <a:lnTo>
                      <a:pt x="46" y="2369"/>
                    </a:lnTo>
                    <a:lnTo>
                      <a:pt x="32" y="2351"/>
                    </a:lnTo>
                    <a:lnTo>
                      <a:pt x="20" y="2331"/>
                    </a:lnTo>
                    <a:lnTo>
                      <a:pt x="10" y="2308"/>
                    </a:lnTo>
                    <a:lnTo>
                      <a:pt x="4" y="2281"/>
                    </a:lnTo>
                    <a:lnTo>
                      <a:pt x="3" y="2250"/>
                    </a:lnTo>
                    <a:lnTo>
                      <a:pt x="3" y="768"/>
                    </a:lnTo>
                    <a:lnTo>
                      <a:pt x="3" y="736"/>
                    </a:lnTo>
                    <a:lnTo>
                      <a:pt x="1" y="705"/>
                    </a:lnTo>
                    <a:lnTo>
                      <a:pt x="0" y="671"/>
                    </a:lnTo>
                    <a:lnTo>
                      <a:pt x="0" y="637"/>
                    </a:lnTo>
                    <a:lnTo>
                      <a:pt x="0" y="603"/>
                    </a:lnTo>
                    <a:lnTo>
                      <a:pt x="0" y="569"/>
                    </a:lnTo>
                    <a:lnTo>
                      <a:pt x="3" y="535"/>
                    </a:lnTo>
                    <a:lnTo>
                      <a:pt x="6" y="504"/>
                    </a:lnTo>
                    <a:lnTo>
                      <a:pt x="12" y="472"/>
                    </a:lnTo>
                    <a:lnTo>
                      <a:pt x="20" y="443"/>
                    </a:lnTo>
                    <a:lnTo>
                      <a:pt x="30" y="415"/>
                    </a:lnTo>
                    <a:lnTo>
                      <a:pt x="45" y="391"/>
                    </a:lnTo>
                    <a:lnTo>
                      <a:pt x="62" y="369"/>
                    </a:lnTo>
                    <a:lnTo>
                      <a:pt x="84" y="350"/>
                    </a:lnTo>
                    <a:lnTo>
                      <a:pt x="110" y="334"/>
                    </a:lnTo>
                    <a:lnTo>
                      <a:pt x="139" y="323"/>
                    </a:lnTo>
                    <a:lnTo>
                      <a:pt x="175" y="316"/>
                    </a:lnTo>
                    <a:lnTo>
                      <a:pt x="214" y="314"/>
                    </a:lnTo>
                    <a:lnTo>
                      <a:pt x="1269" y="314"/>
                    </a:lnTo>
                    <a:lnTo>
                      <a:pt x="1293" y="311"/>
                    </a:lnTo>
                    <a:lnTo>
                      <a:pt x="1314" y="304"/>
                    </a:lnTo>
                    <a:lnTo>
                      <a:pt x="1330" y="292"/>
                    </a:lnTo>
                    <a:lnTo>
                      <a:pt x="1341" y="278"/>
                    </a:lnTo>
                    <a:lnTo>
                      <a:pt x="1348" y="261"/>
                    </a:lnTo>
                    <a:lnTo>
                      <a:pt x="1354" y="242"/>
                    </a:lnTo>
                    <a:lnTo>
                      <a:pt x="1358" y="220"/>
                    </a:lnTo>
                    <a:lnTo>
                      <a:pt x="1361" y="199"/>
                    </a:lnTo>
                    <a:lnTo>
                      <a:pt x="1363" y="177"/>
                    </a:lnTo>
                    <a:lnTo>
                      <a:pt x="1366" y="155"/>
                    </a:lnTo>
                    <a:lnTo>
                      <a:pt x="1373" y="120"/>
                    </a:lnTo>
                    <a:lnTo>
                      <a:pt x="1385" y="92"/>
                    </a:lnTo>
                    <a:lnTo>
                      <a:pt x="1400" y="67"/>
                    </a:lnTo>
                    <a:lnTo>
                      <a:pt x="1418" y="48"/>
                    </a:lnTo>
                    <a:lnTo>
                      <a:pt x="1439" y="32"/>
                    </a:lnTo>
                    <a:lnTo>
                      <a:pt x="1463" y="21"/>
                    </a:lnTo>
                    <a:lnTo>
                      <a:pt x="1487" y="12"/>
                    </a:lnTo>
                    <a:lnTo>
                      <a:pt x="1515" y="8"/>
                    </a:lnTo>
                    <a:lnTo>
                      <a:pt x="1542" y="3"/>
                    </a:lnTo>
                    <a:lnTo>
                      <a:pt x="1571" y="2"/>
                    </a:lnTo>
                    <a:lnTo>
                      <a:pt x="1600" y="0"/>
                    </a:lnTo>
                    <a:lnTo>
                      <a:pt x="163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Tree>
    <p:extLst>
      <p:ext uri="{BB962C8B-B14F-4D97-AF65-F5344CB8AC3E}">
        <p14:creationId xmlns:p14="http://schemas.microsoft.com/office/powerpoint/2010/main" val="31939551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2"/>
                                        </p:tgtEl>
                                        <p:attrNameLst>
                                          <p:attrName>style.visibility</p:attrName>
                                        </p:attrNameLst>
                                      </p:cBhvr>
                                      <p:to>
                                        <p:strVal val="visible"/>
                                      </p:to>
                                    </p:set>
                                    <p:animEffect transition="in" filter="fade">
                                      <p:cBhvr>
                                        <p:cTn id="7" dur="500"/>
                                        <p:tgtEl>
                                          <p:spTgt spid="3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8"/>
                                        </p:tgtEl>
                                        <p:attrNameLst>
                                          <p:attrName>style.visibility</p:attrName>
                                        </p:attrNameLst>
                                      </p:cBhvr>
                                      <p:to>
                                        <p:strVal val="visible"/>
                                      </p:to>
                                    </p:set>
                                    <p:animEffect transition="in" filter="fade">
                                      <p:cBhvr>
                                        <p:cTn id="10" dur="500"/>
                                        <p:tgtEl>
                                          <p:spTgt spid="61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7"/>
                                        </p:tgtEl>
                                        <p:attrNameLst>
                                          <p:attrName>style.visibility</p:attrName>
                                        </p:attrNameLst>
                                      </p:cBhvr>
                                      <p:to>
                                        <p:strVal val="visible"/>
                                      </p:to>
                                    </p:set>
                                    <p:animEffect transition="in" filter="wipe(left)">
                                      <p:cBhvr>
                                        <p:cTn id="14" dur="500"/>
                                        <p:tgtEl>
                                          <p:spTgt spid="7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par>
                                <p:cTn id="19" presetID="22" presetClass="entr" presetSubtype="1"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animEffect transition="in" filter="wipe(up)">
                                      <p:cBhvr>
                                        <p:cTn id="21" dur="500"/>
                                        <p:tgtEl>
                                          <p:spTgt spid="79"/>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412"/>
                                        </p:tgtEl>
                                        <p:attrNameLst>
                                          <p:attrName>style.visibility</p:attrName>
                                        </p:attrNameLst>
                                      </p:cBhvr>
                                      <p:to>
                                        <p:strVal val="visible"/>
                                      </p:to>
                                    </p:set>
                                    <p:animEffect transition="in" filter="fade">
                                      <p:cBhvr>
                                        <p:cTn id="25" dur="500"/>
                                        <p:tgtEl>
                                          <p:spTgt spid="4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24"/>
                                        </p:tgtEl>
                                        <p:attrNameLst>
                                          <p:attrName>style.visibility</p:attrName>
                                        </p:attrNameLst>
                                      </p:cBhvr>
                                      <p:to>
                                        <p:strVal val="visible"/>
                                      </p:to>
                                    </p:set>
                                    <p:animEffect transition="in" filter="fade">
                                      <p:cBhvr>
                                        <p:cTn id="28" dur="500"/>
                                        <p:tgtEl>
                                          <p:spTgt spid="624"/>
                                        </p:tgtEl>
                                      </p:cBhvr>
                                    </p:animEffect>
                                  </p:childTnLst>
                                </p:cTn>
                              </p:par>
                              <p:par>
                                <p:cTn id="29" presetID="22" presetClass="entr" presetSubtype="4" fill="hold"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wipe(down)">
                                      <p:cBhvr>
                                        <p:cTn id="31" dur="500"/>
                                        <p:tgtEl>
                                          <p:spTgt spid="8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37"/>
                                        </p:tgtEl>
                                        <p:attrNameLst>
                                          <p:attrName>style.visibility</p:attrName>
                                        </p:attrNameLst>
                                      </p:cBhvr>
                                      <p:to>
                                        <p:strVal val="visible"/>
                                      </p:to>
                                    </p:set>
                                    <p:animEffect transition="in" filter="fade">
                                      <p:cBhvr>
                                        <p:cTn id="34" dur="500"/>
                                        <p:tgtEl>
                                          <p:spTgt spid="637"/>
                                        </p:tgtEl>
                                      </p:cBhvr>
                                    </p:animEffect>
                                  </p:childTnLst>
                                </p:cTn>
                              </p:par>
                              <p:par>
                                <p:cTn id="35" presetID="1" presetClass="entr" presetSubtype="0" fill="hold" nodeType="withEffect">
                                  <p:stCondLst>
                                    <p:cond delay="0"/>
                                  </p:stCondLst>
                                  <p:childTnLst>
                                    <p:set>
                                      <p:cBhvr>
                                        <p:cTn id="36" dur="1" fill="hold">
                                          <p:stCondLst>
                                            <p:cond delay="0"/>
                                          </p:stCondLst>
                                        </p:cTn>
                                        <p:tgtEl>
                                          <p:spTgt spid="4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left)">
                                      <p:cBhvr>
                                        <p:cTn id="45" dur="500"/>
                                        <p:tgtEl>
                                          <p:spTgt spid="8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childTnLst>
                          </p:cTn>
                        </p:par>
                        <p:par>
                          <p:cTn id="50" fill="hold">
                            <p:stCondLst>
                              <p:cond delay="1000"/>
                            </p:stCondLst>
                            <p:childTnLst>
                              <p:par>
                                <p:cTn id="51" presetID="22" presetClass="entr" presetSubtype="8" fill="hold" nodeType="after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wipe(left)">
                                      <p:cBhvr>
                                        <p:cTn id="53" dur="500"/>
                                        <p:tgtEl>
                                          <p:spTgt spid="89"/>
                                        </p:tgtEl>
                                      </p:cBhvr>
                                    </p:animEffect>
                                  </p:childTnLst>
                                </p:cTn>
                              </p:par>
                            </p:childTnLst>
                          </p:cTn>
                        </p:par>
                        <p:par>
                          <p:cTn id="54" fill="hold">
                            <p:stCondLst>
                              <p:cond delay="1500"/>
                            </p:stCondLst>
                            <p:childTnLst>
                              <p:par>
                                <p:cTn id="55" presetID="10" presetClass="entr" presetSubtype="0" fill="hold" nodeType="after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15"/>
                                        </p:tgtEl>
                                        <p:attrNameLst>
                                          <p:attrName>style.visibility</p:attrName>
                                        </p:attrNameLst>
                                      </p:cBhvr>
                                      <p:to>
                                        <p:strVal val="visible"/>
                                      </p:to>
                                    </p:set>
                                    <p:animEffect transition="in" filter="fade">
                                      <p:cBhvr>
                                        <p:cTn id="60" dur="500"/>
                                        <p:tgtEl>
                                          <p:spTgt spid="415"/>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86"/>
                                        </p:tgtEl>
                                        <p:attrNameLst>
                                          <p:attrName>style.visibility</p:attrName>
                                        </p:attrNameLst>
                                      </p:cBhvr>
                                      <p:to>
                                        <p:strVal val="visible"/>
                                      </p:to>
                                    </p:set>
                                    <p:animEffect transition="in" filter="wipe(left)">
                                      <p:cBhvr>
                                        <p:cTn id="65" dur="500"/>
                                        <p:tgtEl>
                                          <p:spTgt spid="86"/>
                                        </p:tgtEl>
                                      </p:cBhvr>
                                    </p:animEffect>
                                  </p:childTnLst>
                                </p:cTn>
                              </p:par>
                            </p:childTnLst>
                          </p:cTn>
                        </p:par>
                        <p:par>
                          <p:cTn id="66" fill="hold">
                            <p:stCondLst>
                              <p:cond delay="500"/>
                            </p:stCondLst>
                            <p:childTnLst>
                              <p:par>
                                <p:cTn id="67" presetID="10" presetClass="entr" presetSubtype="0" fill="hold" nodeType="after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childTnLst>
                          </p:cTn>
                        </p:par>
                        <p:par>
                          <p:cTn id="70" fill="hold">
                            <p:stCondLst>
                              <p:cond delay="1000"/>
                            </p:stCondLst>
                            <p:childTnLst>
                              <p:par>
                                <p:cTn id="71" presetID="22" presetClass="entr" presetSubtype="8" fill="hold" nodeType="afterEffect">
                                  <p:stCondLst>
                                    <p:cond delay="0"/>
                                  </p:stCondLst>
                                  <p:childTnLst>
                                    <p:set>
                                      <p:cBhvr>
                                        <p:cTn id="72" dur="1" fill="hold">
                                          <p:stCondLst>
                                            <p:cond delay="0"/>
                                          </p:stCondLst>
                                        </p:cTn>
                                        <p:tgtEl>
                                          <p:spTgt spid="88"/>
                                        </p:tgtEl>
                                        <p:attrNameLst>
                                          <p:attrName>style.visibility</p:attrName>
                                        </p:attrNameLst>
                                      </p:cBhvr>
                                      <p:to>
                                        <p:strVal val="visible"/>
                                      </p:to>
                                    </p:set>
                                    <p:animEffect transition="in" filter="wipe(left)">
                                      <p:cBhvr>
                                        <p:cTn id="73" dur="500"/>
                                        <p:tgtEl>
                                          <p:spTgt spid="88"/>
                                        </p:tgtEl>
                                      </p:cBhvr>
                                    </p:animEffect>
                                  </p:childTnLst>
                                </p:cTn>
                              </p:par>
                            </p:childTnLst>
                          </p:cTn>
                        </p:par>
                        <p:par>
                          <p:cTn id="74" fill="hold">
                            <p:stCondLst>
                              <p:cond delay="1500"/>
                            </p:stCondLst>
                            <p:childTnLst>
                              <p:par>
                                <p:cTn id="75" presetID="10" presetClass="entr" presetSubtype="0" fill="hold" nodeType="afterEffect">
                                  <p:stCondLst>
                                    <p:cond delay="0"/>
                                  </p:stCondLst>
                                  <p:childTnLst>
                                    <p:set>
                                      <p:cBhvr>
                                        <p:cTn id="76" dur="1" fill="hold">
                                          <p:stCondLst>
                                            <p:cond delay="0"/>
                                          </p:stCondLst>
                                        </p:cTn>
                                        <p:tgtEl>
                                          <p:spTgt spid="366"/>
                                        </p:tgtEl>
                                        <p:attrNameLst>
                                          <p:attrName>style.visibility</p:attrName>
                                        </p:attrNameLst>
                                      </p:cBhvr>
                                      <p:to>
                                        <p:strVal val="visible"/>
                                      </p:to>
                                    </p:set>
                                    <p:animEffect transition="in" filter="fade">
                                      <p:cBhvr>
                                        <p:cTn id="77" dur="500"/>
                                        <p:tgtEl>
                                          <p:spTgt spid="36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fade">
                                      <p:cBhvr>
                                        <p:cTn id="80" dur="500"/>
                                        <p:tgtEl>
                                          <p:spTgt spid="459"/>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wipe(left)">
                                      <p:cBhvr>
                                        <p:cTn id="85" dur="500"/>
                                        <p:tgtEl>
                                          <p:spTgt spid="83"/>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6"/>
                                        </p:tgtEl>
                                        <p:attrNameLst>
                                          <p:attrName>style.visibility</p:attrName>
                                        </p:attrNameLst>
                                      </p:cBhvr>
                                      <p:to>
                                        <p:strVal val="visible"/>
                                      </p:to>
                                    </p:set>
                                    <p:animEffect transition="in" filter="fade">
                                      <p:cBhvr>
                                        <p:cTn id="89" dur="500"/>
                                        <p:tgtEl>
                                          <p:spTgt spid="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0"/>
                                        </p:tgtEl>
                                        <p:attrNameLst>
                                          <p:attrName>style.visibility</p:attrName>
                                        </p:attrNameLst>
                                      </p:cBhvr>
                                      <p:to>
                                        <p:strVal val="visible"/>
                                      </p:to>
                                    </p:set>
                                    <p:animEffect transition="in" filter="wipe(left)">
                                      <p:cBhvr>
                                        <p:cTn id="93" dur="500"/>
                                        <p:tgtEl>
                                          <p:spTgt spid="9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69"/>
                                        </p:tgtEl>
                                        <p:attrNameLst>
                                          <p:attrName>style.visibility</p:attrName>
                                        </p:attrNameLst>
                                      </p:cBhvr>
                                      <p:to>
                                        <p:strVal val="visible"/>
                                      </p:to>
                                    </p:set>
                                    <p:animEffect transition="in" filter="fade">
                                      <p:cBhvr>
                                        <p:cTn id="96" dur="500"/>
                                        <p:tgtEl>
                                          <p:spTgt spid="369"/>
                                        </p:tgtEl>
                                      </p:cBhvr>
                                    </p:animEffect>
                                  </p:childTnLst>
                                </p:cTn>
                              </p:par>
                            </p:childTnLst>
                          </p:cTn>
                        </p:par>
                        <p:par>
                          <p:cTn id="97" fill="hold">
                            <p:stCondLst>
                              <p:cond delay="1500"/>
                            </p:stCondLst>
                            <p:childTnLst>
                              <p:par>
                                <p:cTn id="98" presetID="10" presetClass="entr" presetSubtype="0" fill="hold" nodeType="afterEffect">
                                  <p:stCondLst>
                                    <p:cond delay="0"/>
                                  </p:stCondLst>
                                  <p:childTnLst>
                                    <p:set>
                                      <p:cBhvr>
                                        <p:cTn id="99" dur="1" fill="hold">
                                          <p:stCondLst>
                                            <p:cond delay="0"/>
                                          </p:stCondLst>
                                        </p:cTn>
                                        <p:tgtEl>
                                          <p:spTgt spid="119"/>
                                        </p:tgtEl>
                                        <p:attrNameLst>
                                          <p:attrName>style.visibility</p:attrName>
                                        </p:attrNameLst>
                                      </p:cBhvr>
                                      <p:to>
                                        <p:strVal val="visible"/>
                                      </p:to>
                                    </p:set>
                                    <p:animEffect transition="in" filter="fade">
                                      <p:cBhvr>
                                        <p:cTn id="10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59" grpId="0"/>
      <p:bldP spid="415" grpId="0"/>
      <p:bldP spid="618" grpId="0"/>
      <p:bldP spid="624" grpId="0"/>
      <p:bldP spid="637" grpId="0"/>
      <p:bldP spid="36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bwMode="auto">
          <a:xfrm>
            <a:off x="1076500" y="5293312"/>
            <a:ext cx="7334253" cy="1044988"/>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9" name="Rectangle 28"/>
          <p:cNvSpPr/>
          <p:nvPr/>
        </p:nvSpPr>
        <p:spPr bwMode="auto">
          <a:xfrm>
            <a:off x="1076501" y="4157474"/>
            <a:ext cx="7334253" cy="1016827"/>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8" name="Rectangle 27"/>
          <p:cNvSpPr/>
          <p:nvPr/>
        </p:nvSpPr>
        <p:spPr bwMode="auto">
          <a:xfrm>
            <a:off x="4010917" y="2298485"/>
            <a:ext cx="7334253" cy="98369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2" name="Rectangle 1"/>
          <p:cNvSpPr/>
          <p:nvPr/>
        </p:nvSpPr>
        <p:spPr bwMode="auto">
          <a:xfrm>
            <a:off x="4013002" y="1191035"/>
            <a:ext cx="7334253" cy="983694"/>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Rectangle 43"/>
          <p:cNvSpPr/>
          <p:nvPr/>
        </p:nvSpPr>
        <p:spPr bwMode="auto">
          <a:xfrm>
            <a:off x="1839894" y="1191035"/>
            <a:ext cx="2098542" cy="980253"/>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Publish web applications</a:t>
            </a:r>
          </a:p>
        </p:txBody>
      </p:sp>
      <p:sp>
        <p:nvSpPr>
          <p:cNvPr id="45" name="Rectangle 44"/>
          <p:cNvSpPr/>
          <p:nvPr/>
        </p:nvSpPr>
        <p:spPr bwMode="auto">
          <a:xfrm>
            <a:off x="1834815" y="2298484"/>
            <a:ext cx="2098542" cy="984033"/>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Manage risk</a:t>
            </a:r>
          </a:p>
        </p:txBody>
      </p:sp>
      <p:sp>
        <p:nvSpPr>
          <p:cNvPr id="46" name="Rectangle 45"/>
          <p:cNvSpPr/>
          <p:nvPr/>
        </p:nvSpPr>
        <p:spPr bwMode="auto">
          <a:xfrm>
            <a:off x="8490606" y="4157474"/>
            <a:ext cx="2098542" cy="1000445"/>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Work from anywhere</a:t>
            </a:r>
          </a:p>
        </p:txBody>
      </p:sp>
      <p:sp>
        <p:nvSpPr>
          <p:cNvPr id="47" name="Rectangle 46"/>
          <p:cNvSpPr/>
          <p:nvPr/>
        </p:nvSpPr>
        <p:spPr bwMode="auto">
          <a:xfrm>
            <a:off x="8490606" y="5289886"/>
            <a:ext cx="2098542" cy="1036839"/>
          </a:xfrm>
          <a:prstGeom prst="rect">
            <a:avLst/>
          </a:prstGeom>
          <a:solidFill>
            <a:schemeClr val="accent3">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algn="ctr" defTabSz="932103" fontAlgn="base">
              <a:spcBef>
                <a:spcPct val="0"/>
              </a:spcBef>
              <a:spcAft>
                <a:spcPct val="0"/>
              </a:spcAft>
            </a:pPr>
            <a:r>
              <a:rPr lang="en-US" sz="2399" dirty="0">
                <a:gradFill>
                  <a:gsLst>
                    <a:gs pos="0">
                      <a:srgbClr val="FFFFFF"/>
                    </a:gs>
                    <a:gs pos="100000">
                      <a:srgbClr val="FFFFFF"/>
                    </a:gs>
                  </a:gsLst>
                  <a:lin ang="5400000" scaled="0"/>
                </a:gradFill>
              </a:rPr>
              <a:t>SSO across applications</a:t>
            </a:r>
          </a:p>
        </p:txBody>
      </p:sp>
      <p:sp>
        <p:nvSpPr>
          <p:cNvPr id="66" name="Rectangle 65"/>
          <p:cNvSpPr/>
          <p:nvPr/>
        </p:nvSpPr>
        <p:spPr bwMode="auto">
          <a:xfrm>
            <a:off x="4076473" y="1080591"/>
            <a:ext cx="7305511"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105087" indent="-571274">
              <a:buFont typeface="Segoe UI" panose="020B0502040204020203" pitchFamily="34" charset="0"/>
              <a:buChar char="►"/>
            </a:pPr>
            <a:r>
              <a:rPr lang="en-US" sz="2040" dirty="0">
                <a:solidFill>
                  <a:srgbClr val="FFFFFF"/>
                </a:solidFill>
              </a:rPr>
              <a:t>Browser-based web applications </a:t>
            </a:r>
            <a:r>
              <a:rPr lang="en-US" sz="2040" dirty="0" smtClean="0">
                <a:solidFill>
                  <a:srgbClr val="FFFFFF"/>
                </a:solidFill>
              </a:rPr>
              <a:t>(integrated with Windows authentication </a:t>
            </a:r>
            <a:r>
              <a:rPr lang="en-US" sz="2040" dirty="0">
                <a:solidFill>
                  <a:srgbClr val="FFFFFF"/>
                </a:solidFill>
              </a:rPr>
              <a:t>or </a:t>
            </a:r>
            <a:r>
              <a:rPr lang="en-US" sz="2040" dirty="0" smtClean="0">
                <a:solidFill>
                  <a:srgbClr val="FFFFFF"/>
                </a:solidFill>
              </a:rPr>
              <a:t>using claims</a:t>
            </a:r>
            <a:r>
              <a:rPr lang="en-US" sz="2040" dirty="0">
                <a:solidFill>
                  <a:srgbClr val="FFFFFF"/>
                </a:solidFill>
              </a:rPr>
              <a:t>)</a:t>
            </a:r>
          </a:p>
          <a:p>
            <a:pPr marL="105087" indent="-571274">
              <a:buFont typeface="Segoe UI" panose="020B0502040204020203" pitchFamily="34" charset="0"/>
              <a:buChar char="►"/>
            </a:pPr>
            <a:r>
              <a:rPr lang="en-US" sz="2040" dirty="0">
                <a:solidFill>
                  <a:srgbClr val="FFFFFF"/>
                </a:solidFill>
              </a:rPr>
              <a:t>Rich applications accessing </a:t>
            </a:r>
            <a:r>
              <a:rPr lang="en-US" sz="2040" dirty="0" err="1">
                <a:solidFill>
                  <a:srgbClr val="FFFFFF"/>
                </a:solidFill>
              </a:rPr>
              <a:t>RESTful</a:t>
            </a:r>
            <a:r>
              <a:rPr lang="en-US" sz="2040" dirty="0">
                <a:solidFill>
                  <a:srgbClr val="FFFFFF"/>
                </a:solidFill>
              </a:rPr>
              <a:t> </a:t>
            </a:r>
            <a:r>
              <a:rPr lang="en-US" sz="2040" dirty="0" smtClean="0">
                <a:solidFill>
                  <a:srgbClr val="FFFFFF"/>
                </a:solidFill>
              </a:rPr>
              <a:t>services</a:t>
            </a:r>
            <a:endParaRPr lang="en-US" sz="2040" dirty="0">
              <a:solidFill>
                <a:srgbClr val="FFFFFF"/>
              </a:solidFill>
            </a:endParaRPr>
          </a:p>
        </p:txBody>
      </p:sp>
      <p:sp>
        <p:nvSpPr>
          <p:cNvPr id="67" name="Rectangle 66"/>
          <p:cNvSpPr/>
          <p:nvPr/>
        </p:nvSpPr>
        <p:spPr bwMode="auto">
          <a:xfrm>
            <a:off x="4086631" y="2163154"/>
            <a:ext cx="7994154"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a:solidFill>
                  <a:srgbClr val="FFFFFF"/>
                </a:solidFill>
              </a:rPr>
              <a:t>Pre-authentication</a:t>
            </a:r>
          </a:p>
          <a:p>
            <a:pPr marL="571274" lvl="1" indent="-571274">
              <a:buFont typeface="Segoe UI" panose="020B0502040204020203" pitchFamily="34" charset="0"/>
              <a:buChar char="►"/>
            </a:pPr>
            <a:r>
              <a:rPr lang="en-US" sz="2040" dirty="0">
                <a:solidFill>
                  <a:srgbClr val="FFFFFF"/>
                </a:solidFill>
              </a:rPr>
              <a:t>Access based on </a:t>
            </a:r>
            <a:r>
              <a:rPr lang="en-US" sz="2040" dirty="0" smtClean="0">
                <a:solidFill>
                  <a:srgbClr val="FFFFFF"/>
                </a:solidFill>
              </a:rPr>
              <a:t>user, known device, </a:t>
            </a:r>
            <a:r>
              <a:rPr lang="en-US" sz="2040" dirty="0">
                <a:solidFill>
                  <a:srgbClr val="FFFFFF"/>
                </a:solidFill>
              </a:rPr>
              <a:t>location and MFA</a:t>
            </a:r>
          </a:p>
          <a:p>
            <a:pPr marL="571274" lvl="1" indent="-571274">
              <a:buFont typeface="Segoe UI" panose="020B0502040204020203" pitchFamily="34" charset="0"/>
              <a:buChar char="►"/>
            </a:pPr>
            <a:r>
              <a:rPr lang="en-US" sz="2040" dirty="0">
                <a:solidFill>
                  <a:srgbClr val="FFFFFF"/>
                </a:solidFill>
              </a:rPr>
              <a:t>Account soft-lockout</a:t>
            </a:r>
          </a:p>
        </p:txBody>
      </p:sp>
      <p:sp>
        <p:nvSpPr>
          <p:cNvPr id="68" name="Rectangle 67"/>
          <p:cNvSpPr/>
          <p:nvPr/>
        </p:nvSpPr>
        <p:spPr bwMode="auto">
          <a:xfrm>
            <a:off x="1170016" y="4055277"/>
            <a:ext cx="7320588" cy="119614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a:solidFill>
                  <a:srgbClr val="FFFFFF"/>
                </a:solidFill>
              </a:rPr>
              <a:t>Access to corporate resources from inside and outside the corporate network</a:t>
            </a:r>
          </a:p>
          <a:p>
            <a:pPr marL="571274" lvl="1" indent="-571274">
              <a:buFont typeface="Segoe UI" panose="020B0502040204020203" pitchFamily="34" charset="0"/>
              <a:buChar char="►"/>
            </a:pPr>
            <a:r>
              <a:rPr lang="en-US" sz="2040" dirty="0">
                <a:solidFill>
                  <a:srgbClr val="FFFFFF"/>
                </a:solidFill>
              </a:rPr>
              <a:t>Access to corporate resources from any device</a:t>
            </a:r>
          </a:p>
        </p:txBody>
      </p:sp>
      <p:sp>
        <p:nvSpPr>
          <p:cNvPr id="69" name="Rectangle 68"/>
          <p:cNvSpPr/>
          <p:nvPr/>
        </p:nvSpPr>
        <p:spPr bwMode="auto">
          <a:xfrm>
            <a:off x="1170016" y="5177411"/>
            <a:ext cx="7994154" cy="1250291"/>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18" rIns="0" bIns="46618" numCol="1" rtlCol="0" anchor="ctr" anchorCtr="0" compatLnSpc="1">
            <a:prstTxWarp prst="textNoShape">
              <a:avLst/>
            </a:prstTxWarp>
          </a:bodyPr>
          <a:lstStyle/>
          <a:p>
            <a:pPr marL="571274" lvl="1" indent="-571274">
              <a:buFont typeface="Segoe UI" panose="020B0502040204020203" pitchFamily="34" charset="0"/>
              <a:buChar char="►"/>
            </a:pPr>
            <a:r>
              <a:rPr lang="en-US" sz="2040" dirty="0" smtClean="0">
                <a:solidFill>
                  <a:srgbClr val="FFFFFF"/>
                </a:solidFill>
              </a:rPr>
              <a:t>User needs to provide credentials just once</a:t>
            </a:r>
            <a:endParaRPr lang="en-US" sz="2040" dirty="0">
              <a:solidFill>
                <a:srgbClr val="FFFFFF"/>
              </a:solidFill>
            </a:endParaRPr>
          </a:p>
          <a:p>
            <a:pPr marL="571274" lvl="1" indent="-571274">
              <a:buFont typeface="Segoe UI" panose="020B0502040204020203" pitchFamily="34" charset="0"/>
              <a:buChar char="►"/>
            </a:pPr>
            <a:r>
              <a:rPr lang="en-US" sz="2040" dirty="0" smtClean="0">
                <a:solidFill>
                  <a:srgbClr val="FFFFFF"/>
                </a:solidFill>
              </a:rPr>
              <a:t>SSO across </a:t>
            </a:r>
            <a:r>
              <a:rPr lang="en-US" sz="2040" dirty="0">
                <a:solidFill>
                  <a:srgbClr val="FFFFFF"/>
                </a:solidFill>
              </a:rPr>
              <a:t>browser based web apps including Office</a:t>
            </a:r>
          </a:p>
          <a:p>
            <a:pPr marL="571274" lvl="1" indent="-571274">
              <a:buFont typeface="Segoe UI" panose="020B0502040204020203" pitchFamily="34" charset="0"/>
              <a:buChar char="►"/>
            </a:pPr>
            <a:r>
              <a:rPr lang="en-US" sz="2040" dirty="0" smtClean="0">
                <a:solidFill>
                  <a:srgbClr val="FFFFFF"/>
                </a:solidFill>
              </a:rPr>
              <a:t>SSO across </a:t>
            </a:r>
            <a:r>
              <a:rPr lang="en-US" sz="2040" dirty="0">
                <a:solidFill>
                  <a:srgbClr val="FFFFFF"/>
                </a:solidFill>
              </a:rPr>
              <a:t>rich applications</a:t>
            </a:r>
          </a:p>
        </p:txBody>
      </p:sp>
      <p:sp>
        <p:nvSpPr>
          <p:cNvPr id="70" name="TextBox 69"/>
          <p:cNvSpPr txBox="1"/>
          <p:nvPr/>
        </p:nvSpPr>
        <p:spPr>
          <a:xfrm>
            <a:off x="323644" y="2869046"/>
            <a:ext cx="157248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rgbClr val="FFFFFF"/>
                    </a:gs>
                    <a:gs pos="30000">
                      <a:srgbClr val="FFFFFF"/>
                    </a:gs>
                  </a:gsLst>
                  <a:lin ang="5400000" scaled="0"/>
                </a:gradFill>
              </a:rPr>
              <a:t>IT admin</a:t>
            </a:r>
          </a:p>
        </p:txBody>
      </p:sp>
      <p:sp>
        <p:nvSpPr>
          <p:cNvPr id="71" name="TextBox 70"/>
          <p:cNvSpPr txBox="1"/>
          <p:nvPr/>
        </p:nvSpPr>
        <p:spPr>
          <a:xfrm>
            <a:off x="10851397" y="6009667"/>
            <a:ext cx="990450" cy="634232"/>
          </a:xfrm>
          <a:prstGeom prst="rect">
            <a:avLst/>
          </a:prstGeom>
          <a:noFill/>
        </p:spPr>
        <p:txBody>
          <a:bodyPr wrap="none" lIns="182806" tIns="146246" rIns="182806" bIns="146246" rtlCol="0">
            <a:spAutoFit/>
          </a:bodyPr>
          <a:lstStyle/>
          <a:p>
            <a:pPr>
              <a:lnSpc>
                <a:spcPct val="90000"/>
              </a:lnSpc>
              <a:spcAft>
                <a:spcPts val="600"/>
              </a:spcAft>
            </a:pPr>
            <a:r>
              <a:rPr lang="en-US" sz="2399" dirty="0">
                <a:gradFill>
                  <a:gsLst>
                    <a:gs pos="2917">
                      <a:srgbClr val="FFFFFF"/>
                    </a:gs>
                    <a:gs pos="30000">
                      <a:srgbClr val="FFFFFF"/>
                    </a:gs>
                  </a:gsLst>
                  <a:lin ang="5400000" scaled="0"/>
                </a:gradFill>
              </a:rPr>
              <a:t>User</a:t>
            </a:r>
          </a:p>
        </p:txBody>
      </p:sp>
      <p:sp>
        <p:nvSpPr>
          <p:cNvPr id="26" name="Title 1"/>
          <p:cNvSpPr>
            <a:spLocks noGrp="1"/>
          </p:cNvSpPr>
          <p:nvPr>
            <p:ph type="title"/>
          </p:nvPr>
        </p:nvSpPr>
        <p:spPr>
          <a:prstGeom prst="rect">
            <a:avLst/>
          </a:prstGeom>
        </p:spPr>
        <p:txBody>
          <a:bodyPr/>
          <a:lstStyle/>
          <a:p>
            <a:r>
              <a:rPr lang="en-US" dirty="0" smtClean="0"/>
              <a:t>Web Application Proxy</a:t>
            </a:r>
            <a:endParaRPr lang="en-US" dirty="0"/>
          </a:p>
        </p:txBody>
      </p:sp>
      <p:sp>
        <p:nvSpPr>
          <p:cNvPr id="31" name="Freeform 5"/>
          <p:cNvSpPr>
            <a:spLocks noEditPoints="1"/>
          </p:cNvSpPr>
          <p:nvPr/>
        </p:nvSpPr>
        <p:spPr bwMode="auto">
          <a:xfrm>
            <a:off x="10867215" y="4427361"/>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33" name="Freeform 5"/>
          <p:cNvSpPr>
            <a:spLocks noEditPoints="1"/>
          </p:cNvSpPr>
          <p:nvPr/>
        </p:nvSpPr>
        <p:spPr bwMode="auto">
          <a:xfrm>
            <a:off x="598545" y="1359439"/>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Tree>
    <p:extLst>
      <p:ext uri="{BB962C8B-B14F-4D97-AF65-F5344CB8AC3E}">
        <p14:creationId xmlns:p14="http://schemas.microsoft.com/office/powerpoint/2010/main" val="3607799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29" grpId="0" animBg="1"/>
      <p:bldP spid="28" grpId="0" animBg="1"/>
      <p:bldP spid="45" grpId="0" animBg="1"/>
      <p:bldP spid="46" grpId="0" animBg="1"/>
      <p:bldP spid="47" grpId="0" animBg="1"/>
      <p:bldP spid="67" grpId="0"/>
      <p:bldP spid="68" grpId="0"/>
      <p:bldP spid="69" grpId="0"/>
      <p:bldP spid="71" grpId="0"/>
      <p:bldP spid="3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Single Sign-On (SSO) and IT Risk management, with conditional access control</a:t>
            </a:r>
            <a:endParaRPr lang="en-US" dirty="0"/>
          </a:p>
        </p:txBody>
      </p:sp>
    </p:spTree>
    <p:extLst>
      <p:ext uri="{BB962C8B-B14F-4D97-AF65-F5344CB8AC3E}">
        <p14:creationId xmlns:p14="http://schemas.microsoft.com/office/powerpoint/2010/main" val="150143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IT risk </a:t>
            </a:r>
            <a:r>
              <a:rPr lang="en-US" sz="4800" dirty="0"/>
              <a:t>m</a:t>
            </a:r>
            <a:r>
              <a:rPr lang="en-US" sz="4800" dirty="0" smtClean="0"/>
              <a:t>anagement with conditional access</a:t>
            </a:r>
            <a:endParaRPr lang="en-US" sz="4800" dirty="0"/>
          </a:p>
        </p:txBody>
      </p:sp>
      <p:grpSp>
        <p:nvGrpSpPr>
          <p:cNvPr id="11" name="Group 10"/>
          <p:cNvGrpSpPr/>
          <p:nvPr/>
        </p:nvGrpSpPr>
        <p:grpSpPr>
          <a:xfrm>
            <a:off x="1714490" y="3228765"/>
            <a:ext cx="913525" cy="740352"/>
            <a:chOff x="3654692" y="1754478"/>
            <a:chExt cx="375472" cy="271011"/>
          </a:xfrm>
        </p:grpSpPr>
        <p:sp>
          <p:nvSpPr>
            <p:cNvPr id="12" name="Freeform 107"/>
            <p:cNvSpPr>
              <a:spLocks noEditPoints="1"/>
            </p:cNvSpPr>
            <p:nvPr/>
          </p:nvSpPr>
          <p:spPr bwMode="auto">
            <a:xfrm>
              <a:off x="3654692" y="1754478"/>
              <a:ext cx="375472" cy="271011"/>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pic>
          <p:nvPicPr>
            <p:cNvPr id="13"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690257" y="1777405"/>
              <a:ext cx="326241" cy="1898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Rectangle 2"/>
          <p:cNvSpPr/>
          <p:nvPr/>
        </p:nvSpPr>
        <p:spPr bwMode="auto">
          <a:xfrm>
            <a:off x="1507840" y="4252293"/>
            <a:ext cx="1266905" cy="97815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Network location</a:t>
            </a:r>
          </a:p>
        </p:txBody>
      </p:sp>
      <p:sp>
        <p:nvSpPr>
          <p:cNvPr id="15" name="Rectangle 14"/>
          <p:cNvSpPr/>
          <p:nvPr/>
        </p:nvSpPr>
        <p:spPr bwMode="auto">
          <a:xfrm>
            <a:off x="1308296" y="5513628"/>
            <a:ext cx="1575582" cy="10278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Additional </a:t>
            </a:r>
            <a:r>
              <a:rPr lang="en-US" dirty="0" err="1" smtClean="0">
                <a:gradFill>
                  <a:gsLst>
                    <a:gs pos="0">
                      <a:srgbClr val="FFFFFF"/>
                    </a:gs>
                    <a:gs pos="100000">
                      <a:srgbClr val="FFFFFF"/>
                    </a:gs>
                  </a:gsLst>
                  <a:lin ang="5400000" scaled="0"/>
                </a:gradFill>
                <a:ea typeface="Segoe UI" pitchFamily="34" charset="0"/>
                <a:cs typeface="Segoe UI" pitchFamily="34" charset="0"/>
              </a:rPr>
              <a:t>auth</a:t>
            </a:r>
            <a:r>
              <a:rPr lang="en-US" dirty="0" smtClean="0">
                <a:gradFill>
                  <a:gsLst>
                    <a:gs pos="0">
                      <a:srgbClr val="FFFFFF"/>
                    </a:gs>
                    <a:gs pos="100000">
                      <a:srgbClr val="FFFFFF"/>
                    </a:gs>
                  </a:gsLst>
                  <a:lin ang="5400000" scaled="0"/>
                </a:gradFill>
                <a:ea typeface="Segoe UI" pitchFamily="34" charset="0"/>
                <a:cs typeface="Segoe UI" pitchFamily="34" charset="0"/>
              </a:rPr>
              <a:t> factors (MFA)</a:t>
            </a:r>
          </a:p>
        </p:txBody>
      </p:sp>
      <p:cxnSp>
        <p:nvCxnSpPr>
          <p:cNvPr id="16" name="Straight Connector 15"/>
          <p:cNvCxnSpPr>
            <a:endCxn id="6" idx="0"/>
          </p:cNvCxnSpPr>
          <p:nvPr/>
        </p:nvCxnSpPr>
        <p:spPr>
          <a:xfrm flipH="1" flipV="1">
            <a:off x="2546896" y="2389889"/>
            <a:ext cx="2484049" cy="1478945"/>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2673675" y="3550706"/>
            <a:ext cx="2340258" cy="403757"/>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endCxn id="3" idx="3"/>
          </p:cNvCxnSpPr>
          <p:nvPr/>
        </p:nvCxnSpPr>
        <p:spPr>
          <a:xfrm flipH="1">
            <a:off x="2774745" y="4009105"/>
            <a:ext cx="2210541" cy="732267"/>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2870126" y="4120587"/>
            <a:ext cx="2143807" cy="1667078"/>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5753665" y="2890625"/>
            <a:ext cx="1828800" cy="2236959"/>
          </a:xfrm>
          <a:prstGeom prst="rect">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26" name="Straight Connector 25"/>
          <p:cNvCxnSpPr/>
          <p:nvPr/>
        </p:nvCxnSpPr>
        <p:spPr>
          <a:xfrm flipH="1" flipV="1">
            <a:off x="7615713" y="3954463"/>
            <a:ext cx="2717325" cy="54642"/>
          </a:xfrm>
          <a:prstGeom prst="line">
            <a:avLst/>
          </a:prstGeom>
          <a:ln w="25400" cap="rnd" cmpd="sng">
            <a:solidFill>
              <a:schemeClr val="tx1"/>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p:cNvGrpSpPr>
            <a:grpSpLocks noChangeAspect="1"/>
          </p:cNvGrpSpPr>
          <p:nvPr/>
        </p:nvGrpSpPr>
        <p:grpSpPr>
          <a:xfrm>
            <a:off x="10333038" y="3550706"/>
            <a:ext cx="1237190" cy="1316991"/>
            <a:chOff x="8956177" y="3970370"/>
            <a:chExt cx="1215849" cy="1294273"/>
          </a:xfrm>
          <a:solidFill>
            <a:schemeClr val="bg2">
              <a:lumMod val="10000"/>
              <a:lumOff val="90000"/>
            </a:schemeClr>
          </a:solidFill>
        </p:grpSpPr>
        <p:sp>
          <p:nvSpPr>
            <p:cNvPr id="32" name="Rectangle 31"/>
            <p:cNvSpPr>
              <a:spLocks noChangeAspect="1"/>
            </p:cNvSpPr>
            <p:nvPr/>
          </p:nvSpPr>
          <p:spPr>
            <a:xfrm>
              <a:off x="8956177" y="4983196"/>
              <a:ext cx="1215849" cy="281447"/>
            </a:xfrm>
            <a:prstGeom prst="rect">
              <a:avLst/>
            </a:prstGeom>
            <a:solidFill>
              <a:schemeClr val="bg2">
                <a:lumMod val="75000"/>
                <a:lumOff val="25000"/>
              </a:schemeClr>
            </a:solid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Web app</a:t>
              </a:r>
              <a:endParaRPr lang="en-US" sz="1224" dirty="0">
                <a:ln>
                  <a:solidFill>
                    <a:srgbClr val="FFFFFF">
                      <a:alpha val="0"/>
                    </a:srgbClr>
                  </a:solidFill>
                </a:ln>
                <a:solidFill>
                  <a:schemeClr val="tx2">
                    <a:lumMod val="40000"/>
                    <a:lumOff val="60000"/>
                  </a:schemeClr>
                </a:solidFill>
                <a:latin typeface="Segoe"/>
              </a:endParaRPr>
            </a:p>
          </p:txBody>
        </p:sp>
        <p:sp>
          <p:nvSpPr>
            <p:cNvPr id="33"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4" name="Diamond 13"/>
          <p:cNvSpPr/>
          <p:nvPr/>
        </p:nvSpPr>
        <p:spPr bwMode="auto">
          <a:xfrm>
            <a:off x="4985286" y="2304688"/>
            <a:ext cx="3336911" cy="3397602"/>
          </a:xfrm>
          <a:prstGeom prst="diamond">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ccess control based on multiple criteria</a:t>
            </a:r>
          </a:p>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Freeform 5"/>
          <p:cNvSpPr>
            <a:spLocks noEditPoints="1"/>
          </p:cNvSpPr>
          <p:nvPr/>
        </p:nvSpPr>
        <p:spPr bwMode="auto">
          <a:xfrm>
            <a:off x="1663337" y="1334510"/>
            <a:ext cx="955909" cy="1582306"/>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Tree>
    <p:extLst>
      <p:ext uri="{BB962C8B-B14F-4D97-AF65-F5344CB8AC3E}">
        <p14:creationId xmlns:p14="http://schemas.microsoft.com/office/powerpoint/2010/main" val="35228977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23073805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dirty="0"/>
              <a:t>Active Directory enables user productivity and IT risk management strategies across a variety of devices</a:t>
            </a:r>
          </a:p>
        </p:txBody>
      </p:sp>
      <p:sp>
        <p:nvSpPr>
          <p:cNvPr id="5" name="Text Placeholder 4"/>
          <p:cNvSpPr>
            <a:spLocks noGrp="1"/>
          </p:cNvSpPr>
          <p:nvPr>
            <p:ph type="body" sz="quarter" idx="12"/>
          </p:nvPr>
        </p:nvSpPr>
        <p:spPr/>
        <p:txBody>
          <a:bodyPr/>
          <a:lstStyle/>
          <a:p>
            <a:r>
              <a:rPr lang="en-US" dirty="0" smtClean="0"/>
              <a:t>Samuel </a:t>
            </a:r>
            <a:r>
              <a:rPr lang="en-US" dirty="0" err="1" smtClean="0"/>
              <a:t>Devasahayam</a:t>
            </a:r>
            <a:endParaRPr lang="en-US" dirty="0" smtClean="0"/>
          </a:p>
          <a:p>
            <a:r>
              <a:rPr lang="en-US" sz="3200" dirty="0" smtClean="0"/>
              <a:t>Principal Lead PM</a:t>
            </a:r>
            <a:endParaRPr lang="en-US" sz="3200" dirty="0"/>
          </a:p>
        </p:txBody>
      </p:sp>
      <p:sp>
        <p:nvSpPr>
          <p:cNvPr id="9" name="Text Placeholder 8"/>
          <p:cNvSpPr>
            <a:spLocks noGrp="1"/>
          </p:cNvSpPr>
          <p:nvPr>
            <p:ph type="body" sz="quarter" idx="13"/>
          </p:nvPr>
        </p:nvSpPr>
        <p:spPr/>
        <p:txBody>
          <a:bodyPr/>
          <a:lstStyle/>
          <a:p>
            <a:r>
              <a:rPr lang="en-US" dirty="0"/>
              <a:t>WCA-B204</a:t>
            </a:r>
          </a:p>
        </p:txBody>
      </p:sp>
    </p:spTree>
    <p:extLst>
      <p:ext uri="{BB962C8B-B14F-4D97-AF65-F5344CB8AC3E}">
        <p14:creationId xmlns:p14="http://schemas.microsoft.com/office/powerpoint/2010/main" val="130830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5163" y="1214797"/>
            <a:ext cx="11885832" cy="548241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invGray">
          <a:xfrm>
            <a:off x="372499" y="5959350"/>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smtClean="0">
                <a:gradFill>
                  <a:gsLst>
                    <a:gs pos="1250">
                      <a:srgbClr val="FFFFFF"/>
                    </a:gs>
                    <a:gs pos="100000">
                      <a:srgbClr val="FFFFFF"/>
                    </a:gs>
                  </a:gsLst>
                  <a:lin ang="5400000" scaled="0"/>
                </a:gradFill>
                <a:latin typeface="Segoe UI Light"/>
              </a:rPr>
              <a:t>Find me later at Access </a:t>
            </a:r>
            <a:r>
              <a:rPr lang="en-US" sz="3599" dirty="0">
                <a:gradFill>
                  <a:gsLst>
                    <a:gs pos="1250">
                      <a:srgbClr val="FFFFFF"/>
                    </a:gs>
                    <a:gs pos="100000">
                      <a:srgbClr val="FFFFFF"/>
                    </a:gs>
                  </a:gsLst>
                  <a:lin ang="5400000" scaled="0"/>
                </a:gradFill>
                <a:latin typeface="Segoe UI Light"/>
              </a:rPr>
              <a:t>&amp; Information Protection Booth</a:t>
            </a: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val="4099191068"/>
              </p:ext>
            </p:extLst>
          </p:nvPr>
        </p:nvGraphicFramePr>
        <p:xfrm>
          <a:off x="535251" y="2355328"/>
          <a:ext cx="11434670" cy="2926080"/>
        </p:xfrm>
        <a:graphic>
          <a:graphicData uri="http://schemas.openxmlformats.org/drawingml/2006/table">
            <a:tbl>
              <a:tblPr firstRow="1" firstCol="1" bandRow="1">
                <a:tableStyleId>{2D5ABB26-0587-4C30-8999-92F81FD0307C}</a:tableStyleId>
              </a:tblPr>
              <a:tblGrid>
                <a:gridCol w="1595474"/>
                <a:gridCol w="9839196"/>
              </a:tblGrid>
              <a:tr h="374520">
                <a:tc>
                  <a:txBody>
                    <a:bodyPr/>
                    <a:lstStyle/>
                    <a:p>
                      <a:pPr marL="0" marR="0">
                        <a:spcBef>
                          <a:spcPts val="0"/>
                        </a:spcBef>
                        <a:spcAft>
                          <a:spcPts val="0"/>
                        </a:spcAft>
                      </a:pPr>
                      <a:r>
                        <a:rPr lang="en-US" sz="2400" dirty="0">
                          <a:effectLst/>
                        </a:rPr>
                        <a:t>WCA-B214</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2400" dirty="0">
                          <a:effectLst/>
                        </a:rPr>
                        <a:t>Windows Server Work Folders overview – my corporate data on all my device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418581">
                <a:tc>
                  <a:txBody>
                    <a:bodyPr/>
                    <a:lstStyle/>
                    <a:p>
                      <a:pPr marL="0" marR="0">
                        <a:spcBef>
                          <a:spcPts val="0"/>
                        </a:spcBef>
                        <a:spcAft>
                          <a:spcPts val="0"/>
                        </a:spcAft>
                      </a:pPr>
                      <a:r>
                        <a:rPr lang="en-US" sz="2400">
                          <a:effectLst/>
                        </a:rPr>
                        <a:t>WCA-B332</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2400" dirty="0">
                          <a:effectLst/>
                        </a:rPr>
                        <a:t>Windows Server Work Folders – a deep dive into the new Windows Server data sync solution </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583811">
                <a:tc>
                  <a:txBody>
                    <a:bodyPr/>
                    <a:lstStyle/>
                    <a:p>
                      <a:pPr marL="0" marR="0">
                        <a:spcBef>
                          <a:spcPts val="0"/>
                        </a:spcBef>
                        <a:spcAft>
                          <a:spcPts val="0"/>
                        </a:spcAft>
                      </a:pPr>
                      <a:r>
                        <a:rPr lang="en-US" sz="2400">
                          <a:effectLst/>
                        </a:rPr>
                        <a:t>WCA-B333</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2400" dirty="0">
                          <a:effectLst/>
                        </a:rPr>
                        <a:t>Enable work from anywhere without losing sleep: remote access with the Web Application Proxy and VPN solution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r h="424883">
                <a:tc>
                  <a:txBody>
                    <a:bodyPr/>
                    <a:lstStyle/>
                    <a:p>
                      <a:pPr marL="0" marR="0">
                        <a:spcBef>
                          <a:spcPts val="0"/>
                        </a:spcBef>
                        <a:spcAft>
                          <a:spcPts val="0"/>
                        </a:spcAft>
                      </a:pPr>
                      <a:r>
                        <a:rPr lang="en-US" sz="2400">
                          <a:effectLst/>
                        </a:rPr>
                        <a:t>WCA-B334</a:t>
                      </a:r>
                      <a:endParaRPr lang="en-US" sz="280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c>
                  <a:txBody>
                    <a:bodyPr/>
                    <a:lstStyle/>
                    <a:p>
                      <a:pPr marL="0" marR="0">
                        <a:spcBef>
                          <a:spcPts val="0"/>
                        </a:spcBef>
                        <a:spcAft>
                          <a:spcPts val="0"/>
                        </a:spcAft>
                      </a:pPr>
                      <a:r>
                        <a:rPr lang="en-US" sz="2400" dirty="0">
                          <a:effectLst/>
                        </a:rPr>
                        <a:t>Secure anywhere access to corporate resources such as Windows Server Work Folders using </a:t>
                      </a:r>
                      <a:r>
                        <a:rPr lang="en-US" sz="2400" dirty="0" smtClean="0">
                          <a:effectLst/>
                        </a:rPr>
                        <a:t>ADFS</a:t>
                      </a:r>
                      <a:endParaRPr lang="en-US"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60355" marR="60355" marT="0" marB="0"/>
                </a:tc>
              </a:tr>
            </a:tbl>
          </a:graphicData>
        </a:graphic>
      </p:graphicFrame>
      <p:sp>
        <p:nvSpPr>
          <p:cNvPr id="13" name="Rectangle 12"/>
          <p:cNvSpPr/>
          <p:nvPr/>
        </p:nvSpPr>
        <p:spPr bwMode="invGray">
          <a:xfrm>
            <a:off x="372499" y="134579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latin typeface="Segoe UI Light"/>
              </a:rPr>
              <a:t>Breakout Sessions</a:t>
            </a:r>
          </a:p>
        </p:txBody>
      </p:sp>
    </p:spTree>
    <p:extLst>
      <p:ext uri="{BB962C8B-B14F-4D97-AF65-F5344CB8AC3E}">
        <p14:creationId xmlns:p14="http://schemas.microsoft.com/office/powerpoint/2010/main" val="172338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125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000" fill="hold"/>
                                        <p:tgtEl>
                                          <p:spTgt spid="9"/>
                                        </p:tgtEl>
                                        <p:attrNameLst>
                                          <p:attrName>ppt_x</p:attrName>
                                        </p:attrNameLst>
                                      </p:cBhvr>
                                      <p:tavLst>
                                        <p:tav tm="0">
                                          <p:val>
                                            <p:strVal val="0-#ppt_w/2"/>
                                          </p:val>
                                        </p:tav>
                                        <p:tav tm="100000">
                                          <p:val>
                                            <p:strVal val="#ppt_x"/>
                                          </p:val>
                                        </p:tav>
                                      </p:tavLst>
                                    </p:anim>
                                    <p:anim calcmode="lin" valueType="num">
                                      <p:cBhvr additive="base">
                                        <p:cTn id="12" dur="1000" fill="hold"/>
                                        <p:tgtEl>
                                          <p:spTgt spid="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13"/>
                                        </p:tgtEl>
                                        <p:attrNameLst>
                                          <p:attrName>style.visibility</p:attrName>
                                        </p:attrNameLst>
                                      </p:cBhvr>
                                      <p:to>
                                        <p:strVal val="visible"/>
                                      </p:to>
                                    </p:set>
                                    <p:anim calcmode="lin" valueType="num">
                                      <p:cBhvr additive="base">
                                        <p:cTn id="15" dur="1000" fill="hold"/>
                                        <p:tgtEl>
                                          <p:spTgt spid="13"/>
                                        </p:tgtEl>
                                        <p:attrNameLst>
                                          <p:attrName>ppt_x</p:attrName>
                                        </p:attrNameLst>
                                      </p:cBhvr>
                                      <p:tavLst>
                                        <p:tav tm="0">
                                          <p:val>
                                            <p:strVal val="0-#ppt_w/2"/>
                                          </p:val>
                                        </p:tav>
                                        <p:tav tm="100000">
                                          <p:val>
                                            <p:strVal val="#ppt_x"/>
                                          </p:val>
                                        </p:tav>
                                      </p:tavLst>
                                    </p:anim>
                                    <p:anim calcmode="lin" valueType="num">
                                      <p:cBhvr additive="base">
                                        <p:cTn id="16" dur="10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2299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374050302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0570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6443404" y="1516054"/>
            <a:ext cx="2604680" cy="4288362"/>
            <a:chOff x="4781054" y="-3123506"/>
            <a:chExt cx="2605050" cy="4288970"/>
          </a:xfrm>
        </p:grpSpPr>
        <p:sp>
          <p:nvSpPr>
            <p:cNvPr id="89" name="Text Placeholder 12"/>
            <p:cNvSpPr txBox="1">
              <a:spLocks/>
            </p:cNvSpPr>
            <p:nvPr/>
          </p:nvSpPr>
          <p:spPr>
            <a:xfrm>
              <a:off x="4781054" y="487728"/>
              <a:ext cx="2605050" cy="677736"/>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Deploying and managing applications </a:t>
              </a:r>
              <a:r>
                <a:rPr lang="en-US" sz="1599" b="1" spc="0" dirty="0">
                  <a:solidFill>
                    <a:srgbClr val="FFFFFF"/>
                  </a:solidFill>
                  <a:latin typeface="Segoe UI" pitchFamily="34" charset="0"/>
                  <a:ea typeface="Segoe UI" pitchFamily="34" charset="0"/>
                  <a:cs typeface="Segoe UI" pitchFamily="34" charset="0"/>
                </a:rPr>
                <a:t>across platforms </a:t>
              </a:r>
              <a:r>
                <a:rPr lang="en-US" sz="1599" spc="0" dirty="0">
                  <a:solidFill>
                    <a:srgbClr val="FFFFFF"/>
                  </a:solidFill>
                  <a:latin typeface="Segoe UI" pitchFamily="34" charset="0"/>
                  <a:ea typeface="Segoe UI" pitchFamily="34" charset="0"/>
                  <a:cs typeface="Segoe UI" pitchFamily="34" charset="0"/>
                </a:rPr>
                <a:t>is difficult.</a:t>
              </a:r>
            </a:p>
          </p:txBody>
        </p:sp>
        <p:sp>
          <p:nvSpPr>
            <p:cNvPr id="90" name="Text Placeholder 12"/>
            <p:cNvSpPr txBox="1">
              <a:spLocks/>
            </p:cNvSpPr>
            <p:nvPr/>
          </p:nvSpPr>
          <p:spPr>
            <a:xfrm>
              <a:off x="5277045" y="-112942"/>
              <a:ext cx="1236539"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Apps</a:t>
              </a:r>
            </a:p>
          </p:txBody>
        </p:sp>
        <p:grpSp>
          <p:nvGrpSpPr>
            <p:cNvPr id="91" name="Group 90"/>
            <p:cNvGrpSpPr/>
            <p:nvPr/>
          </p:nvGrpSpPr>
          <p:grpSpPr>
            <a:xfrm>
              <a:off x="5046546" y="-3123506"/>
              <a:ext cx="1674215" cy="2510160"/>
              <a:chOff x="8801281" y="216504"/>
              <a:chExt cx="1491445" cy="2236132"/>
            </a:xfrm>
          </p:grpSpPr>
          <p:grpSp>
            <p:nvGrpSpPr>
              <p:cNvPr id="105" name="Group 104"/>
              <p:cNvGrpSpPr/>
              <p:nvPr/>
            </p:nvGrpSpPr>
            <p:grpSpPr>
              <a:xfrm>
                <a:off x="8801281" y="216504"/>
                <a:ext cx="1491445" cy="2236132"/>
                <a:chOff x="6649918" y="1518736"/>
                <a:chExt cx="1632914" cy="2448236"/>
              </a:xfrm>
            </p:grpSpPr>
            <p:sp>
              <p:nvSpPr>
                <p:cNvPr id="106"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8"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9"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0"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1"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grpSp>
          <p:grpSp>
            <p:nvGrpSpPr>
              <p:cNvPr id="93" name="Group 29"/>
              <p:cNvGrpSpPr>
                <a:grpSpLocks noChangeAspect="1"/>
              </p:cNvGrpSpPr>
              <p:nvPr/>
            </p:nvGrpSpPr>
            <p:grpSpPr bwMode="auto">
              <a:xfrm>
                <a:off x="8804898" y="979278"/>
                <a:ext cx="701892" cy="703330"/>
                <a:chOff x="5541" y="601"/>
                <a:chExt cx="488" cy="489"/>
              </a:xfrm>
              <a:solidFill>
                <a:schemeClr val="accent3"/>
              </a:solidFill>
            </p:grpSpPr>
            <p:sp>
              <p:nvSpPr>
                <p:cNvPr id="94" name="Freeform 31"/>
                <p:cNvSpPr>
                  <a:spLocks noEditPoints="1"/>
                </p:cNvSpPr>
                <p:nvPr/>
              </p:nvSpPr>
              <p:spPr bwMode="auto">
                <a:xfrm>
                  <a:off x="5659" y="870"/>
                  <a:ext cx="325" cy="195"/>
                </a:xfrm>
                <a:custGeom>
                  <a:avLst/>
                  <a:gdLst>
                    <a:gd name="T0" fmla="*/ 1001 w 2278"/>
                    <a:gd name="T1" fmla="*/ 1347 h 1363"/>
                    <a:gd name="T2" fmla="*/ 824 w 2278"/>
                    <a:gd name="T3" fmla="*/ 1335 h 1363"/>
                    <a:gd name="T4" fmla="*/ 806 w 2278"/>
                    <a:gd name="T5" fmla="*/ 1323 h 1363"/>
                    <a:gd name="T6" fmla="*/ 819 w 2278"/>
                    <a:gd name="T7" fmla="*/ 1303 h 1363"/>
                    <a:gd name="T8" fmla="*/ 488 w 2278"/>
                    <a:gd name="T9" fmla="*/ 922 h 1363"/>
                    <a:gd name="T10" fmla="*/ 510 w 2278"/>
                    <a:gd name="T11" fmla="*/ 923 h 1363"/>
                    <a:gd name="T12" fmla="*/ 627 w 2278"/>
                    <a:gd name="T13" fmla="*/ 906 h 1363"/>
                    <a:gd name="T14" fmla="*/ 1347 w 2278"/>
                    <a:gd name="T15" fmla="*/ 881 h 1363"/>
                    <a:gd name="T16" fmla="*/ 1423 w 2278"/>
                    <a:gd name="T17" fmla="*/ 820 h 1363"/>
                    <a:gd name="T18" fmla="*/ 899 w 2278"/>
                    <a:gd name="T19" fmla="*/ 785 h 1363"/>
                    <a:gd name="T20" fmla="*/ 998 w 2278"/>
                    <a:gd name="T21" fmla="*/ 771 h 1363"/>
                    <a:gd name="T22" fmla="*/ 1000 w 2278"/>
                    <a:gd name="T23" fmla="*/ 749 h 1363"/>
                    <a:gd name="T24" fmla="*/ 1955 w 2278"/>
                    <a:gd name="T25" fmla="*/ 743 h 1363"/>
                    <a:gd name="T26" fmla="*/ 993 w 2278"/>
                    <a:gd name="T27" fmla="*/ 723 h 1363"/>
                    <a:gd name="T28" fmla="*/ 974 w 2278"/>
                    <a:gd name="T29" fmla="*/ 702 h 1363"/>
                    <a:gd name="T30" fmla="*/ 2026 w 2278"/>
                    <a:gd name="T31" fmla="*/ 756 h 1363"/>
                    <a:gd name="T32" fmla="*/ 1981 w 2278"/>
                    <a:gd name="T33" fmla="*/ 801 h 1363"/>
                    <a:gd name="T34" fmla="*/ 2030 w 2278"/>
                    <a:gd name="T35" fmla="*/ 715 h 1363"/>
                    <a:gd name="T36" fmla="*/ 717 w 2278"/>
                    <a:gd name="T37" fmla="*/ 687 h 1363"/>
                    <a:gd name="T38" fmla="*/ 1944 w 2278"/>
                    <a:gd name="T39" fmla="*/ 679 h 1363"/>
                    <a:gd name="T40" fmla="*/ 1016 w 2278"/>
                    <a:gd name="T41" fmla="*/ 667 h 1363"/>
                    <a:gd name="T42" fmla="*/ 55 w 2278"/>
                    <a:gd name="T43" fmla="*/ 649 h 1363"/>
                    <a:gd name="T44" fmla="*/ 995 w 2278"/>
                    <a:gd name="T45" fmla="*/ 640 h 1363"/>
                    <a:gd name="T46" fmla="*/ 851 w 2278"/>
                    <a:gd name="T47" fmla="*/ 662 h 1363"/>
                    <a:gd name="T48" fmla="*/ 807 w 2278"/>
                    <a:gd name="T49" fmla="*/ 670 h 1363"/>
                    <a:gd name="T50" fmla="*/ 1535 w 2278"/>
                    <a:gd name="T51" fmla="*/ 630 h 1363"/>
                    <a:gd name="T52" fmla="*/ 951 w 2278"/>
                    <a:gd name="T53" fmla="*/ 630 h 1363"/>
                    <a:gd name="T54" fmla="*/ 1970 w 2278"/>
                    <a:gd name="T55" fmla="*/ 646 h 1363"/>
                    <a:gd name="T56" fmla="*/ 700 w 2278"/>
                    <a:gd name="T57" fmla="*/ 623 h 1363"/>
                    <a:gd name="T58" fmla="*/ 728 w 2278"/>
                    <a:gd name="T59" fmla="*/ 659 h 1363"/>
                    <a:gd name="T60" fmla="*/ 657 w 2278"/>
                    <a:gd name="T61" fmla="*/ 637 h 1363"/>
                    <a:gd name="T62" fmla="*/ 592 w 2278"/>
                    <a:gd name="T63" fmla="*/ 641 h 1363"/>
                    <a:gd name="T64" fmla="*/ 828 w 2278"/>
                    <a:gd name="T65" fmla="*/ 605 h 1363"/>
                    <a:gd name="T66" fmla="*/ 760 w 2278"/>
                    <a:gd name="T67" fmla="*/ 595 h 1363"/>
                    <a:gd name="T68" fmla="*/ 1549 w 2278"/>
                    <a:gd name="T69" fmla="*/ 610 h 1363"/>
                    <a:gd name="T70" fmla="*/ 654 w 2278"/>
                    <a:gd name="T71" fmla="*/ 605 h 1363"/>
                    <a:gd name="T72" fmla="*/ 756 w 2278"/>
                    <a:gd name="T73" fmla="*/ 579 h 1363"/>
                    <a:gd name="T74" fmla="*/ 723 w 2278"/>
                    <a:gd name="T75" fmla="*/ 571 h 1363"/>
                    <a:gd name="T76" fmla="*/ 1888 w 2278"/>
                    <a:gd name="T77" fmla="*/ 526 h 1363"/>
                    <a:gd name="T78" fmla="*/ 2 w 2278"/>
                    <a:gd name="T79" fmla="*/ 488 h 1363"/>
                    <a:gd name="T80" fmla="*/ 967 w 2278"/>
                    <a:gd name="T81" fmla="*/ 444 h 1363"/>
                    <a:gd name="T82" fmla="*/ 2260 w 2278"/>
                    <a:gd name="T83" fmla="*/ 452 h 1363"/>
                    <a:gd name="T84" fmla="*/ 1686 w 2278"/>
                    <a:gd name="T85" fmla="*/ 345 h 1363"/>
                    <a:gd name="T86" fmla="*/ 1548 w 2278"/>
                    <a:gd name="T87" fmla="*/ 272 h 1363"/>
                    <a:gd name="T88" fmla="*/ 1582 w 2278"/>
                    <a:gd name="T89" fmla="*/ 251 h 1363"/>
                    <a:gd name="T90" fmla="*/ 1551 w 2278"/>
                    <a:gd name="T91" fmla="*/ 246 h 1363"/>
                    <a:gd name="T92" fmla="*/ 2024 w 2278"/>
                    <a:gd name="T93" fmla="*/ 212 h 1363"/>
                    <a:gd name="T94" fmla="*/ 1804 w 2278"/>
                    <a:gd name="T95" fmla="*/ 247 h 1363"/>
                    <a:gd name="T96" fmla="*/ 1770 w 2278"/>
                    <a:gd name="T97" fmla="*/ 228 h 1363"/>
                    <a:gd name="T98" fmla="*/ 1936 w 2278"/>
                    <a:gd name="T99" fmla="*/ 195 h 1363"/>
                    <a:gd name="T100" fmla="*/ 1865 w 2278"/>
                    <a:gd name="T101" fmla="*/ 184 h 1363"/>
                    <a:gd name="T102" fmla="*/ 1873 w 2278"/>
                    <a:gd name="T103" fmla="*/ 171 h 1363"/>
                    <a:gd name="T104" fmla="*/ 1914 w 2278"/>
                    <a:gd name="T105" fmla="*/ 180 h 1363"/>
                    <a:gd name="T106" fmla="*/ 1910 w 2278"/>
                    <a:gd name="T107" fmla="*/ 145 h 1363"/>
                    <a:gd name="T108" fmla="*/ 1970 w 2278"/>
                    <a:gd name="T109" fmla="*/ 154 h 1363"/>
                    <a:gd name="T110" fmla="*/ 1953 w 2278"/>
                    <a:gd name="T111" fmla="*/ 126 h 1363"/>
                    <a:gd name="T112" fmla="*/ 508 w 2278"/>
                    <a:gd name="T113" fmla="*/ 93 h 1363"/>
                    <a:gd name="T114" fmla="*/ 2032 w 2278"/>
                    <a:gd name="T115" fmla="*/ 119 h 1363"/>
                    <a:gd name="T116" fmla="*/ 2016 w 2278"/>
                    <a:gd name="T117" fmla="*/ 178 h 1363"/>
                    <a:gd name="T118" fmla="*/ 1988 w 2278"/>
                    <a:gd name="T119" fmla="*/ 139 h 1363"/>
                    <a:gd name="T120" fmla="*/ 2090 w 2278"/>
                    <a:gd name="T121" fmla="*/ 44 h 1363"/>
                    <a:gd name="T122" fmla="*/ 498 w 2278"/>
                    <a:gd name="T123" fmla="*/ 2 h 1363"/>
                    <a:gd name="T124" fmla="*/ 2219 w 2278"/>
                    <a:gd name="T125" fmla="*/ 41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78" h="1363">
                      <a:moveTo>
                        <a:pt x="837" y="1356"/>
                      </a:moveTo>
                      <a:lnTo>
                        <a:pt x="839" y="1357"/>
                      </a:lnTo>
                      <a:lnTo>
                        <a:pt x="840" y="1358"/>
                      </a:lnTo>
                      <a:lnTo>
                        <a:pt x="841" y="1361"/>
                      </a:lnTo>
                      <a:lnTo>
                        <a:pt x="840" y="1363"/>
                      </a:lnTo>
                      <a:lnTo>
                        <a:pt x="839" y="1363"/>
                      </a:lnTo>
                      <a:lnTo>
                        <a:pt x="836" y="1361"/>
                      </a:lnTo>
                      <a:lnTo>
                        <a:pt x="835" y="1360"/>
                      </a:lnTo>
                      <a:lnTo>
                        <a:pt x="834" y="1360"/>
                      </a:lnTo>
                      <a:lnTo>
                        <a:pt x="833" y="1360"/>
                      </a:lnTo>
                      <a:lnTo>
                        <a:pt x="833" y="1359"/>
                      </a:lnTo>
                      <a:lnTo>
                        <a:pt x="833" y="1359"/>
                      </a:lnTo>
                      <a:lnTo>
                        <a:pt x="834" y="1358"/>
                      </a:lnTo>
                      <a:lnTo>
                        <a:pt x="835" y="1357"/>
                      </a:lnTo>
                      <a:lnTo>
                        <a:pt x="837" y="1356"/>
                      </a:lnTo>
                      <a:close/>
                      <a:moveTo>
                        <a:pt x="1014" y="1341"/>
                      </a:moveTo>
                      <a:lnTo>
                        <a:pt x="1015" y="1341"/>
                      </a:lnTo>
                      <a:lnTo>
                        <a:pt x="1016" y="1343"/>
                      </a:lnTo>
                      <a:lnTo>
                        <a:pt x="1015" y="1345"/>
                      </a:lnTo>
                      <a:lnTo>
                        <a:pt x="1015" y="1346"/>
                      </a:lnTo>
                      <a:lnTo>
                        <a:pt x="1012" y="1346"/>
                      </a:lnTo>
                      <a:lnTo>
                        <a:pt x="1012" y="1346"/>
                      </a:lnTo>
                      <a:lnTo>
                        <a:pt x="1011" y="1346"/>
                      </a:lnTo>
                      <a:lnTo>
                        <a:pt x="1010" y="1348"/>
                      </a:lnTo>
                      <a:lnTo>
                        <a:pt x="1008" y="1349"/>
                      </a:lnTo>
                      <a:lnTo>
                        <a:pt x="1007" y="1350"/>
                      </a:lnTo>
                      <a:lnTo>
                        <a:pt x="1006" y="1350"/>
                      </a:lnTo>
                      <a:lnTo>
                        <a:pt x="1006" y="1350"/>
                      </a:lnTo>
                      <a:lnTo>
                        <a:pt x="1006" y="1349"/>
                      </a:lnTo>
                      <a:lnTo>
                        <a:pt x="1005" y="1348"/>
                      </a:lnTo>
                      <a:lnTo>
                        <a:pt x="1004" y="1346"/>
                      </a:lnTo>
                      <a:lnTo>
                        <a:pt x="1001" y="1347"/>
                      </a:lnTo>
                      <a:lnTo>
                        <a:pt x="1000" y="1348"/>
                      </a:lnTo>
                      <a:lnTo>
                        <a:pt x="998" y="1350"/>
                      </a:lnTo>
                      <a:lnTo>
                        <a:pt x="997" y="1352"/>
                      </a:lnTo>
                      <a:lnTo>
                        <a:pt x="996" y="1354"/>
                      </a:lnTo>
                      <a:lnTo>
                        <a:pt x="994" y="1354"/>
                      </a:lnTo>
                      <a:lnTo>
                        <a:pt x="992" y="1354"/>
                      </a:lnTo>
                      <a:lnTo>
                        <a:pt x="990" y="1353"/>
                      </a:lnTo>
                      <a:lnTo>
                        <a:pt x="990" y="1352"/>
                      </a:lnTo>
                      <a:lnTo>
                        <a:pt x="992" y="1350"/>
                      </a:lnTo>
                      <a:lnTo>
                        <a:pt x="994" y="1350"/>
                      </a:lnTo>
                      <a:lnTo>
                        <a:pt x="995" y="1348"/>
                      </a:lnTo>
                      <a:lnTo>
                        <a:pt x="995" y="1347"/>
                      </a:lnTo>
                      <a:lnTo>
                        <a:pt x="995" y="1347"/>
                      </a:lnTo>
                      <a:lnTo>
                        <a:pt x="994" y="1346"/>
                      </a:lnTo>
                      <a:lnTo>
                        <a:pt x="994" y="1345"/>
                      </a:lnTo>
                      <a:lnTo>
                        <a:pt x="994" y="1344"/>
                      </a:lnTo>
                      <a:lnTo>
                        <a:pt x="994" y="1343"/>
                      </a:lnTo>
                      <a:lnTo>
                        <a:pt x="995" y="1343"/>
                      </a:lnTo>
                      <a:lnTo>
                        <a:pt x="996" y="1342"/>
                      </a:lnTo>
                      <a:lnTo>
                        <a:pt x="998" y="1342"/>
                      </a:lnTo>
                      <a:lnTo>
                        <a:pt x="999" y="1342"/>
                      </a:lnTo>
                      <a:lnTo>
                        <a:pt x="1000" y="1341"/>
                      </a:lnTo>
                      <a:lnTo>
                        <a:pt x="1001" y="1342"/>
                      </a:lnTo>
                      <a:lnTo>
                        <a:pt x="1001" y="1343"/>
                      </a:lnTo>
                      <a:lnTo>
                        <a:pt x="1003" y="1344"/>
                      </a:lnTo>
                      <a:lnTo>
                        <a:pt x="1004" y="1343"/>
                      </a:lnTo>
                      <a:lnTo>
                        <a:pt x="1006" y="1343"/>
                      </a:lnTo>
                      <a:lnTo>
                        <a:pt x="1008" y="1342"/>
                      </a:lnTo>
                      <a:lnTo>
                        <a:pt x="1009" y="1341"/>
                      </a:lnTo>
                      <a:lnTo>
                        <a:pt x="1011" y="1341"/>
                      </a:lnTo>
                      <a:lnTo>
                        <a:pt x="1014" y="1341"/>
                      </a:lnTo>
                      <a:close/>
                      <a:moveTo>
                        <a:pt x="824" y="1335"/>
                      </a:moveTo>
                      <a:lnTo>
                        <a:pt x="826" y="1335"/>
                      </a:lnTo>
                      <a:lnTo>
                        <a:pt x="826" y="1336"/>
                      </a:lnTo>
                      <a:lnTo>
                        <a:pt x="828" y="1337"/>
                      </a:lnTo>
                      <a:lnTo>
                        <a:pt x="829" y="1337"/>
                      </a:lnTo>
                      <a:lnTo>
                        <a:pt x="830" y="1337"/>
                      </a:lnTo>
                      <a:lnTo>
                        <a:pt x="831" y="1338"/>
                      </a:lnTo>
                      <a:lnTo>
                        <a:pt x="831" y="1338"/>
                      </a:lnTo>
                      <a:lnTo>
                        <a:pt x="831" y="1339"/>
                      </a:lnTo>
                      <a:lnTo>
                        <a:pt x="831" y="1341"/>
                      </a:lnTo>
                      <a:lnTo>
                        <a:pt x="831" y="1341"/>
                      </a:lnTo>
                      <a:lnTo>
                        <a:pt x="831" y="1342"/>
                      </a:lnTo>
                      <a:lnTo>
                        <a:pt x="830" y="1342"/>
                      </a:lnTo>
                      <a:lnTo>
                        <a:pt x="829" y="1342"/>
                      </a:lnTo>
                      <a:lnTo>
                        <a:pt x="826" y="1343"/>
                      </a:lnTo>
                      <a:lnTo>
                        <a:pt x="825" y="1343"/>
                      </a:lnTo>
                      <a:lnTo>
                        <a:pt x="824" y="1343"/>
                      </a:lnTo>
                      <a:lnTo>
                        <a:pt x="824" y="1342"/>
                      </a:lnTo>
                      <a:lnTo>
                        <a:pt x="823" y="1339"/>
                      </a:lnTo>
                      <a:lnTo>
                        <a:pt x="823" y="1338"/>
                      </a:lnTo>
                      <a:lnTo>
                        <a:pt x="823" y="1337"/>
                      </a:lnTo>
                      <a:lnTo>
                        <a:pt x="824" y="1335"/>
                      </a:lnTo>
                      <a:close/>
                      <a:moveTo>
                        <a:pt x="812" y="1320"/>
                      </a:moveTo>
                      <a:lnTo>
                        <a:pt x="813" y="1320"/>
                      </a:lnTo>
                      <a:lnTo>
                        <a:pt x="813" y="1322"/>
                      </a:lnTo>
                      <a:lnTo>
                        <a:pt x="813" y="1323"/>
                      </a:lnTo>
                      <a:lnTo>
                        <a:pt x="812" y="1325"/>
                      </a:lnTo>
                      <a:lnTo>
                        <a:pt x="810" y="1325"/>
                      </a:lnTo>
                      <a:lnTo>
                        <a:pt x="808" y="1326"/>
                      </a:lnTo>
                      <a:lnTo>
                        <a:pt x="806" y="1326"/>
                      </a:lnTo>
                      <a:lnTo>
                        <a:pt x="804" y="1326"/>
                      </a:lnTo>
                      <a:lnTo>
                        <a:pt x="804" y="1324"/>
                      </a:lnTo>
                      <a:lnTo>
                        <a:pt x="806" y="1323"/>
                      </a:lnTo>
                      <a:lnTo>
                        <a:pt x="808" y="1321"/>
                      </a:lnTo>
                      <a:lnTo>
                        <a:pt x="809" y="1321"/>
                      </a:lnTo>
                      <a:lnTo>
                        <a:pt x="811" y="1320"/>
                      </a:lnTo>
                      <a:lnTo>
                        <a:pt x="812" y="1320"/>
                      </a:lnTo>
                      <a:close/>
                      <a:moveTo>
                        <a:pt x="825" y="1319"/>
                      </a:moveTo>
                      <a:lnTo>
                        <a:pt x="825" y="1319"/>
                      </a:lnTo>
                      <a:lnTo>
                        <a:pt x="826" y="1319"/>
                      </a:lnTo>
                      <a:lnTo>
                        <a:pt x="828" y="1320"/>
                      </a:lnTo>
                      <a:lnTo>
                        <a:pt x="829" y="1321"/>
                      </a:lnTo>
                      <a:lnTo>
                        <a:pt x="829" y="1321"/>
                      </a:lnTo>
                      <a:lnTo>
                        <a:pt x="830" y="1321"/>
                      </a:lnTo>
                      <a:lnTo>
                        <a:pt x="831" y="1322"/>
                      </a:lnTo>
                      <a:lnTo>
                        <a:pt x="831" y="1323"/>
                      </a:lnTo>
                      <a:lnTo>
                        <a:pt x="831" y="1324"/>
                      </a:lnTo>
                      <a:lnTo>
                        <a:pt x="830" y="1325"/>
                      </a:lnTo>
                      <a:lnTo>
                        <a:pt x="829" y="1325"/>
                      </a:lnTo>
                      <a:lnTo>
                        <a:pt x="829" y="1324"/>
                      </a:lnTo>
                      <a:lnTo>
                        <a:pt x="828" y="1324"/>
                      </a:lnTo>
                      <a:lnTo>
                        <a:pt x="826" y="1324"/>
                      </a:lnTo>
                      <a:lnTo>
                        <a:pt x="825" y="1324"/>
                      </a:lnTo>
                      <a:lnTo>
                        <a:pt x="824" y="1324"/>
                      </a:lnTo>
                      <a:lnTo>
                        <a:pt x="824" y="1323"/>
                      </a:lnTo>
                      <a:lnTo>
                        <a:pt x="824" y="1322"/>
                      </a:lnTo>
                      <a:lnTo>
                        <a:pt x="824" y="1320"/>
                      </a:lnTo>
                      <a:lnTo>
                        <a:pt x="824" y="1319"/>
                      </a:lnTo>
                      <a:lnTo>
                        <a:pt x="825" y="1319"/>
                      </a:lnTo>
                      <a:close/>
                      <a:moveTo>
                        <a:pt x="813" y="1301"/>
                      </a:moveTo>
                      <a:lnTo>
                        <a:pt x="815" y="1301"/>
                      </a:lnTo>
                      <a:lnTo>
                        <a:pt x="818" y="1302"/>
                      </a:lnTo>
                      <a:lnTo>
                        <a:pt x="819" y="1302"/>
                      </a:lnTo>
                      <a:lnTo>
                        <a:pt x="819" y="1302"/>
                      </a:lnTo>
                      <a:lnTo>
                        <a:pt x="819" y="1303"/>
                      </a:lnTo>
                      <a:lnTo>
                        <a:pt x="818" y="1304"/>
                      </a:lnTo>
                      <a:lnTo>
                        <a:pt x="818" y="1305"/>
                      </a:lnTo>
                      <a:lnTo>
                        <a:pt x="818" y="1305"/>
                      </a:lnTo>
                      <a:lnTo>
                        <a:pt x="818" y="1305"/>
                      </a:lnTo>
                      <a:lnTo>
                        <a:pt x="818" y="1306"/>
                      </a:lnTo>
                      <a:lnTo>
                        <a:pt x="819" y="1308"/>
                      </a:lnTo>
                      <a:lnTo>
                        <a:pt x="820" y="1310"/>
                      </a:lnTo>
                      <a:lnTo>
                        <a:pt x="821" y="1310"/>
                      </a:lnTo>
                      <a:lnTo>
                        <a:pt x="821" y="1311"/>
                      </a:lnTo>
                      <a:lnTo>
                        <a:pt x="821" y="1312"/>
                      </a:lnTo>
                      <a:lnTo>
                        <a:pt x="821" y="1314"/>
                      </a:lnTo>
                      <a:lnTo>
                        <a:pt x="820" y="1316"/>
                      </a:lnTo>
                      <a:lnTo>
                        <a:pt x="820" y="1316"/>
                      </a:lnTo>
                      <a:lnTo>
                        <a:pt x="818" y="1316"/>
                      </a:lnTo>
                      <a:lnTo>
                        <a:pt x="817" y="1316"/>
                      </a:lnTo>
                      <a:lnTo>
                        <a:pt x="814" y="1316"/>
                      </a:lnTo>
                      <a:lnTo>
                        <a:pt x="812" y="1315"/>
                      </a:lnTo>
                      <a:lnTo>
                        <a:pt x="810" y="1314"/>
                      </a:lnTo>
                      <a:lnTo>
                        <a:pt x="810" y="1313"/>
                      </a:lnTo>
                      <a:lnTo>
                        <a:pt x="810" y="1313"/>
                      </a:lnTo>
                      <a:lnTo>
                        <a:pt x="811" y="1312"/>
                      </a:lnTo>
                      <a:lnTo>
                        <a:pt x="812" y="1310"/>
                      </a:lnTo>
                      <a:lnTo>
                        <a:pt x="813" y="1308"/>
                      </a:lnTo>
                      <a:lnTo>
                        <a:pt x="812" y="1305"/>
                      </a:lnTo>
                      <a:lnTo>
                        <a:pt x="810" y="1305"/>
                      </a:lnTo>
                      <a:lnTo>
                        <a:pt x="809" y="1304"/>
                      </a:lnTo>
                      <a:lnTo>
                        <a:pt x="809" y="1303"/>
                      </a:lnTo>
                      <a:lnTo>
                        <a:pt x="810" y="1302"/>
                      </a:lnTo>
                      <a:lnTo>
                        <a:pt x="811" y="1301"/>
                      </a:lnTo>
                      <a:lnTo>
                        <a:pt x="813" y="1301"/>
                      </a:lnTo>
                      <a:close/>
                      <a:moveTo>
                        <a:pt x="481" y="918"/>
                      </a:moveTo>
                      <a:lnTo>
                        <a:pt x="488" y="922"/>
                      </a:lnTo>
                      <a:lnTo>
                        <a:pt x="493" y="927"/>
                      </a:lnTo>
                      <a:lnTo>
                        <a:pt x="497" y="932"/>
                      </a:lnTo>
                      <a:lnTo>
                        <a:pt x="504" y="933"/>
                      </a:lnTo>
                      <a:lnTo>
                        <a:pt x="509" y="935"/>
                      </a:lnTo>
                      <a:lnTo>
                        <a:pt x="516" y="935"/>
                      </a:lnTo>
                      <a:lnTo>
                        <a:pt x="520" y="937"/>
                      </a:lnTo>
                      <a:lnTo>
                        <a:pt x="524" y="940"/>
                      </a:lnTo>
                      <a:lnTo>
                        <a:pt x="524" y="942"/>
                      </a:lnTo>
                      <a:lnTo>
                        <a:pt x="524" y="943"/>
                      </a:lnTo>
                      <a:lnTo>
                        <a:pt x="523" y="944"/>
                      </a:lnTo>
                      <a:lnTo>
                        <a:pt x="520" y="945"/>
                      </a:lnTo>
                      <a:lnTo>
                        <a:pt x="518" y="945"/>
                      </a:lnTo>
                      <a:lnTo>
                        <a:pt x="517" y="945"/>
                      </a:lnTo>
                      <a:lnTo>
                        <a:pt x="515" y="946"/>
                      </a:lnTo>
                      <a:lnTo>
                        <a:pt x="514" y="946"/>
                      </a:lnTo>
                      <a:lnTo>
                        <a:pt x="504" y="944"/>
                      </a:lnTo>
                      <a:lnTo>
                        <a:pt x="494" y="940"/>
                      </a:lnTo>
                      <a:lnTo>
                        <a:pt x="491" y="940"/>
                      </a:lnTo>
                      <a:lnTo>
                        <a:pt x="486" y="940"/>
                      </a:lnTo>
                      <a:lnTo>
                        <a:pt x="483" y="939"/>
                      </a:lnTo>
                      <a:lnTo>
                        <a:pt x="481" y="939"/>
                      </a:lnTo>
                      <a:lnTo>
                        <a:pt x="479" y="937"/>
                      </a:lnTo>
                      <a:lnTo>
                        <a:pt x="474" y="931"/>
                      </a:lnTo>
                      <a:lnTo>
                        <a:pt x="473" y="926"/>
                      </a:lnTo>
                      <a:lnTo>
                        <a:pt x="475" y="920"/>
                      </a:lnTo>
                      <a:lnTo>
                        <a:pt x="481" y="918"/>
                      </a:lnTo>
                      <a:close/>
                      <a:moveTo>
                        <a:pt x="497" y="911"/>
                      </a:moveTo>
                      <a:lnTo>
                        <a:pt x="503" y="912"/>
                      </a:lnTo>
                      <a:lnTo>
                        <a:pt x="509" y="913"/>
                      </a:lnTo>
                      <a:lnTo>
                        <a:pt x="514" y="917"/>
                      </a:lnTo>
                      <a:lnTo>
                        <a:pt x="515" y="921"/>
                      </a:lnTo>
                      <a:lnTo>
                        <a:pt x="510" y="923"/>
                      </a:lnTo>
                      <a:lnTo>
                        <a:pt x="505" y="923"/>
                      </a:lnTo>
                      <a:lnTo>
                        <a:pt x="498" y="922"/>
                      </a:lnTo>
                      <a:lnTo>
                        <a:pt x="494" y="919"/>
                      </a:lnTo>
                      <a:lnTo>
                        <a:pt x="492" y="916"/>
                      </a:lnTo>
                      <a:lnTo>
                        <a:pt x="493" y="912"/>
                      </a:lnTo>
                      <a:lnTo>
                        <a:pt x="497" y="911"/>
                      </a:lnTo>
                      <a:close/>
                      <a:moveTo>
                        <a:pt x="466" y="909"/>
                      </a:moveTo>
                      <a:lnTo>
                        <a:pt x="469" y="909"/>
                      </a:lnTo>
                      <a:lnTo>
                        <a:pt x="471" y="910"/>
                      </a:lnTo>
                      <a:lnTo>
                        <a:pt x="473" y="911"/>
                      </a:lnTo>
                      <a:lnTo>
                        <a:pt x="475" y="912"/>
                      </a:lnTo>
                      <a:lnTo>
                        <a:pt x="477" y="912"/>
                      </a:lnTo>
                      <a:lnTo>
                        <a:pt x="477" y="913"/>
                      </a:lnTo>
                      <a:lnTo>
                        <a:pt x="479" y="915"/>
                      </a:lnTo>
                      <a:lnTo>
                        <a:pt x="479" y="916"/>
                      </a:lnTo>
                      <a:lnTo>
                        <a:pt x="477" y="917"/>
                      </a:lnTo>
                      <a:lnTo>
                        <a:pt x="477" y="918"/>
                      </a:lnTo>
                      <a:lnTo>
                        <a:pt x="475" y="918"/>
                      </a:lnTo>
                      <a:lnTo>
                        <a:pt x="471" y="918"/>
                      </a:lnTo>
                      <a:lnTo>
                        <a:pt x="466" y="917"/>
                      </a:lnTo>
                      <a:lnTo>
                        <a:pt x="464" y="915"/>
                      </a:lnTo>
                      <a:lnTo>
                        <a:pt x="463" y="913"/>
                      </a:lnTo>
                      <a:lnTo>
                        <a:pt x="462" y="911"/>
                      </a:lnTo>
                      <a:lnTo>
                        <a:pt x="462" y="910"/>
                      </a:lnTo>
                      <a:lnTo>
                        <a:pt x="464" y="909"/>
                      </a:lnTo>
                      <a:lnTo>
                        <a:pt x="466" y="909"/>
                      </a:lnTo>
                      <a:close/>
                      <a:moveTo>
                        <a:pt x="623" y="892"/>
                      </a:moveTo>
                      <a:lnTo>
                        <a:pt x="624" y="894"/>
                      </a:lnTo>
                      <a:lnTo>
                        <a:pt x="626" y="896"/>
                      </a:lnTo>
                      <a:lnTo>
                        <a:pt x="627" y="898"/>
                      </a:lnTo>
                      <a:lnTo>
                        <a:pt x="627" y="901"/>
                      </a:lnTo>
                      <a:lnTo>
                        <a:pt x="627" y="906"/>
                      </a:lnTo>
                      <a:lnTo>
                        <a:pt x="626" y="908"/>
                      </a:lnTo>
                      <a:lnTo>
                        <a:pt x="625" y="908"/>
                      </a:lnTo>
                      <a:lnTo>
                        <a:pt x="624" y="908"/>
                      </a:lnTo>
                      <a:lnTo>
                        <a:pt x="622" y="906"/>
                      </a:lnTo>
                      <a:lnTo>
                        <a:pt x="621" y="905"/>
                      </a:lnTo>
                      <a:lnTo>
                        <a:pt x="621" y="902"/>
                      </a:lnTo>
                      <a:lnTo>
                        <a:pt x="619" y="900"/>
                      </a:lnTo>
                      <a:lnTo>
                        <a:pt x="619" y="897"/>
                      </a:lnTo>
                      <a:lnTo>
                        <a:pt x="621" y="895"/>
                      </a:lnTo>
                      <a:lnTo>
                        <a:pt x="622" y="894"/>
                      </a:lnTo>
                      <a:lnTo>
                        <a:pt x="623" y="892"/>
                      </a:lnTo>
                      <a:close/>
                      <a:moveTo>
                        <a:pt x="487" y="883"/>
                      </a:moveTo>
                      <a:lnTo>
                        <a:pt x="491" y="883"/>
                      </a:lnTo>
                      <a:lnTo>
                        <a:pt x="492" y="883"/>
                      </a:lnTo>
                      <a:lnTo>
                        <a:pt x="494" y="883"/>
                      </a:lnTo>
                      <a:lnTo>
                        <a:pt x="496" y="884"/>
                      </a:lnTo>
                      <a:lnTo>
                        <a:pt x="496" y="884"/>
                      </a:lnTo>
                      <a:lnTo>
                        <a:pt x="496" y="885"/>
                      </a:lnTo>
                      <a:lnTo>
                        <a:pt x="497" y="886"/>
                      </a:lnTo>
                      <a:lnTo>
                        <a:pt x="496" y="887"/>
                      </a:lnTo>
                      <a:lnTo>
                        <a:pt x="496" y="888"/>
                      </a:lnTo>
                      <a:lnTo>
                        <a:pt x="495" y="888"/>
                      </a:lnTo>
                      <a:lnTo>
                        <a:pt x="492" y="889"/>
                      </a:lnTo>
                      <a:lnTo>
                        <a:pt x="490" y="889"/>
                      </a:lnTo>
                      <a:lnTo>
                        <a:pt x="487" y="888"/>
                      </a:lnTo>
                      <a:lnTo>
                        <a:pt x="486" y="888"/>
                      </a:lnTo>
                      <a:lnTo>
                        <a:pt x="485" y="886"/>
                      </a:lnTo>
                      <a:lnTo>
                        <a:pt x="484" y="885"/>
                      </a:lnTo>
                      <a:lnTo>
                        <a:pt x="484" y="884"/>
                      </a:lnTo>
                      <a:lnTo>
                        <a:pt x="485" y="883"/>
                      </a:lnTo>
                      <a:lnTo>
                        <a:pt x="487" y="883"/>
                      </a:lnTo>
                      <a:close/>
                      <a:moveTo>
                        <a:pt x="1347" y="881"/>
                      </a:moveTo>
                      <a:lnTo>
                        <a:pt x="1348" y="883"/>
                      </a:lnTo>
                      <a:lnTo>
                        <a:pt x="1349" y="883"/>
                      </a:lnTo>
                      <a:lnTo>
                        <a:pt x="1350" y="884"/>
                      </a:lnTo>
                      <a:lnTo>
                        <a:pt x="1349" y="885"/>
                      </a:lnTo>
                      <a:lnTo>
                        <a:pt x="1348" y="887"/>
                      </a:lnTo>
                      <a:lnTo>
                        <a:pt x="1347" y="888"/>
                      </a:lnTo>
                      <a:lnTo>
                        <a:pt x="1346" y="887"/>
                      </a:lnTo>
                      <a:lnTo>
                        <a:pt x="1345" y="886"/>
                      </a:lnTo>
                      <a:lnTo>
                        <a:pt x="1345" y="884"/>
                      </a:lnTo>
                      <a:lnTo>
                        <a:pt x="1347" y="881"/>
                      </a:lnTo>
                      <a:close/>
                      <a:moveTo>
                        <a:pt x="515" y="874"/>
                      </a:moveTo>
                      <a:lnTo>
                        <a:pt x="517" y="874"/>
                      </a:lnTo>
                      <a:lnTo>
                        <a:pt x="520" y="875"/>
                      </a:lnTo>
                      <a:lnTo>
                        <a:pt x="524" y="876"/>
                      </a:lnTo>
                      <a:lnTo>
                        <a:pt x="526" y="877"/>
                      </a:lnTo>
                      <a:lnTo>
                        <a:pt x="526" y="885"/>
                      </a:lnTo>
                      <a:lnTo>
                        <a:pt x="525" y="887"/>
                      </a:lnTo>
                      <a:lnTo>
                        <a:pt x="524" y="887"/>
                      </a:lnTo>
                      <a:lnTo>
                        <a:pt x="521" y="887"/>
                      </a:lnTo>
                      <a:lnTo>
                        <a:pt x="519" y="886"/>
                      </a:lnTo>
                      <a:lnTo>
                        <a:pt x="517" y="885"/>
                      </a:lnTo>
                      <a:lnTo>
                        <a:pt x="516" y="884"/>
                      </a:lnTo>
                      <a:lnTo>
                        <a:pt x="515" y="883"/>
                      </a:lnTo>
                      <a:lnTo>
                        <a:pt x="513" y="879"/>
                      </a:lnTo>
                      <a:lnTo>
                        <a:pt x="513" y="877"/>
                      </a:lnTo>
                      <a:lnTo>
                        <a:pt x="513" y="875"/>
                      </a:lnTo>
                      <a:lnTo>
                        <a:pt x="514" y="874"/>
                      </a:lnTo>
                      <a:lnTo>
                        <a:pt x="515" y="874"/>
                      </a:lnTo>
                      <a:close/>
                      <a:moveTo>
                        <a:pt x="1421" y="818"/>
                      </a:moveTo>
                      <a:lnTo>
                        <a:pt x="1422" y="818"/>
                      </a:lnTo>
                      <a:lnTo>
                        <a:pt x="1423" y="819"/>
                      </a:lnTo>
                      <a:lnTo>
                        <a:pt x="1423" y="820"/>
                      </a:lnTo>
                      <a:lnTo>
                        <a:pt x="1422" y="822"/>
                      </a:lnTo>
                      <a:lnTo>
                        <a:pt x="1421" y="823"/>
                      </a:lnTo>
                      <a:lnTo>
                        <a:pt x="1420" y="824"/>
                      </a:lnTo>
                      <a:lnTo>
                        <a:pt x="1418" y="824"/>
                      </a:lnTo>
                      <a:lnTo>
                        <a:pt x="1418" y="823"/>
                      </a:lnTo>
                      <a:lnTo>
                        <a:pt x="1418" y="821"/>
                      </a:lnTo>
                      <a:lnTo>
                        <a:pt x="1419" y="820"/>
                      </a:lnTo>
                      <a:lnTo>
                        <a:pt x="1420" y="819"/>
                      </a:lnTo>
                      <a:lnTo>
                        <a:pt x="1421" y="818"/>
                      </a:lnTo>
                      <a:close/>
                      <a:moveTo>
                        <a:pt x="924" y="789"/>
                      </a:moveTo>
                      <a:lnTo>
                        <a:pt x="927" y="790"/>
                      </a:lnTo>
                      <a:lnTo>
                        <a:pt x="929" y="790"/>
                      </a:lnTo>
                      <a:lnTo>
                        <a:pt x="929" y="791"/>
                      </a:lnTo>
                      <a:lnTo>
                        <a:pt x="928" y="792"/>
                      </a:lnTo>
                      <a:lnTo>
                        <a:pt x="927" y="793"/>
                      </a:lnTo>
                      <a:lnTo>
                        <a:pt x="924" y="793"/>
                      </a:lnTo>
                      <a:lnTo>
                        <a:pt x="922" y="795"/>
                      </a:lnTo>
                      <a:lnTo>
                        <a:pt x="920" y="795"/>
                      </a:lnTo>
                      <a:lnTo>
                        <a:pt x="919" y="793"/>
                      </a:lnTo>
                      <a:lnTo>
                        <a:pt x="918" y="792"/>
                      </a:lnTo>
                      <a:lnTo>
                        <a:pt x="917" y="791"/>
                      </a:lnTo>
                      <a:lnTo>
                        <a:pt x="916" y="791"/>
                      </a:lnTo>
                      <a:lnTo>
                        <a:pt x="917" y="790"/>
                      </a:lnTo>
                      <a:lnTo>
                        <a:pt x="918" y="790"/>
                      </a:lnTo>
                      <a:lnTo>
                        <a:pt x="921" y="789"/>
                      </a:lnTo>
                      <a:lnTo>
                        <a:pt x="924" y="789"/>
                      </a:lnTo>
                      <a:close/>
                      <a:moveTo>
                        <a:pt x="886" y="780"/>
                      </a:moveTo>
                      <a:lnTo>
                        <a:pt x="889" y="780"/>
                      </a:lnTo>
                      <a:lnTo>
                        <a:pt x="891" y="781"/>
                      </a:lnTo>
                      <a:lnTo>
                        <a:pt x="894" y="782"/>
                      </a:lnTo>
                      <a:lnTo>
                        <a:pt x="896" y="784"/>
                      </a:lnTo>
                      <a:lnTo>
                        <a:pt x="899" y="785"/>
                      </a:lnTo>
                      <a:lnTo>
                        <a:pt x="902" y="784"/>
                      </a:lnTo>
                      <a:lnTo>
                        <a:pt x="905" y="785"/>
                      </a:lnTo>
                      <a:lnTo>
                        <a:pt x="905" y="785"/>
                      </a:lnTo>
                      <a:lnTo>
                        <a:pt x="905" y="786"/>
                      </a:lnTo>
                      <a:lnTo>
                        <a:pt x="905" y="787"/>
                      </a:lnTo>
                      <a:lnTo>
                        <a:pt x="902" y="787"/>
                      </a:lnTo>
                      <a:lnTo>
                        <a:pt x="900" y="787"/>
                      </a:lnTo>
                      <a:lnTo>
                        <a:pt x="898" y="788"/>
                      </a:lnTo>
                      <a:lnTo>
                        <a:pt x="896" y="788"/>
                      </a:lnTo>
                      <a:lnTo>
                        <a:pt x="892" y="788"/>
                      </a:lnTo>
                      <a:lnTo>
                        <a:pt x="889" y="787"/>
                      </a:lnTo>
                      <a:lnTo>
                        <a:pt x="887" y="786"/>
                      </a:lnTo>
                      <a:lnTo>
                        <a:pt x="885" y="785"/>
                      </a:lnTo>
                      <a:lnTo>
                        <a:pt x="883" y="784"/>
                      </a:lnTo>
                      <a:lnTo>
                        <a:pt x="881" y="782"/>
                      </a:lnTo>
                      <a:lnTo>
                        <a:pt x="881" y="782"/>
                      </a:lnTo>
                      <a:lnTo>
                        <a:pt x="881" y="781"/>
                      </a:lnTo>
                      <a:lnTo>
                        <a:pt x="884" y="780"/>
                      </a:lnTo>
                      <a:lnTo>
                        <a:pt x="886" y="780"/>
                      </a:lnTo>
                      <a:close/>
                      <a:moveTo>
                        <a:pt x="1000" y="771"/>
                      </a:moveTo>
                      <a:lnTo>
                        <a:pt x="1004" y="771"/>
                      </a:lnTo>
                      <a:lnTo>
                        <a:pt x="1005" y="772"/>
                      </a:lnTo>
                      <a:lnTo>
                        <a:pt x="1006" y="774"/>
                      </a:lnTo>
                      <a:lnTo>
                        <a:pt x="1006" y="776"/>
                      </a:lnTo>
                      <a:lnTo>
                        <a:pt x="1003" y="777"/>
                      </a:lnTo>
                      <a:lnTo>
                        <a:pt x="1000" y="777"/>
                      </a:lnTo>
                      <a:lnTo>
                        <a:pt x="997" y="777"/>
                      </a:lnTo>
                      <a:lnTo>
                        <a:pt x="995" y="776"/>
                      </a:lnTo>
                      <a:lnTo>
                        <a:pt x="994" y="775"/>
                      </a:lnTo>
                      <a:lnTo>
                        <a:pt x="994" y="774"/>
                      </a:lnTo>
                      <a:lnTo>
                        <a:pt x="995" y="771"/>
                      </a:lnTo>
                      <a:lnTo>
                        <a:pt x="998" y="771"/>
                      </a:lnTo>
                      <a:lnTo>
                        <a:pt x="1000" y="771"/>
                      </a:lnTo>
                      <a:close/>
                      <a:moveTo>
                        <a:pt x="1003" y="752"/>
                      </a:moveTo>
                      <a:lnTo>
                        <a:pt x="1004" y="753"/>
                      </a:lnTo>
                      <a:lnTo>
                        <a:pt x="1005" y="754"/>
                      </a:lnTo>
                      <a:lnTo>
                        <a:pt x="1006" y="755"/>
                      </a:lnTo>
                      <a:lnTo>
                        <a:pt x="1006" y="755"/>
                      </a:lnTo>
                      <a:lnTo>
                        <a:pt x="1006" y="756"/>
                      </a:lnTo>
                      <a:lnTo>
                        <a:pt x="1005" y="757"/>
                      </a:lnTo>
                      <a:lnTo>
                        <a:pt x="1004" y="759"/>
                      </a:lnTo>
                      <a:lnTo>
                        <a:pt x="1001" y="759"/>
                      </a:lnTo>
                      <a:lnTo>
                        <a:pt x="1000" y="759"/>
                      </a:lnTo>
                      <a:lnTo>
                        <a:pt x="999" y="759"/>
                      </a:lnTo>
                      <a:lnTo>
                        <a:pt x="999" y="757"/>
                      </a:lnTo>
                      <a:lnTo>
                        <a:pt x="999" y="757"/>
                      </a:lnTo>
                      <a:lnTo>
                        <a:pt x="1000" y="756"/>
                      </a:lnTo>
                      <a:lnTo>
                        <a:pt x="1001" y="755"/>
                      </a:lnTo>
                      <a:lnTo>
                        <a:pt x="1001" y="753"/>
                      </a:lnTo>
                      <a:lnTo>
                        <a:pt x="1003" y="752"/>
                      </a:lnTo>
                      <a:close/>
                      <a:moveTo>
                        <a:pt x="1000" y="735"/>
                      </a:moveTo>
                      <a:lnTo>
                        <a:pt x="1003" y="735"/>
                      </a:lnTo>
                      <a:lnTo>
                        <a:pt x="1003" y="736"/>
                      </a:lnTo>
                      <a:lnTo>
                        <a:pt x="1004" y="737"/>
                      </a:lnTo>
                      <a:lnTo>
                        <a:pt x="1006" y="738"/>
                      </a:lnTo>
                      <a:lnTo>
                        <a:pt x="1007" y="739"/>
                      </a:lnTo>
                      <a:lnTo>
                        <a:pt x="1007" y="742"/>
                      </a:lnTo>
                      <a:lnTo>
                        <a:pt x="1007" y="744"/>
                      </a:lnTo>
                      <a:lnTo>
                        <a:pt x="1006" y="747"/>
                      </a:lnTo>
                      <a:lnTo>
                        <a:pt x="1004" y="749"/>
                      </a:lnTo>
                      <a:lnTo>
                        <a:pt x="1003" y="750"/>
                      </a:lnTo>
                      <a:lnTo>
                        <a:pt x="1001" y="750"/>
                      </a:lnTo>
                      <a:lnTo>
                        <a:pt x="1000" y="750"/>
                      </a:lnTo>
                      <a:lnTo>
                        <a:pt x="1000" y="749"/>
                      </a:lnTo>
                      <a:lnTo>
                        <a:pt x="1000" y="748"/>
                      </a:lnTo>
                      <a:lnTo>
                        <a:pt x="1000" y="747"/>
                      </a:lnTo>
                      <a:lnTo>
                        <a:pt x="1001" y="745"/>
                      </a:lnTo>
                      <a:lnTo>
                        <a:pt x="1003" y="744"/>
                      </a:lnTo>
                      <a:lnTo>
                        <a:pt x="1003" y="743"/>
                      </a:lnTo>
                      <a:lnTo>
                        <a:pt x="1001" y="742"/>
                      </a:lnTo>
                      <a:lnTo>
                        <a:pt x="1001" y="741"/>
                      </a:lnTo>
                      <a:lnTo>
                        <a:pt x="1000" y="739"/>
                      </a:lnTo>
                      <a:lnTo>
                        <a:pt x="1000" y="738"/>
                      </a:lnTo>
                      <a:lnTo>
                        <a:pt x="999" y="737"/>
                      </a:lnTo>
                      <a:lnTo>
                        <a:pt x="999" y="736"/>
                      </a:lnTo>
                      <a:lnTo>
                        <a:pt x="1000" y="735"/>
                      </a:lnTo>
                      <a:lnTo>
                        <a:pt x="1000" y="735"/>
                      </a:lnTo>
                      <a:close/>
                      <a:moveTo>
                        <a:pt x="1964" y="712"/>
                      </a:moveTo>
                      <a:lnTo>
                        <a:pt x="1963" y="713"/>
                      </a:lnTo>
                      <a:lnTo>
                        <a:pt x="1961" y="714"/>
                      </a:lnTo>
                      <a:lnTo>
                        <a:pt x="1960" y="716"/>
                      </a:lnTo>
                      <a:lnTo>
                        <a:pt x="1959" y="719"/>
                      </a:lnTo>
                      <a:lnTo>
                        <a:pt x="1959" y="719"/>
                      </a:lnTo>
                      <a:lnTo>
                        <a:pt x="1959" y="721"/>
                      </a:lnTo>
                      <a:lnTo>
                        <a:pt x="1958" y="723"/>
                      </a:lnTo>
                      <a:lnTo>
                        <a:pt x="1957" y="725"/>
                      </a:lnTo>
                      <a:lnTo>
                        <a:pt x="1956" y="727"/>
                      </a:lnTo>
                      <a:lnTo>
                        <a:pt x="1955" y="730"/>
                      </a:lnTo>
                      <a:lnTo>
                        <a:pt x="1955" y="732"/>
                      </a:lnTo>
                      <a:lnTo>
                        <a:pt x="1954" y="737"/>
                      </a:lnTo>
                      <a:lnTo>
                        <a:pt x="1952" y="744"/>
                      </a:lnTo>
                      <a:lnTo>
                        <a:pt x="1952" y="748"/>
                      </a:lnTo>
                      <a:lnTo>
                        <a:pt x="1953" y="752"/>
                      </a:lnTo>
                      <a:lnTo>
                        <a:pt x="1953" y="747"/>
                      </a:lnTo>
                      <a:lnTo>
                        <a:pt x="1954" y="745"/>
                      </a:lnTo>
                      <a:lnTo>
                        <a:pt x="1955" y="743"/>
                      </a:lnTo>
                      <a:lnTo>
                        <a:pt x="1955" y="741"/>
                      </a:lnTo>
                      <a:lnTo>
                        <a:pt x="1961" y="727"/>
                      </a:lnTo>
                      <a:lnTo>
                        <a:pt x="1961" y="726"/>
                      </a:lnTo>
                      <a:lnTo>
                        <a:pt x="1963" y="724"/>
                      </a:lnTo>
                      <a:lnTo>
                        <a:pt x="1963" y="722"/>
                      </a:lnTo>
                      <a:lnTo>
                        <a:pt x="1964" y="719"/>
                      </a:lnTo>
                      <a:lnTo>
                        <a:pt x="1965" y="716"/>
                      </a:lnTo>
                      <a:lnTo>
                        <a:pt x="1965" y="714"/>
                      </a:lnTo>
                      <a:lnTo>
                        <a:pt x="1965" y="713"/>
                      </a:lnTo>
                      <a:lnTo>
                        <a:pt x="1964" y="712"/>
                      </a:lnTo>
                      <a:close/>
                      <a:moveTo>
                        <a:pt x="986" y="708"/>
                      </a:moveTo>
                      <a:lnTo>
                        <a:pt x="989" y="708"/>
                      </a:lnTo>
                      <a:lnTo>
                        <a:pt x="994" y="710"/>
                      </a:lnTo>
                      <a:lnTo>
                        <a:pt x="996" y="713"/>
                      </a:lnTo>
                      <a:lnTo>
                        <a:pt x="997" y="715"/>
                      </a:lnTo>
                      <a:lnTo>
                        <a:pt x="998" y="717"/>
                      </a:lnTo>
                      <a:lnTo>
                        <a:pt x="997" y="720"/>
                      </a:lnTo>
                      <a:lnTo>
                        <a:pt x="997" y="721"/>
                      </a:lnTo>
                      <a:lnTo>
                        <a:pt x="998" y="721"/>
                      </a:lnTo>
                      <a:lnTo>
                        <a:pt x="999" y="721"/>
                      </a:lnTo>
                      <a:lnTo>
                        <a:pt x="1000" y="722"/>
                      </a:lnTo>
                      <a:lnTo>
                        <a:pt x="1001" y="722"/>
                      </a:lnTo>
                      <a:lnTo>
                        <a:pt x="1003" y="723"/>
                      </a:lnTo>
                      <a:lnTo>
                        <a:pt x="1005" y="724"/>
                      </a:lnTo>
                      <a:lnTo>
                        <a:pt x="1005" y="725"/>
                      </a:lnTo>
                      <a:lnTo>
                        <a:pt x="1004" y="726"/>
                      </a:lnTo>
                      <a:lnTo>
                        <a:pt x="1001" y="728"/>
                      </a:lnTo>
                      <a:lnTo>
                        <a:pt x="999" y="730"/>
                      </a:lnTo>
                      <a:lnTo>
                        <a:pt x="997" y="730"/>
                      </a:lnTo>
                      <a:lnTo>
                        <a:pt x="995" y="730"/>
                      </a:lnTo>
                      <a:lnTo>
                        <a:pt x="993" y="727"/>
                      </a:lnTo>
                      <a:lnTo>
                        <a:pt x="993" y="723"/>
                      </a:lnTo>
                      <a:lnTo>
                        <a:pt x="990" y="722"/>
                      </a:lnTo>
                      <a:lnTo>
                        <a:pt x="989" y="722"/>
                      </a:lnTo>
                      <a:lnTo>
                        <a:pt x="988" y="722"/>
                      </a:lnTo>
                      <a:lnTo>
                        <a:pt x="987" y="721"/>
                      </a:lnTo>
                      <a:lnTo>
                        <a:pt x="987" y="720"/>
                      </a:lnTo>
                      <a:lnTo>
                        <a:pt x="988" y="719"/>
                      </a:lnTo>
                      <a:lnTo>
                        <a:pt x="987" y="717"/>
                      </a:lnTo>
                      <a:lnTo>
                        <a:pt x="987" y="716"/>
                      </a:lnTo>
                      <a:lnTo>
                        <a:pt x="985" y="716"/>
                      </a:lnTo>
                      <a:lnTo>
                        <a:pt x="984" y="716"/>
                      </a:lnTo>
                      <a:lnTo>
                        <a:pt x="982" y="716"/>
                      </a:lnTo>
                      <a:lnTo>
                        <a:pt x="978" y="715"/>
                      </a:lnTo>
                      <a:lnTo>
                        <a:pt x="977" y="715"/>
                      </a:lnTo>
                      <a:lnTo>
                        <a:pt x="976" y="714"/>
                      </a:lnTo>
                      <a:lnTo>
                        <a:pt x="976" y="713"/>
                      </a:lnTo>
                      <a:lnTo>
                        <a:pt x="977" y="711"/>
                      </a:lnTo>
                      <a:lnTo>
                        <a:pt x="978" y="710"/>
                      </a:lnTo>
                      <a:lnTo>
                        <a:pt x="981" y="709"/>
                      </a:lnTo>
                      <a:lnTo>
                        <a:pt x="983" y="708"/>
                      </a:lnTo>
                      <a:lnTo>
                        <a:pt x="986" y="708"/>
                      </a:lnTo>
                      <a:close/>
                      <a:moveTo>
                        <a:pt x="977" y="695"/>
                      </a:moveTo>
                      <a:lnTo>
                        <a:pt x="981" y="697"/>
                      </a:lnTo>
                      <a:lnTo>
                        <a:pt x="983" y="698"/>
                      </a:lnTo>
                      <a:lnTo>
                        <a:pt x="985" y="699"/>
                      </a:lnTo>
                      <a:lnTo>
                        <a:pt x="986" y="700"/>
                      </a:lnTo>
                      <a:lnTo>
                        <a:pt x="986" y="702"/>
                      </a:lnTo>
                      <a:lnTo>
                        <a:pt x="985" y="703"/>
                      </a:lnTo>
                      <a:lnTo>
                        <a:pt x="984" y="704"/>
                      </a:lnTo>
                      <a:lnTo>
                        <a:pt x="981" y="705"/>
                      </a:lnTo>
                      <a:lnTo>
                        <a:pt x="977" y="704"/>
                      </a:lnTo>
                      <a:lnTo>
                        <a:pt x="975" y="703"/>
                      </a:lnTo>
                      <a:lnTo>
                        <a:pt x="974" y="702"/>
                      </a:lnTo>
                      <a:lnTo>
                        <a:pt x="974" y="700"/>
                      </a:lnTo>
                      <a:lnTo>
                        <a:pt x="975" y="698"/>
                      </a:lnTo>
                      <a:lnTo>
                        <a:pt x="977" y="695"/>
                      </a:lnTo>
                      <a:close/>
                      <a:moveTo>
                        <a:pt x="2044" y="693"/>
                      </a:moveTo>
                      <a:lnTo>
                        <a:pt x="2044" y="693"/>
                      </a:lnTo>
                      <a:lnTo>
                        <a:pt x="2045" y="695"/>
                      </a:lnTo>
                      <a:lnTo>
                        <a:pt x="2045" y="697"/>
                      </a:lnTo>
                      <a:lnTo>
                        <a:pt x="2045" y="699"/>
                      </a:lnTo>
                      <a:lnTo>
                        <a:pt x="2044" y="702"/>
                      </a:lnTo>
                      <a:lnTo>
                        <a:pt x="2044" y="704"/>
                      </a:lnTo>
                      <a:lnTo>
                        <a:pt x="2044" y="705"/>
                      </a:lnTo>
                      <a:lnTo>
                        <a:pt x="2044" y="706"/>
                      </a:lnTo>
                      <a:lnTo>
                        <a:pt x="2045" y="708"/>
                      </a:lnTo>
                      <a:lnTo>
                        <a:pt x="2046" y="709"/>
                      </a:lnTo>
                      <a:lnTo>
                        <a:pt x="2046" y="711"/>
                      </a:lnTo>
                      <a:lnTo>
                        <a:pt x="2045" y="713"/>
                      </a:lnTo>
                      <a:lnTo>
                        <a:pt x="2044" y="715"/>
                      </a:lnTo>
                      <a:lnTo>
                        <a:pt x="2044" y="719"/>
                      </a:lnTo>
                      <a:lnTo>
                        <a:pt x="2044" y="721"/>
                      </a:lnTo>
                      <a:lnTo>
                        <a:pt x="2042" y="723"/>
                      </a:lnTo>
                      <a:lnTo>
                        <a:pt x="2040" y="725"/>
                      </a:lnTo>
                      <a:lnTo>
                        <a:pt x="2038" y="727"/>
                      </a:lnTo>
                      <a:lnTo>
                        <a:pt x="2036" y="731"/>
                      </a:lnTo>
                      <a:lnTo>
                        <a:pt x="2036" y="734"/>
                      </a:lnTo>
                      <a:lnTo>
                        <a:pt x="2035" y="738"/>
                      </a:lnTo>
                      <a:lnTo>
                        <a:pt x="2033" y="741"/>
                      </a:lnTo>
                      <a:lnTo>
                        <a:pt x="2032" y="743"/>
                      </a:lnTo>
                      <a:lnTo>
                        <a:pt x="2031" y="745"/>
                      </a:lnTo>
                      <a:lnTo>
                        <a:pt x="2030" y="748"/>
                      </a:lnTo>
                      <a:lnTo>
                        <a:pt x="2029" y="750"/>
                      </a:lnTo>
                      <a:lnTo>
                        <a:pt x="2027" y="753"/>
                      </a:lnTo>
                      <a:lnTo>
                        <a:pt x="2026" y="756"/>
                      </a:lnTo>
                      <a:lnTo>
                        <a:pt x="2013" y="784"/>
                      </a:lnTo>
                      <a:lnTo>
                        <a:pt x="2009" y="795"/>
                      </a:lnTo>
                      <a:lnTo>
                        <a:pt x="2003" y="806"/>
                      </a:lnTo>
                      <a:lnTo>
                        <a:pt x="1997" y="819"/>
                      </a:lnTo>
                      <a:lnTo>
                        <a:pt x="1996" y="821"/>
                      </a:lnTo>
                      <a:lnTo>
                        <a:pt x="1994" y="822"/>
                      </a:lnTo>
                      <a:lnTo>
                        <a:pt x="1992" y="824"/>
                      </a:lnTo>
                      <a:lnTo>
                        <a:pt x="1992" y="825"/>
                      </a:lnTo>
                      <a:lnTo>
                        <a:pt x="1989" y="828"/>
                      </a:lnTo>
                      <a:lnTo>
                        <a:pt x="1987" y="830"/>
                      </a:lnTo>
                      <a:lnTo>
                        <a:pt x="1985" y="832"/>
                      </a:lnTo>
                      <a:lnTo>
                        <a:pt x="1982" y="833"/>
                      </a:lnTo>
                      <a:lnTo>
                        <a:pt x="1980" y="833"/>
                      </a:lnTo>
                      <a:lnTo>
                        <a:pt x="1979" y="833"/>
                      </a:lnTo>
                      <a:lnTo>
                        <a:pt x="1978" y="831"/>
                      </a:lnTo>
                      <a:lnTo>
                        <a:pt x="1976" y="830"/>
                      </a:lnTo>
                      <a:lnTo>
                        <a:pt x="1975" y="829"/>
                      </a:lnTo>
                      <a:lnTo>
                        <a:pt x="1974" y="826"/>
                      </a:lnTo>
                      <a:lnTo>
                        <a:pt x="1974" y="824"/>
                      </a:lnTo>
                      <a:lnTo>
                        <a:pt x="1975" y="821"/>
                      </a:lnTo>
                      <a:lnTo>
                        <a:pt x="1976" y="819"/>
                      </a:lnTo>
                      <a:lnTo>
                        <a:pt x="1977" y="817"/>
                      </a:lnTo>
                      <a:lnTo>
                        <a:pt x="1977" y="815"/>
                      </a:lnTo>
                      <a:lnTo>
                        <a:pt x="1977" y="814"/>
                      </a:lnTo>
                      <a:lnTo>
                        <a:pt x="1977" y="813"/>
                      </a:lnTo>
                      <a:lnTo>
                        <a:pt x="1977" y="812"/>
                      </a:lnTo>
                      <a:lnTo>
                        <a:pt x="1977" y="810"/>
                      </a:lnTo>
                      <a:lnTo>
                        <a:pt x="1977" y="808"/>
                      </a:lnTo>
                      <a:lnTo>
                        <a:pt x="1978" y="806"/>
                      </a:lnTo>
                      <a:lnTo>
                        <a:pt x="1978" y="803"/>
                      </a:lnTo>
                      <a:lnTo>
                        <a:pt x="1980" y="802"/>
                      </a:lnTo>
                      <a:lnTo>
                        <a:pt x="1981" y="801"/>
                      </a:lnTo>
                      <a:lnTo>
                        <a:pt x="1982" y="799"/>
                      </a:lnTo>
                      <a:lnTo>
                        <a:pt x="1983" y="797"/>
                      </a:lnTo>
                      <a:lnTo>
                        <a:pt x="1985" y="795"/>
                      </a:lnTo>
                      <a:lnTo>
                        <a:pt x="1986" y="792"/>
                      </a:lnTo>
                      <a:lnTo>
                        <a:pt x="1991" y="782"/>
                      </a:lnTo>
                      <a:lnTo>
                        <a:pt x="1994" y="771"/>
                      </a:lnTo>
                      <a:lnTo>
                        <a:pt x="1996" y="767"/>
                      </a:lnTo>
                      <a:lnTo>
                        <a:pt x="1997" y="763"/>
                      </a:lnTo>
                      <a:lnTo>
                        <a:pt x="1999" y="758"/>
                      </a:lnTo>
                      <a:lnTo>
                        <a:pt x="1999" y="756"/>
                      </a:lnTo>
                      <a:lnTo>
                        <a:pt x="2000" y="754"/>
                      </a:lnTo>
                      <a:lnTo>
                        <a:pt x="2000" y="752"/>
                      </a:lnTo>
                      <a:lnTo>
                        <a:pt x="2001" y="749"/>
                      </a:lnTo>
                      <a:lnTo>
                        <a:pt x="2002" y="747"/>
                      </a:lnTo>
                      <a:lnTo>
                        <a:pt x="2004" y="745"/>
                      </a:lnTo>
                      <a:lnTo>
                        <a:pt x="2007" y="743"/>
                      </a:lnTo>
                      <a:lnTo>
                        <a:pt x="2009" y="741"/>
                      </a:lnTo>
                      <a:lnTo>
                        <a:pt x="2009" y="738"/>
                      </a:lnTo>
                      <a:lnTo>
                        <a:pt x="2011" y="736"/>
                      </a:lnTo>
                      <a:lnTo>
                        <a:pt x="2013" y="735"/>
                      </a:lnTo>
                      <a:lnTo>
                        <a:pt x="2015" y="734"/>
                      </a:lnTo>
                      <a:lnTo>
                        <a:pt x="2022" y="727"/>
                      </a:lnTo>
                      <a:lnTo>
                        <a:pt x="2023" y="726"/>
                      </a:lnTo>
                      <a:lnTo>
                        <a:pt x="2024" y="724"/>
                      </a:lnTo>
                      <a:lnTo>
                        <a:pt x="2026" y="722"/>
                      </a:lnTo>
                      <a:lnTo>
                        <a:pt x="2029" y="721"/>
                      </a:lnTo>
                      <a:lnTo>
                        <a:pt x="2031" y="719"/>
                      </a:lnTo>
                      <a:lnTo>
                        <a:pt x="2031" y="716"/>
                      </a:lnTo>
                      <a:lnTo>
                        <a:pt x="2031" y="715"/>
                      </a:lnTo>
                      <a:lnTo>
                        <a:pt x="2031" y="715"/>
                      </a:lnTo>
                      <a:lnTo>
                        <a:pt x="2030" y="715"/>
                      </a:lnTo>
                      <a:lnTo>
                        <a:pt x="2030" y="715"/>
                      </a:lnTo>
                      <a:lnTo>
                        <a:pt x="2029" y="713"/>
                      </a:lnTo>
                      <a:lnTo>
                        <a:pt x="2030" y="711"/>
                      </a:lnTo>
                      <a:lnTo>
                        <a:pt x="2031" y="709"/>
                      </a:lnTo>
                      <a:lnTo>
                        <a:pt x="2031" y="706"/>
                      </a:lnTo>
                      <a:lnTo>
                        <a:pt x="2033" y="705"/>
                      </a:lnTo>
                      <a:lnTo>
                        <a:pt x="2035" y="704"/>
                      </a:lnTo>
                      <a:lnTo>
                        <a:pt x="2037" y="702"/>
                      </a:lnTo>
                      <a:lnTo>
                        <a:pt x="2038" y="701"/>
                      </a:lnTo>
                      <a:lnTo>
                        <a:pt x="2040" y="699"/>
                      </a:lnTo>
                      <a:lnTo>
                        <a:pt x="2042" y="698"/>
                      </a:lnTo>
                      <a:lnTo>
                        <a:pt x="2042" y="695"/>
                      </a:lnTo>
                      <a:lnTo>
                        <a:pt x="2043" y="693"/>
                      </a:lnTo>
                      <a:lnTo>
                        <a:pt x="2044" y="693"/>
                      </a:lnTo>
                      <a:close/>
                      <a:moveTo>
                        <a:pt x="975" y="687"/>
                      </a:moveTo>
                      <a:lnTo>
                        <a:pt x="975" y="688"/>
                      </a:lnTo>
                      <a:lnTo>
                        <a:pt x="976" y="688"/>
                      </a:lnTo>
                      <a:lnTo>
                        <a:pt x="976" y="689"/>
                      </a:lnTo>
                      <a:lnTo>
                        <a:pt x="977" y="690"/>
                      </a:lnTo>
                      <a:lnTo>
                        <a:pt x="977" y="691"/>
                      </a:lnTo>
                      <a:lnTo>
                        <a:pt x="977" y="692"/>
                      </a:lnTo>
                      <a:lnTo>
                        <a:pt x="976" y="693"/>
                      </a:lnTo>
                      <a:lnTo>
                        <a:pt x="974" y="693"/>
                      </a:lnTo>
                      <a:lnTo>
                        <a:pt x="973" y="693"/>
                      </a:lnTo>
                      <a:lnTo>
                        <a:pt x="973" y="692"/>
                      </a:lnTo>
                      <a:lnTo>
                        <a:pt x="972" y="691"/>
                      </a:lnTo>
                      <a:lnTo>
                        <a:pt x="972" y="690"/>
                      </a:lnTo>
                      <a:lnTo>
                        <a:pt x="973" y="689"/>
                      </a:lnTo>
                      <a:lnTo>
                        <a:pt x="973" y="688"/>
                      </a:lnTo>
                      <a:lnTo>
                        <a:pt x="974" y="688"/>
                      </a:lnTo>
                      <a:lnTo>
                        <a:pt x="974" y="687"/>
                      </a:lnTo>
                      <a:lnTo>
                        <a:pt x="975" y="687"/>
                      </a:lnTo>
                      <a:close/>
                      <a:moveTo>
                        <a:pt x="717" y="687"/>
                      </a:moveTo>
                      <a:lnTo>
                        <a:pt x="722" y="688"/>
                      </a:lnTo>
                      <a:lnTo>
                        <a:pt x="725" y="689"/>
                      </a:lnTo>
                      <a:lnTo>
                        <a:pt x="728" y="689"/>
                      </a:lnTo>
                      <a:lnTo>
                        <a:pt x="732" y="690"/>
                      </a:lnTo>
                      <a:lnTo>
                        <a:pt x="736" y="690"/>
                      </a:lnTo>
                      <a:lnTo>
                        <a:pt x="739" y="689"/>
                      </a:lnTo>
                      <a:lnTo>
                        <a:pt x="743" y="689"/>
                      </a:lnTo>
                      <a:lnTo>
                        <a:pt x="746" y="690"/>
                      </a:lnTo>
                      <a:lnTo>
                        <a:pt x="748" y="691"/>
                      </a:lnTo>
                      <a:lnTo>
                        <a:pt x="748" y="693"/>
                      </a:lnTo>
                      <a:lnTo>
                        <a:pt x="747" y="693"/>
                      </a:lnTo>
                      <a:lnTo>
                        <a:pt x="745" y="694"/>
                      </a:lnTo>
                      <a:lnTo>
                        <a:pt x="743" y="694"/>
                      </a:lnTo>
                      <a:lnTo>
                        <a:pt x="741" y="694"/>
                      </a:lnTo>
                      <a:lnTo>
                        <a:pt x="738" y="694"/>
                      </a:lnTo>
                      <a:lnTo>
                        <a:pt x="736" y="694"/>
                      </a:lnTo>
                      <a:lnTo>
                        <a:pt x="726" y="694"/>
                      </a:lnTo>
                      <a:lnTo>
                        <a:pt x="724" y="694"/>
                      </a:lnTo>
                      <a:lnTo>
                        <a:pt x="722" y="693"/>
                      </a:lnTo>
                      <a:lnTo>
                        <a:pt x="721" y="693"/>
                      </a:lnTo>
                      <a:lnTo>
                        <a:pt x="717" y="692"/>
                      </a:lnTo>
                      <a:lnTo>
                        <a:pt x="715" y="692"/>
                      </a:lnTo>
                      <a:lnTo>
                        <a:pt x="714" y="691"/>
                      </a:lnTo>
                      <a:lnTo>
                        <a:pt x="714" y="690"/>
                      </a:lnTo>
                      <a:lnTo>
                        <a:pt x="714" y="689"/>
                      </a:lnTo>
                      <a:lnTo>
                        <a:pt x="715" y="688"/>
                      </a:lnTo>
                      <a:lnTo>
                        <a:pt x="716" y="687"/>
                      </a:lnTo>
                      <a:lnTo>
                        <a:pt x="717" y="687"/>
                      </a:lnTo>
                      <a:close/>
                      <a:moveTo>
                        <a:pt x="1946" y="676"/>
                      </a:moveTo>
                      <a:lnTo>
                        <a:pt x="1946" y="676"/>
                      </a:lnTo>
                      <a:lnTo>
                        <a:pt x="1945" y="677"/>
                      </a:lnTo>
                      <a:lnTo>
                        <a:pt x="1944" y="679"/>
                      </a:lnTo>
                      <a:lnTo>
                        <a:pt x="1943" y="681"/>
                      </a:lnTo>
                      <a:lnTo>
                        <a:pt x="1942" y="684"/>
                      </a:lnTo>
                      <a:lnTo>
                        <a:pt x="1941" y="687"/>
                      </a:lnTo>
                      <a:lnTo>
                        <a:pt x="1939" y="690"/>
                      </a:lnTo>
                      <a:lnTo>
                        <a:pt x="1938" y="693"/>
                      </a:lnTo>
                      <a:lnTo>
                        <a:pt x="1938" y="697"/>
                      </a:lnTo>
                      <a:lnTo>
                        <a:pt x="1938" y="699"/>
                      </a:lnTo>
                      <a:lnTo>
                        <a:pt x="1939" y="700"/>
                      </a:lnTo>
                      <a:lnTo>
                        <a:pt x="1941" y="701"/>
                      </a:lnTo>
                      <a:lnTo>
                        <a:pt x="1943" y="702"/>
                      </a:lnTo>
                      <a:lnTo>
                        <a:pt x="1944" y="703"/>
                      </a:lnTo>
                      <a:lnTo>
                        <a:pt x="1944" y="704"/>
                      </a:lnTo>
                      <a:lnTo>
                        <a:pt x="1944" y="704"/>
                      </a:lnTo>
                      <a:lnTo>
                        <a:pt x="1944" y="703"/>
                      </a:lnTo>
                      <a:lnTo>
                        <a:pt x="1944" y="703"/>
                      </a:lnTo>
                      <a:lnTo>
                        <a:pt x="1944" y="703"/>
                      </a:lnTo>
                      <a:lnTo>
                        <a:pt x="1945" y="702"/>
                      </a:lnTo>
                      <a:lnTo>
                        <a:pt x="1945" y="701"/>
                      </a:lnTo>
                      <a:lnTo>
                        <a:pt x="1944" y="701"/>
                      </a:lnTo>
                      <a:lnTo>
                        <a:pt x="1944" y="683"/>
                      </a:lnTo>
                      <a:lnTo>
                        <a:pt x="1946" y="681"/>
                      </a:lnTo>
                      <a:lnTo>
                        <a:pt x="1946" y="679"/>
                      </a:lnTo>
                      <a:lnTo>
                        <a:pt x="1946" y="677"/>
                      </a:lnTo>
                      <a:lnTo>
                        <a:pt x="1946" y="676"/>
                      </a:lnTo>
                      <a:lnTo>
                        <a:pt x="1946" y="676"/>
                      </a:lnTo>
                      <a:close/>
                      <a:moveTo>
                        <a:pt x="1012" y="661"/>
                      </a:moveTo>
                      <a:lnTo>
                        <a:pt x="1015" y="661"/>
                      </a:lnTo>
                      <a:lnTo>
                        <a:pt x="1016" y="662"/>
                      </a:lnTo>
                      <a:lnTo>
                        <a:pt x="1017" y="665"/>
                      </a:lnTo>
                      <a:lnTo>
                        <a:pt x="1018" y="666"/>
                      </a:lnTo>
                      <a:lnTo>
                        <a:pt x="1017" y="667"/>
                      </a:lnTo>
                      <a:lnTo>
                        <a:pt x="1016" y="667"/>
                      </a:lnTo>
                      <a:lnTo>
                        <a:pt x="1014" y="667"/>
                      </a:lnTo>
                      <a:lnTo>
                        <a:pt x="1011" y="666"/>
                      </a:lnTo>
                      <a:lnTo>
                        <a:pt x="1010" y="666"/>
                      </a:lnTo>
                      <a:lnTo>
                        <a:pt x="1009" y="665"/>
                      </a:lnTo>
                      <a:lnTo>
                        <a:pt x="1008" y="664"/>
                      </a:lnTo>
                      <a:lnTo>
                        <a:pt x="1010" y="661"/>
                      </a:lnTo>
                      <a:lnTo>
                        <a:pt x="1012" y="661"/>
                      </a:lnTo>
                      <a:close/>
                      <a:moveTo>
                        <a:pt x="75" y="659"/>
                      </a:moveTo>
                      <a:lnTo>
                        <a:pt x="77" y="659"/>
                      </a:lnTo>
                      <a:lnTo>
                        <a:pt x="80" y="660"/>
                      </a:lnTo>
                      <a:lnTo>
                        <a:pt x="83" y="661"/>
                      </a:lnTo>
                      <a:lnTo>
                        <a:pt x="86" y="661"/>
                      </a:lnTo>
                      <a:lnTo>
                        <a:pt x="86" y="665"/>
                      </a:lnTo>
                      <a:lnTo>
                        <a:pt x="88" y="667"/>
                      </a:lnTo>
                      <a:lnTo>
                        <a:pt x="89" y="669"/>
                      </a:lnTo>
                      <a:lnTo>
                        <a:pt x="90" y="670"/>
                      </a:lnTo>
                      <a:lnTo>
                        <a:pt x="91" y="672"/>
                      </a:lnTo>
                      <a:lnTo>
                        <a:pt x="89" y="673"/>
                      </a:lnTo>
                      <a:lnTo>
                        <a:pt x="88" y="675"/>
                      </a:lnTo>
                      <a:lnTo>
                        <a:pt x="86" y="673"/>
                      </a:lnTo>
                      <a:lnTo>
                        <a:pt x="83" y="673"/>
                      </a:lnTo>
                      <a:lnTo>
                        <a:pt x="81" y="672"/>
                      </a:lnTo>
                      <a:lnTo>
                        <a:pt x="79" y="670"/>
                      </a:lnTo>
                      <a:lnTo>
                        <a:pt x="78" y="669"/>
                      </a:lnTo>
                      <a:lnTo>
                        <a:pt x="76" y="667"/>
                      </a:lnTo>
                      <a:lnTo>
                        <a:pt x="75" y="665"/>
                      </a:lnTo>
                      <a:lnTo>
                        <a:pt x="73" y="662"/>
                      </a:lnTo>
                      <a:lnTo>
                        <a:pt x="73" y="660"/>
                      </a:lnTo>
                      <a:lnTo>
                        <a:pt x="75" y="659"/>
                      </a:lnTo>
                      <a:close/>
                      <a:moveTo>
                        <a:pt x="50" y="647"/>
                      </a:moveTo>
                      <a:lnTo>
                        <a:pt x="51" y="648"/>
                      </a:lnTo>
                      <a:lnTo>
                        <a:pt x="55" y="649"/>
                      </a:lnTo>
                      <a:lnTo>
                        <a:pt x="57" y="652"/>
                      </a:lnTo>
                      <a:lnTo>
                        <a:pt x="58" y="655"/>
                      </a:lnTo>
                      <a:lnTo>
                        <a:pt x="59" y="657"/>
                      </a:lnTo>
                      <a:lnTo>
                        <a:pt x="60" y="658"/>
                      </a:lnTo>
                      <a:lnTo>
                        <a:pt x="61" y="659"/>
                      </a:lnTo>
                      <a:lnTo>
                        <a:pt x="61" y="660"/>
                      </a:lnTo>
                      <a:lnTo>
                        <a:pt x="61" y="662"/>
                      </a:lnTo>
                      <a:lnTo>
                        <a:pt x="60" y="665"/>
                      </a:lnTo>
                      <a:lnTo>
                        <a:pt x="59" y="666"/>
                      </a:lnTo>
                      <a:lnTo>
                        <a:pt x="58" y="666"/>
                      </a:lnTo>
                      <a:lnTo>
                        <a:pt x="56" y="665"/>
                      </a:lnTo>
                      <a:lnTo>
                        <a:pt x="54" y="665"/>
                      </a:lnTo>
                      <a:lnTo>
                        <a:pt x="51" y="662"/>
                      </a:lnTo>
                      <a:lnTo>
                        <a:pt x="50" y="660"/>
                      </a:lnTo>
                      <a:lnTo>
                        <a:pt x="48" y="657"/>
                      </a:lnTo>
                      <a:lnTo>
                        <a:pt x="48" y="654"/>
                      </a:lnTo>
                      <a:lnTo>
                        <a:pt x="47" y="651"/>
                      </a:lnTo>
                      <a:lnTo>
                        <a:pt x="48" y="649"/>
                      </a:lnTo>
                      <a:lnTo>
                        <a:pt x="48" y="648"/>
                      </a:lnTo>
                      <a:lnTo>
                        <a:pt x="50" y="647"/>
                      </a:lnTo>
                      <a:close/>
                      <a:moveTo>
                        <a:pt x="997" y="640"/>
                      </a:moveTo>
                      <a:lnTo>
                        <a:pt x="997" y="640"/>
                      </a:lnTo>
                      <a:lnTo>
                        <a:pt x="997" y="641"/>
                      </a:lnTo>
                      <a:lnTo>
                        <a:pt x="997" y="644"/>
                      </a:lnTo>
                      <a:lnTo>
                        <a:pt x="996" y="645"/>
                      </a:lnTo>
                      <a:lnTo>
                        <a:pt x="995" y="646"/>
                      </a:lnTo>
                      <a:lnTo>
                        <a:pt x="993" y="647"/>
                      </a:lnTo>
                      <a:lnTo>
                        <a:pt x="992" y="646"/>
                      </a:lnTo>
                      <a:lnTo>
                        <a:pt x="992" y="645"/>
                      </a:lnTo>
                      <a:lnTo>
                        <a:pt x="992" y="643"/>
                      </a:lnTo>
                      <a:lnTo>
                        <a:pt x="994" y="641"/>
                      </a:lnTo>
                      <a:lnTo>
                        <a:pt x="995" y="640"/>
                      </a:lnTo>
                      <a:lnTo>
                        <a:pt x="997" y="640"/>
                      </a:lnTo>
                      <a:close/>
                      <a:moveTo>
                        <a:pt x="866" y="633"/>
                      </a:moveTo>
                      <a:lnTo>
                        <a:pt x="867" y="633"/>
                      </a:lnTo>
                      <a:lnTo>
                        <a:pt x="868" y="634"/>
                      </a:lnTo>
                      <a:lnTo>
                        <a:pt x="869" y="635"/>
                      </a:lnTo>
                      <a:lnTo>
                        <a:pt x="870" y="636"/>
                      </a:lnTo>
                      <a:lnTo>
                        <a:pt x="872" y="637"/>
                      </a:lnTo>
                      <a:lnTo>
                        <a:pt x="874" y="637"/>
                      </a:lnTo>
                      <a:lnTo>
                        <a:pt x="875" y="639"/>
                      </a:lnTo>
                      <a:lnTo>
                        <a:pt x="875" y="640"/>
                      </a:lnTo>
                      <a:lnTo>
                        <a:pt x="876" y="643"/>
                      </a:lnTo>
                      <a:lnTo>
                        <a:pt x="878" y="644"/>
                      </a:lnTo>
                      <a:lnTo>
                        <a:pt x="880" y="644"/>
                      </a:lnTo>
                      <a:lnTo>
                        <a:pt x="888" y="644"/>
                      </a:lnTo>
                      <a:lnTo>
                        <a:pt x="890" y="645"/>
                      </a:lnTo>
                      <a:lnTo>
                        <a:pt x="891" y="646"/>
                      </a:lnTo>
                      <a:lnTo>
                        <a:pt x="890" y="647"/>
                      </a:lnTo>
                      <a:lnTo>
                        <a:pt x="889" y="648"/>
                      </a:lnTo>
                      <a:lnTo>
                        <a:pt x="887" y="649"/>
                      </a:lnTo>
                      <a:lnTo>
                        <a:pt x="885" y="650"/>
                      </a:lnTo>
                      <a:lnTo>
                        <a:pt x="883" y="651"/>
                      </a:lnTo>
                      <a:lnTo>
                        <a:pt x="881" y="652"/>
                      </a:lnTo>
                      <a:lnTo>
                        <a:pt x="880" y="654"/>
                      </a:lnTo>
                      <a:lnTo>
                        <a:pt x="874" y="655"/>
                      </a:lnTo>
                      <a:lnTo>
                        <a:pt x="867" y="657"/>
                      </a:lnTo>
                      <a:lnTo>
                        <a:pt x="861" y="658"/>
                      </a:lnTo>
                      <a:lnTo>
                        <a:pt x="858" y="658"/>
                      </a:lnTo>
                      <a:lnTo>
                        <a:pt x="856" y="658"/>
                      </a:lnTo>
                      <a:lnTo>
                        <a:pt x="854" y="658"/>
                      </a:lnTo>
                      <a:lnTo>
                        <a:pt x="852" y="660"/>
                      </a:lnTo>
                      <a:lnTo>
                        <a:pt x="851" y="661"/>
                      </a:lnTo>
                      <a:lnTo>
                        <a:pt x="851" y="662"/>
                      </a:lnTo>
                      <a:lnTo>
                        <a:pt x="851" y="664"/>
                      </a:lnTo>
                      <a:lnTo>
                        <a:pt x="850" y="664"/>
                      </a:lnTo>
                      <a:lnTo>
                        <a:pt x="847" y="665"/>
                      </a:lnTo>
                      <a:lnTo>
                        <a:pt x="845" y="667"/>
                      </a:lnTo>
                      <a:lnTo>
                        <a:pt x="844" y="668"/>
                      </a:lnTo>
                      <a:lnTo>
                        <a:pt x="843" y="670"/>
                      </a:lnTo>
                      <a:lnTo>
                        <a:pt x="842" y="672"/>
                      </a:lnTo>
                      <a:lnTo>
                        <a:pt x="841" y="673"/>
                      </a:lnTo>
                      <a:lnTo>
                        <a:pt x="839" y="675"/>
                      </a:lnTo>
                      <a:lnTo>
                        <a:pt x="836" y="676"/>
                      </a:lnTo>
                      <a:lnTo>
                        <a:pt x="831" y="676"/>
                      </a:lnTo>
                      <a:lnTo>
                        <a:pt x="824" y="676"/>
                      </a:lnTo>
                      <a:lnTo>
                        <a:pt x="818" y="678"/>
                      </a:lnTo>
                      <a:lnTo>
                        <a:pt x="807" y="683"/>
                      </a:lnTo>
                      <a:lnTo>
                        <a:pt x="796" y="684"/>
                      </a:lnTo>
                      <a:lnTo>
                        <a:pt x="783" y="684"/>
                      </a:lnTo>
                      <a:lnTo>
                        <a:pt x="781" y="684"/>
                      </a:lnTo>
                      <a:lnTo>
                        <a:pt x="780" y="683"/>
                      </a:lnTo>
                      <a:lnTo>
                        <a:pt x="780" y="682"/>
                      </a:lnTo>
                      <a:lnTo>
                        <a:pt x="781" y="681"/>
                      </a:lnTo>
                      <a:lnTo>
                        <a:pt x="782" y="680"/>
                      </a:lnTo>
                      <a:lnTo>
                        <a:pt x="785" y="679"/>
                      </a:lnTo>
                      <a:lnTo>
                        <a:pt x="787" y="678"/>
                      </a:lnTo>
                      <a:lnTo>
                        <a:pt x="789" y="678"/>
                      </a:lnTo>
                      <a:lnTo>
                        <a:pt x="792" y="678"/>
                      </a:lnTo>
                      <a:lnTo>
                        <a:pt x="795" y="678"/>
                      </a:lnTo>
                      <a:lnTo>
                        <a:pt x="797" y="678"/>
                      </a:lnTo>
                      <a:lnTo>
                        <a:pt x="798" y="676"/>
                      </a:lnTo>
                      <a:lnTo>
                        <a:pt x="799" y="675"/>
                      </a:lnTo>
                      <a:lnTo>
                        <a:pt x="801" y="672"/>
                      </a:lnTo>
                      <a:lnTo>
                        <a:pt x="804" y="671"/>
                      </a:lnTo>
                      <a:lnTo>
                        <a:pt x="807" y="670"/>
                      </a:lnTo>
                      <a:lnTo>
                        <a:pt x="809" y="670"/>
                      </a:lnTo>
                      <a:lnTo>
                        <a:pt x="811" y="669"/>
                      </a:lnTo>
                      <a:lnTo>
                        <a:pt x="813" y="669"/>
                      </a:lnTo>
                      <a:lnTo>
                        <a:pt x="814" y="668"/>
                      </a:lnTo>
                      <a:lnTo>
                        <a:pt x="815" y="667"/>
                      </a:lnTo>
                      <a:lnTo>
                        <a:pt x="813" y="662"/>
                      </a:lnTo>
                      <a:lnTo>
                        <a:pt x="811" y="659"/>
                      </a:lnTo>
                      <a:lnTo>
                        <a:pt x="809" y="656"/>
                      </a:lnTo>
                      <a:lnTo>
                        <a:pt x="808" y="654"/>
                      </a:lnTo>
                      <a:lnTo>
                        <a:pt x="808" y="651"/>
                      </a:lnTo>
                      <a:lnTo>
                        <a:pt x="808" y="649"/>
                      </a:lnTo>
                      <a:lnTo>
                        <a:pt x="809" y="646"/>
                      </a:lnTo>
                      <a:lnTo>
                        <a:pt x="809" y="644"/>
                      </a:lnTo>
                      <a:lnTo>
                        <a:pt x="809" y="641"/>
                      </a:lnTo>
                      <a:lnTo>
                        <a:pt x="812" y="641"/>
                      </a:lnTo>
                      <a:lnTo>
                        <a:pt x="815" y="641"/>
                      </a:lnTo>
                      <a:lnTo>
                        <a:pt x="818" y="640"/>
                      </a:lnTo>
                      <a:lnTo>
                        <a:pt x="820" y="640"/>
                      </a:lnTo>
                      <a:lnTo>
                        <a:pt x="822" y="639"/>
                      </a:lnTo>
                      <a:lnTo>
                        <a:pt x="825" y="640"/>
                      </a:lnTo>
                      <a:lnTo>
                        <a:pt x="829" y="640"/>
                      </a:lnTo>
                      <a:lnTo>
                        <a:pt x="832" y="640"/>
                      </a:lnTo>
                      <a:lnTo>
                        <a:pt x="834" y="639"/>
                      </a:lnTo>
                      <a:lnTo>
                        <a:pt x="845" y="638"/>
                      </a:lnTo>
                      <a:lnTo>
                        <a:pt x="855" y="636"/>
                      </a:lnTo>
                      <a:lnTo>
                        <a:pt x="865" y="633"/>
                      </a:lnTo>
                      <a:lnTo>
                        <a:pt x="866" y="633"/>
                      </a:lnTo>
                      <a:close/>
                      <a:moveTo>
                        <a:pt x="1533" y="625"/>
                      </a:moveTo>
                      <a:lnTo>
                        <a:pt x="1534" y="626"/>
                      </a:lnTo>
                      <a:lnTo>
                        <a:pt x="1535" y="627"/>
                      </a:lnTo>
                      <a:lnTo>
                        <a:pt x="1535" y="628"/>
                      </a:lnTo>
                      <a:lnTo>
                        <a:pt x="1535" y="630"/>
                      </a:lnTo>
                      <a:lnTo>
                        <a:pt x="1535" y="633"/>
                      </a:lnTo>
                      <a:lnTo>
                        <a:pt x="1534" y="635"/>
                      </a:lnTo>
                      <a:lnTo>
                        <a:pt x="1533" y="637"/>
                      </a:lnTo>
                      <a:lnTo>
                        <a:pt x="1532" y="638"/>
                      </a:lnTo>
                      <a:lnTo>
                        <a:pt x="1531" y="638"/>
                      </a:lnTo>
                      <a:lnTo>
                        <a:pt x="1530" y="636"/>
                      </a:lnTo>
                      <a:lnTo>
                        <a:pt x="1530" y="635"/>
                      </a:lnTo>
                      <a:lnTo>
                        <a:pt x="1530" y="632"/>
                      </a:lnTo>
                      <a:lnTo>
                        <a:pt x="1530" y="629"/>
                      </a:lnTo>
                      <a:lnTo>
                        <a:pt x="1531" y="627"/>
                      </a:lnTo>
                      <a:lnTo>
                        <a:pt x="1532" y="626"/>
                      </a:lnTo>
                      <a:lnTo>
                        <a:pt x="1533" y="625"/>
                      </a:lnTo>
                      <a:close/>
                      <a:moveTo>
                        <a:pt x="790" y="624"/>
                      </a:moveTo>
                      <a:lnTo>
                        <a:pt x="792" y="624"/>
                      </a:lnTo>
                      <a:lnTo>
                        <a:pt x="793" y="625"/>
                      </a:lnTo>
                      <a:lnTo>
                        <a:pt x="793" y="625"/>
                      </a:lnTo>
                      <a:lnTo>
                        <a:pt x="793" y="626"/>
                      </a:lnTo>
                      <a:lnTo>
                        <a:pt x="793" y="628"/>
                      </a:lnTo>
                      <a:lnTo>
                        <a:pt x="792" y="629"/>
                      </a:lnTo>
                      <a:lnTo>
                        <a:pt x="791" y="630"/>
                      </a:lnTo>
                      <a:lnTo>
                        <a:pt x="790" y="629"/>
                      </a:lnTo>
                      <a:lnTo>
                        <a:pt x="789" y="628"/>
                      </a:lnTo>
                      <a:lnTo>
                        <a:pt x="788" y="626"/>
                      </a:lnTo>
                      <a:lnTo>
                        <a:pt x="789" y="625"/>
                      </a:lnTo>
                      <a:lnTo>
                        <a:pt x="789" y="624"/>
                      </a:lnTo>
                      <a:lnTo>
                        <a:pt x="790" y="624"/>
                      </a:lnTo>
                      <a:close/>
                      <a:moveTo>
                        <a:pt x="945" y="623"/>
                      </a:moveTo>
                      <a:lnTo>
                        <a:pt x="949" y="623"/>
                      </a:lnTo>
                      <a:lnTo>
                        <a:pt x="951" y="624"/>
                      </a:lnTo>
                      <a:lnTo>
                        <a:pt x="952" y="626"/>
                      </a:lnTo>
                      <a:lnTo>
                        <a:pt x="953" y="628"/>
                      </a:lnTo>
                      <a:lnTo>
                        <a:pt x="951" y="630"/>
                      </a:lnTo>
                      <a:lnTo>
                        <a:pt x="945" y="633"/>
                      </a:lnTo>
                      <a:lnTo>
                        <a:pt x="939" y="635"/>
                      </a:lnTo>
                      <a:lnTo>
                        <a:pt x="932" y="635"/>
                      </a:lnTo>
                      <a:lnTo>
                        <a:pt x="927" y="633"/>
                      </a:lnTo>
                      <a:lnTo>
                        <a:pt x="924" y="628"/>
                      </a:lnTo>
                      <a:lnTo>
                        <a:pt x="926" y="627"/>
                      </a:lnTo>
                      <a:lnTo>
                        <a:pt x="926" y="626"/>
                      </a:lnTo>
                      <a:lnTo>
                        <a:pt x="927" y="626"/>
                      </a:lnTo>
                      <a:lnTo>
                        <a:pt x="928" y="626"/>
                      </a:lnTo>
                      <a:lnTo>
                        <a:pt x="929" y="627"/>
                      </a:lnTo>
                      <a:lnTo>
                        <a:pt x="930" y="628"/>
                      </a:lnTo>
                      <a:lnTo>
                        <a:pt x="932" y="628"/>
                      </a:lnTo>
                      <a:lnTo>
                        <a:pt x="935" y="626"/>
                      </a:lnTo>
                      <a:lnTo>
                        <a:pt x="938" y="624"/>
                      </a:lnTo>
                      <a:lnTo>
                        <a:pt x="940" y="623"/>
                      </a:lnTo>
                      <a:lnTo>
                        <a:pt x="943" y="623"/>
                      </a:lnTo>
                      <a:lnTo>
                        <a:pt x="945" y="623"/>
                      </a:lnTo>
                      <a:close/>
                      <a:moveTo>
                        <a:pt x="1991" y="617"/>
                      </a:moveTo>
                      <a:lnTo>
                        <a:pt x="1990" y="618"/>
                      </a:lnTo>
                      <a:lnTo>
                        <a:pt x="1987" y="618"/>
                      </a:lnTo>
                      <a:lnTo>
                        <a:pt x="1983" y="618"/>
                      </a:lnTo>
                      <a:lnTo>
                        <a:pt x="1981" y="621"/>
                      </a:lnTo>
                      <a:lnTo>
                        <a:pt x="1979" y="621"/>
                      </a:lnTo>
                      <a:lnTo>
                        <a:pt x="1978" y="622"/>
                      </a:lnTo>
                      <a:lnTo>
                        <a:pt x="1977" y="623"/>
                      </a:lnTo>
                      <a:lnTo>
                        <a:pt x="1976" y="624"/>
                      </a:lnTo>
                      <a:lnTo>
                        <a:pt x="1975" y="627"/>
                      </a:lnTo>
                      <a:lnTo>
                        <a:pt x="1972" y="632"/>
                      </a:lnTo>
                      <a:lnTo>
                        <a:pt x="1970" y="637"/>
                      </a:lnTo>
                      <a:lnTo>
                        <a:pt x="1968" y="643"/>
                      </a:lnTo>
                      <a:lnTo>
                        <a:pt x="1968" y="646"/>
                      </a:lnTo>
                      <a:lnTo>
                        <a:pt x="1970" y="646"/>
                      </a:lnTo>
                      <a:lnTo>
                        <a:pt x="1972" y="646"/>
                      </a:lnTo>
                      <a:lnTo>
                        <a:pt x="1975" y="644"/>
                      </a:lnTo>
                      <a:lnTo>
                        <a:pt x="1977" y="643"/>
                      </a:lnTo>
                      <a:lnTo>
                        <a:pt x="1978" y="641"/>
                      </a:lnTo>
                      <a:lnTo>
                        <a:pt x="1979" y="641"/>
                      </a:lnTo>
                      <a:lnTo>
                        <a:pt x="1979" y="639"/>
                      </a:lnTo>
                      <a:lnTo>
                        <a:pt x="1981" y="638"/>
                      </a:lnTo>
                      <a:lnTo>
                        <a:pt x="1981" y="637"/>
                      </a:lnTo>
                      <a:lnTo>
                        <a:pt x="1982" y="636"/>
                      </a:lnTo>
                      <a:lnTo>
                        <a:pt x="1983" y="636"/>
                      </a:lnTo>
                      <a:lnTo>
                        <a:pt x="1986" y="633"/>
                      </a:lnTo>
                      <a:lnTo>
                        <a:pt x="1988" y="628"/>
                      </a:lnTo>
                      <a:lnTo>
                        <a:pt x="1990" y="625"/>
                      </a:lnTo>
                      <a:lnTo>
                        <a:pt x="1990" y="623"/>
                      </a:lnTo>
                      <a:lnTo>
                        <a:pt x="1991" y="622"/>
                      </a:lnTo>
                      <a:lnTo>
                        <a:pt x="1991" y="621"/>
                      </a:lnTo>
                      <a:lnTo>
                        <a:pt x="1991" y="618"/>
                      </a:lnTo>
                      <a:lnTo>
                        <a:pt x="1991" y="618"/>
                      </a:lnTo>
                      <a:lnTo>
                        <a:pt x="1991" y="617"/>
                      </a:lnTo>
                      <a:close/>
                      <a:moveTo>
                        <a:pt x="659" y="613"/>
                      </a:moveTo>
                      <a:lnTo>
                        <a:pt x="661" y="613"/>
                      </a:lnTo>
                      <a:lnTo>
                        <a:pt x="663" y="613"/>
                      </a:lnTo>
                      <a:lnTo>
                        <a:pt x="667" y="613"/>
                      </a:lnTo>
                      <a:lnTo>
                        <a:pt x="668" y="615"/>
                      </a:lnTo>
                      <a:lnTo>
                        <a:pt x="670" y="615"/>
                      </a:lnTo>
                      <a:lnTo>
                        <a:pt x="672" y="616"/>
                      </a:lnTo>
                      <a:lnTo>
                        <a:pt x="675" y="616"/>
                      </a:lnTo>
                      <a:lnTo>
                        <a:pt x="677" y="616"/>
                      </a:lnTo>
                      <a:lnTo>
                        <a:pt x="679" y="617"/>
                      </a:lnTo>
                      <a:lnTo>
                        <a:pt x="689" y="618"/>
                      </a:lnTo>
                      <a:lnTo>
                        <a:pt x="698" y="622"/>
                      </a:lnTo>
                      <a:lnTo>
                        <a:pt x="700" y="623"/>
                      </a:lnTo>
                      <a:lnTo>
                        <a:pt x="703" y="623"/>
                      </a:lnTo>
                      <a:lnTo>
                        <a:pt x="705" y="623"/>
                      </a:lnTo>
                      <a:lnTo>
                        <a:pt x="709" y="623"/>
                      </a:lnTo>
                      <a:lnTo>
                        <a:pt x="713" y="624"/>
                      </a:lnTo>
                      <a:lnTo>
                        <a:pt x="715" y="625"/>
                      </a:lnTo>
                      <a:lnTo>
                        <a:pt x="717" y="627"/>
                      </a:lnTo>
                      <a:lnTo>
                        <a:pt x="720" y="629"/>
                      </a:lnTo>
                      <a:lnTo>
                        <a:pt x="723" y="630"/>
                      </a:lnTo>
                      <a:lnTo>
                        <a:pt x="726" y="630"/>
                      </a:lnTo>
                      <a:lnTo>
                        <a:pt x="731" y="633"/>
                      </a:lnTo>
                      <a:lnTo>
                        <a:pt x="735" y="633"/>
                      </a:lnTo>
                      <a:lnTo>
                        <a:pt x="739" y="633"/>
                      </a:lnTo>
                      <a:lnTo>
                        <a:pt x="747" y="636"/>
                      </a:lnTo>
                      <a:lnTo>
                        <a:pt x="755" y="637"/>
                      </a:lnTo>
                      <a:lnTo>
                        <a:pt x="761" y="638"/>
                      </a:lnTo>
                      <a:lnTo>
                        <a:pt x="767" y="641"/>
                      </a:lnTo>
                      <a:lnTo>
                        <a:pt x="774" y="643"/>
                      </a:lnTo>
                      <a:lnTo>
                        <a:pt x="779" y="643"/>
                      </a:lnTo>
                      <a:lnTo>
                        <a:pt x="782" y="644"/>
                      </a:lnTo>
                      <a:lnTo>
                        <a:pt x="783" y="646"/>
                      </a:lnTo>
                      <a:lnTo>
                        <a:pt x="783" y="647"/>
                      </a:lnTo>
                      <a:lnTo>
                        <a:pt x="782" y="649"/>
                      </a:lnTo>
                      <a:lnTo>
                        <a:pt x="779" y="651"/>
                      </a:lnTo>
                      <a:lnTo>
                        <a:pt x="770" y="656"/>
                      </a:lnTo>
                      <a:lnTo>
                        <a:pt x="760" y="659"/>
                      </a:lnTo>
                      <a:lnTo>
                        <a:pt x="749" y="661"/>
                      </a:lnTo>
                      <a:lnTo>
                        <a:pt x="739" y="661"/>
                      </a:lnTo>
                      <a:lnTo>
                        <a:pt x="736" y="660"/>
                      </a:lnTo>
                      <a:lnTo>
                        <a:pt x="734" y="659"/>
                      </a:lnTo>
                      <a:lnTo>
                        <a:pt x="732" y="658"/>
                      </a:lnTo>
                      <a:lnTo>
                        <a:pt x="730" y="658"/>
                      </a:lnTo>
                      <a:lnTo>
                        <a:pt x="728" y="659"/>
                      </a:lnTo>
                      <a:lnTo>
                        <a:pt x="726" y="661"/>
                      </a:lnTo>
                      <a:lnTo>
                        <a:pt x="725" y="664"/>
                      </a:lnTo>
                      <a:lnTo>
                        <a:pt x="723" y="666"/>
                      </a:lnTo>
                      <a:lnTo>
                        <a:pt x="721" y="667"/>
                      </a:lnTo>
                      <a:lnTo>
                        <a:pt x="719" y="668"/>
                      </a:lnTo>
                      <a:lnTo>
                        <a:pt x="715" y="668"/>
                      </a:lnTo>
                      <a:lnTo>
                        <a:pt x="715" y="666"/>
                      </a:lnTo>
                      <a:lnTo>
                        <a:pt x="715" y="662"/>
                      </a:lnTo>
                      <a:lnTo>
                        <a:pt x="714" y="659"/>
                      </a:lnTo>
                      <a:lnTo>
                        <a:pt x="713" y="656"/>
                      </a:lnTo>
                      <a:lnTo>
                        <a:pt x="712" y="654"/>
                      </a:lnTo>
                      <a:lnTo>
                        <a:pt x="711" y="651"/>
                      </a:lnTo>
                      <a:lnTo>
                        <a:pt x="709" y="650"/>
                      </a:lnTo>
                      <a:lnTo>
                        <a:pt x="706" y="650"/>
                      </a:lnTo>
                      <a:lnTo>
                        <a:pt x="703" y="649"/>
                      </a:lnTo>
                      <a:lnTo>
                        <a:pt x="701" y="649"/>
                      </a:lnTo>
                      <a:lnTo>
                        <a:pt x="700" y="649"/>
                      </a:lnTo>
                      <a:lnTo>
                        <a:pt x="693" y="644"/>
                      </a:lnTo>
                      <a:lnTo>
                        <a:pt x="687" y="639"/>
                      </a:lnTo>
                      <a:lnTo>
                        <a:pt x="679" y="636"/>
                      </a:lnTo>
                      <a:lnTo>
                        <a:pt x="678" y="635"/>
                      </a:lnTo>
                      <a:lnTo>
                        <a:pt x="677" y="636"/>
                      </a:lnTo>
                      <a:lnTo>
                        <a:pt x="675" y="637"/>
                      </a:lnTo>
                      <a:lnTo>
                        <a:pt x="673" y="638"/>
                      </a:lnTo>
                      <a:lnTo>
                        <a:pt x="672" y="639"/>
                      </a:lnTo>
                      <a:lnTo>
                        <a:pt x="670" y="640"/>
                      </a:lnTo>
                      <a:lnTo>
                        <a:pt x="668" y="641"/>
                      </a:lnTo>
                      <a:lnTo>
                        <a:pt x="666" y="641"/>
                      </a:lnTo>
                      <a:lnTo>
                        <a:pt x="663" y="640"/>
                      </a:lnTo>
                      <a:lnTo>
                        <a:pt x="662" y="639"/>
                      </a:lnTo>
                      <a:lnTo>
                        <a:pt x="659" y="638"/>
                      </a:lnTo>
                      <a:lnTo>
                        <a:pt x="657" y="637"/>
                      </a:lnTo>
                      <a:lnTo>
                        <a:pt x="655" y="638"/>
                      </a:lnTo>
                      <a:lnTo>
                        <a:pt x="652" y="639"/>
                      </a:lnTo>
                      <a:lnTo>
                        <a:pt x="650" y="640"/>
                      </a:lnTo>
                      <a:lnTo>
                        <a:pt x="647" y="640"/>
                      </a:lnTo>
                      <a:lnTo>
                        <a:pt x="644" y="640"/>
                      </a:lnTo>
                      <a:lnTo>
                        <a:pt x="643" y="638"/>
                      </a:lnTo>
                      <a:lnTo>
                        <a:pt x="640" y="637"/>
                      </a:lnTo>
                      <a:lnTo>
                        <a:pt x="638" y="636"/>
                      </a:lnTo>
                      <a:lnTo>
                        <a:pt x="635" y="636"/>
                      </a:lnTo>
                      <a:lnTo>
                        <a:pt x="632" y="636"/>
                      </a:lnTo>
                      <a:lnTo>
                        <a:pt x="629" y="636"/>
                      </a:lnTo>
                      <a:lnTo>
                        <a:pt x="626" y="636"/>
                      </a:lnTo>
                      <a:lnTo>
                        <a:pt x="624" y="638"/>
                      </a:lnTo>
                      <a:lnTo>
                        <a:pt x="622" y="640"/>
                      </a:lnTo>
                      <a:lnTo>
                        <a:pt x="621" y="641"/>
                      </a:lnTo>
                      <a:lnTo>
                        <a:pt x="619" y="643"/>
                      </a:lnTo>
                      <a:lnTo>
                        <a:pt x="617" y="644"/>
                      </a:lnTo>
                      <a:lnTo>
                        <a:pt x="615" y="644"/>
                      </a:lnTo>
                      <a:lnTo>
                        <a:pt x="613" y="644"/>
                      </a:lnTo>
                      <a:lnTo>
                        <a:pt x="611" y="645"/>
                      </a:lnTo>
                      <a:lnTo>
                        <a:pt x="603" y="650"/>
                      </a:lnTo>
                      <a:lnTo>
                        <a:pt x="591" y="651"/>
                      </a:lnTo>
                      <a:lnTo>
                        <a:pt x="589" y="651"/>
                      </a:lnTo>
                      <a:lnTo>
                        <a:pt x="586" y="650"/>
                      </a:lnTo>
                      <a:lnTo>
                        <a:pt x="585" y="649"/>
                      </a:lnTo>
                      <a:lnTo>
                        <a:pt x="584" y="648"/>
                      </a:lnTo>
                      <a:lnTo>
                        <a:pt x="584" y="647"/>
                      </a:lnTo>
                      <a:lnTo>
                        <a:pt x="584" y="645"/>
                      </a:lnTo>
                      <a:lnTo>
                        <a:pt x="586" y="644"/>
                      </a:lnTo>
                      <a:lnTo>
                        <a:pt x="588" y="643"/>
                      </a:lnTo>
                      <a:lnTo>
                        <a:pt x="590" y="643"/>
                      </a:lnTo>
                      <a:lnTo>
                        <a:pt x="592" y="641"/>
                      </a:lnTo>
                      <a:lnTo>
                        <a:pt x="594" y="641"/>
                      </a:lnTo>
                      <a:lnTo>
                        <a:pt x="595" y="640"/>
                      </a:lnTo>
                      <a:lnTo>
                        <a:pt x="600" y="637"/>
                      </a:lnTo>
                      <a:lnTo>
                        <a:pt x="603" y="633"/>
                      </a:lnTo>
                      <a:lnTo>
                        <a:pt x="606" y="628"/>
                      </a:lnTo>
                      <a:lnTo>
                        <a:pt x="610" y="626"/>
                      </a:lnTo>
                      <a:lnTo>
                        <a:pt x="615" y="626"/>
                      </a:lnTo>
                      <a:lnTo>
                        <a:pt x="622" y="627"/>
                      </a:lnTo>
                      <a:lnTo>
                        <a:pt x="628" y="628"/>
                      </a:lnTo>
                      <a:lnTo>
                        <a:pt x="635" y="629"/>
                      </a:lnTo>
                      <a:lnTo>
                        <a:pt x="640" y="629"/>
                      </a:lnTo>
                      <a:lnTo>
                        <a:pt x="644" y="626"/>
                      </a:lnTo>
                      <a:lnTo>
                        <a:pt x="648" y="623"/>
                      </a:lnTo>
                      <a:lnTo>
                        <a:pt x="651" y="619"/>
                      </a:lnTo>
                      <a:lnTo>
                        <a:pt x="655" y="616"/>
                      </a:lnTo>
                      <a:lnTo>
                        <a:pt x="659" y="613"/>
                      </a:lnTo>
                      <a:close/>
                      <a:moveTo>
                        <a:pt x="626" y="606"/>
                      </a:moveTo>
                      <a:lnTo>
                        <a:pt x="627" y="606"/>
                      </a:lnTo>
                      <a:lnTo>
                        <a:pt x="628" y="607"/>
                      </a:lnTo>
                      <a:lnTo>
                        <a:pt x="628" y="610"/>
                      </a:lnTo>
                      <a:lnTo>
                        <a:pt x="628" y="611"/>
                      </a:lnTo>
                      <a:lnTo>
                        <a:pt x="627" y="611"/>
                      </a:lnTo>
                      <a:lnTo>
                        <a:pt x="626" y="611"/>
                      </a:lnTo>
                      <a:lnTo>
                        <a:pt x="625" y="610"/>
                      </a:lnTo>
                      <a:lnTo>
                        <a:pt x="624" y="610"/>
                      </a:lnTo>
                      <a:lnTo>
                        <a:pt x="623" y="610"/>
                      </a:lnTo>
                      <a:lnTo>
                        <a:pt x="622" y="608"/>
                      </a:lnTo>
                      <a:lnTo>
                        <a:pt x="622" y="608"/>
                      </a:lnTo>
                      <a:lnTo>
                        <a:pt x="623" y="607"/>
                      </a:lnTo>
                      <a:lnTo>
                        <a:pt x="624" y="607"/>
                      </a:lnTo>
                      <a:lnTo>
                        <a:pt x="626" y="606"/>
                      </a:lnTo>
                      <a:close/>
                      <a:moveTo>
                        <a:pt x="828" y="605"/>
                      </a:moveTo>
                      <a:lnTo>
                        <a:pt x="829" y="605"/>
                      </a:lnTo>
                      <a:lnTo>
                        <a:pt x="830" y="606"/>
                      </a:lnTo>
                      <a:lnTo>
                        <a:pt x="831" y="607"/>
                      </a:lnTo>
                      <a:lnTo>
                        <a:pt x="830" y="610"/>
                      </a:lnTo>
                      <a:lnTo>
                        <a:pt x="830" y="611"/>
                      </a:lnTo>
                      <a:lnTo>
                        <a:pt x="829" y="612"/>
                      </a:lnTo>
                      <a:lnTo>
                        <a:pt x="828" y="612"/>
                      </a:lnTo>
                      <a:lnTo>
                        <a:pt x="826" y="612"/>
                      </a:lnTo>
                      <a:lnTo>
                        <a:pt x="825" y="611"/>
                      </a:lnTo>
                      <a:lnTo>
                        <a:pt x="824" y="610"/>
                      </a:lnTo>
                      <a:lnTo>
                        <a:pt x="825" y="607"/>
                      </a:lnTo>
                      <a:lnTo>
                        <a:pt x="826" y="606"/>
                      </a:lnTo>
                      <a:lnTo>
                        <a:pt x="828" y="605"/>
                      </a:lnTo>
                      <a:close/>
                      <a:moveTo>
                        <a:pt x="801" y="601"/>
                      </a:moveTo>
                      <a:lnTo>
                        <a:pt x="802" y="602"/>
                      </a:lnTo>
                      <a:lnTo>
                        <a:pt x="803" y="604"/>
                      </a:lnTo>
                      <a:lnTo>
                        <a:pt x="803" y="605"/>
                      </a:lnTo>
                      <a:lnTo>
                        <a:pt x="803" y="606"/>
                      </a:lnTo>
                      <a:lnTo>
                        <a:pt x="803" y="606"/>
                      </a:lnTo>
                      <a:lnTo>
                        <a:pt x="802" y="607"/>
                      </a:lnTo>
                      <a:lnTo>
                        <a:pt x="801" y="608"/>
                      </a:lnTo>
                      <a:lnTo>
                        <a:pt x="800" y="608"/>
                      </a:lnTo>
                      <a:lnTo>
                        <a:pt x="799" y="608"/>
                      </a:lnTo>
                      <a:lnTo>
                        <a:pt x="798" y="607"/>
                      </a:lnTo>
                      <a:lnTo>
                        <a:pt x="798" y="605"/>
                      </a:lnTo>
                      <a:lnTo>
                        <a:pt x="799" y="604"/>
                      </a:lnTo>
                      <a:lnTo>
                        <a:pt x="799" y="602"/>
                      </a:lnTo>
                      <a:lnTo>
                        <a:pt x="800" y="601"/>
                      </a:lnTo>
                      <a:lnTo>
                        <a:pt x="801" y="601"/>
                      </a:lnTo>
                      <a:close/>
                      <a:moveTo>
                        <a:pt x="757" y="595"/>
                      </a:moveTo>
                      <a:lnTo>
                        <a:pt x="759" y="595"/>
                      </a:lnTo>
                      <a:lnTo>
                        <a:pt x="760" y="595"/>
                      </a:lnTo>
                      <a:lnTo>
                        <a:pt x="763" y="596"/>
                      </a:lnTo>
                      <a:lnTo>
                        <a:pt x="764" y="597"/>
                      </a:lnTo>
                      <a:lnTo>
                        <a:pt x="766" y="600"/>
                      </a:lnTo>
                      <a:lnTo>
                        <a:pt x="767" y="603"/>
                      </a:lnTo>
                      <a:lnTo>
                        <a:pt x="767" y="605"/>
                      </a:lnTo>
                      <a:lnTo>
                        <a:pt x="767" y="607"/>
                      </a:lnTo>
                      <a:lnTo>
                        <a:pt x="767" y="611"/>
                      </a:lnTo>
                      <a:lnTo>
                        <a:pt x="766" y="612"/>
                      </a:lnTo>
                      <a:lnTo>
                        <a:pt x="766" y="612"/>
                      </a:lnTo>
                      <a:lnTo>
                        <a:pt x="764" y="612"/>
                      </a:lnTo>
                      <a:lnTo>
                        <a:pt x="763" y="611"/>
                      </a:lnTo>
                      <a:lnTo>
                        <a:pt x="761" y="608"/>
                      </a:lnTo>
                      <a:lnTo>
                        <a:pt x="759" y="606"/>
                      </a:lnTo>
                      <a:lnTo>
                        <a:pt x="758" y="604"/>
                      </a:lnTo>
                      <a:lnTo>
                        <a:pt x="757" y="602"/>
                      </a:lnTo>
                      <a:lnTo>
                        <a:pt x="755" y="600"/>
                      </a:lnTo>
                      <a:lnTo>
                        <a:pt x="754" y="599"/>
                      </a:lnTo>
                      <a:lnTo>
                        <a:pt x="754" y="597"/>
                      </a:lnTo>
                      <a:lnTo>
                        <a:pt x="753" y="596"/>
                      </a:lnTo>
                      <a:lnTo>
                        <a:pt x="753" y="596"/>
                      </a:lnTo>
                      <a:lnTo>
                        <a:pt x="754" y="595"/>
                      </a:lnTo>
                      <a:lnTo>
                        <a:pt x="755" y="595"/>
                      </a:lnTo>
                      <a:lnTo>
                        <a:pt x="757" y="595"/>
                      </a:lnTo>
                      <a:close/>
                      <a:moveTo>
                        <a:pt x="1551" y="594"/>
                      </a:moveTo>
                      <a:lnTo>
                        <a:pt x="1555" y="594"/>
                      </a:lnTo>
                      <a:lnTo>
                        <a:pt x="1555" y="596"/>
                      </a:lnTo>
                      <a:lnTo>
                        <a:pt x="1554" y="600"/>
                      </a:lnTo>
                      <a:lnTo>
                        <a:pt x="1554" y="603"/>
                      </a:lnTo>
                      <a:lnTo>
                        <a:pt x="1553" y="606"/>
                      </a:lnTo>
                      <a:lnTo>
                        <a:pt x="1552" y="608"/>
                      </a:lnTo>
                      <a:lnTo>
                        <a:pt x="1550" y="610"/>
                      </a:lnTo>
                      <a:lnTo>
                        <a:pt x="1549" y="610"/>
                      </a:lnTo>
                      <a:lnTo>
                        <a:pt x="1549" y="607"/>
                      </a:lnTo>
                      <a:lnTo>
                        <a:pt x="1548" y="604"/>
                      </a:lnTo>
                      <a:lnTo>
                        <a:pt x="1548" y="602"/>
                      </a:lnTo>
                      <a:lnTo>
                        <a:pt x="1548" y="599"/>
                      </a:lnTo>
                      <a:lnTo>
                        <a:pt x="1549" y="595"/>
                      </a:lnTo>
                      <a:lnTo>
                        <a:pt x="1551" y="594"/>
                      </a:lnTo>
                      <a:close/>
                      <a:moveTo>
                        <a:pt x="1536" y="594"/>
                      </a:moveTo>
                      <a:lnTo>
                        <a:pt x="1541" y="599"/>
                      </a:lnTo>
                      <a:lnTo>
                        <a:pt x="1542" y="606"/>
                      </a:lnTo>
                      <a:lnTo>
                        <a:pt x="1539" y="616"/>
                      </a:lnTo>
                      <a:lnTo>
                        <a:pt x="1538" y="618"/>
                      </a:lnTo>
                      <a:lnTo>
                        <a:pt x="1535" y="618"/>
                      </a:lnTo>
                      <a:lnTo>
                        <a:pt x="1533" y="618"/>
                      </a:lnTo>
                      <a:lnTo>
                        <a:pt x="1531" y="617"/>
                      </a:lnTo>
                      <a:lnTo>
                        <a:pt x="1529" y="616"/>
                      </a:lnTo>
                      <a:lnTo>
                        <a:pt x="1527" y="615"/>
                      </a:lnTo>
                      <a:lnTo>
                        <a:pt x="1525" y="614"/>
                      </a:lnTo>
                      <a:lnTo>
                        <a:pt x="1525" y="614"/>
                      </a:lnTo>
                      <a:lnTo>
                        <a:pt x="1523" y="611"/>
                      </a:lnTo>
                      <a:lnTo>
                        <a:pt x="1524" y="606"/>
                      </a:lnTo>
                      <a:lnTo>
                        <a:pt x="1529" y="602"/>
                      </a:lnTo>
                      <a:lnTo>
                        <a:pt x="1533" y="597"/>
                      </a:lnTo>
                      <a:lnTo>
                        <a:pt x="1536" y="594"/>
                      </a:lnTo>
                      <a:close/>
                      <a:moveTo>
                        <a:pt x="661" y="594"/>
                      </a:moveTo>
                      <a:lnTo>
                        <a:pt x="662" y="595"/>
                      </a:lnTo>
                      <a:lnTo>
                        <a:pt x="662" y="596"/>
                      </a:lnTo>
                      <a:lnTo>
                        <a:pt x="662" y="597"/>
                      </a:lnTo>
                      <a:lnTo>
                        <a:pt x="661" y="600"/>
                      </a:lnTo>
                      <a:lnTo>
                        <a:pt x="659" y="601"/>
                      </a:lnTo>
                      <a:lnTo>
                        <a:pt x="658" y="602"/>
                      </a:lnTo>
                      <a:lnTo>
                        <a:pt x="657" y="603"/>
                      </a:lnTo>
                      <a:lnTo>
                        <a:pt x="654" y="605"/>
                      </a:lnTo>
                      <a:lnTo>
                        <a:pt x="648" y="607"/>
                      </a:lnTo>
                      <a:lnTo>
                        <a:pt x="640" y="608"/>
                      </a:lnTo>
                      <a:lnTo>
                        <a:pt x="635" y="610"/>
                      </a:lnTo>
                      <a:lnTo>
                        <a:pt x="630" y="608"/>
                      </a:lnTo>
                      <a:lnTo>
                        <a:pt x="630" y="607"/>
                      </a:lnTo>
                      <a:lnTo>
                        <a:pt x="632" y="606"/>
                      </a:lnTo>
                      <a:lnTo>
                        <a:pt x="634" y="606"/>
                      </a:lnTo>
                      <a:lnTo>
                        <a:pt x="636" y="605"/>
                      </a:lnTo>
                      <a:lnTo>
                        <a:pt x="638" y="605"/>
                      </a:lnTo>
                      <a:lnTo>
                        <a:pt x="640" y="605"/>
                      </a:lnTo>
                      <a:lnTo>
                        <a:pt x="643" y="605"/>
                      </a:lnTo>
                      <a:lnTo>
                        <a:pt x="643" y="605"/>
                      </a:lnTo>
                      <a:lnTo>
                        <a:pt x="646" y="604"/>
                      </a:lnTo>
                      <a:lnTo>
                        <a:pt x="649" y="604"/>
                      </a:lnTo>
                      <a:lnTo>
                        <a:pt x="652" y="603"/>
                      </a:lnTo>
                      <a:lnTo>
                        <a:pt x="655" y="601"/>
                      </a:lnTo>
                      <a:lnTo>
                        <a:pt x="657" y="600"/>
                      </a:lnTo>
                      <a:lnTo>
                        <a:pt x="658" y="596"/>
                      </a:lnTo>
                      <a:lnTo>
                        <a:pt x="660" y="594"/>
                      </a:lnTo>
                      <a:lnTo>
                        <a:pt x="661" y="594"/>
                      </a:lnTo>
                      <a:close/>
                      <a:moveTo>
                        <a:pt x="737" y="569"/>
                      </a:moveTo>
                      <a:lnTo>
                        <a:pt x="743" y="569"/>
                      </a:lnTo>
                      <a:lnTo>
                        <a:pt x="746" y="571"/>
                      </a:lnTo>
                      <a:lnTo>
                        <a:pt x="748" y="575"/>
                      </a:lnTo>
                      <a:lnTo>
                        <a:pt x="747" y="577"/>
                      </a:lnTo>
                      <a:lnTo>
                        <a:pt x="748" y="578"/>
                      </a:lnTo>
                      <a:lnTo>
                        <a:pt x="748" y="578"/>
                      </a:lnTo>
                      <a:lnTo>
                        <a:pt x="750" y="578"/>
                      </a:lnTo>
                      <a:lnTo>
                        <a:pt x="752" y="578"/>
                      </a:lnTo>
                      <a:lnTo>
                        <a:pt x="753" y="578"/>
                      </a:lnTo>
                      <a:lnTo>
                        <a:pt x="755" y="578"/>
                      </a:lnTo>
                      <a:lnTo>
                        <a:pt x="756" y="579"/>
                      </a:lnTo>
                      <a:lnTo>
                        <a:pt x="756" y="581"/>
                      </a:lnTo>
                      <a:lnTo>
                        <a:pt x="756" y="583"/>
                      </a:lnTo>
                      <a:lnTo>
                        <a:pt x="756" y="585"/>
                      </a:lnTo>
                      <a:lnTo>
                        <a:pt x="755" y="589"/>
                      </a:lnTo>
                      <a:lnTo>
                        <a:pt x="753" y="591"/>
                      </a:lnTo>
                      <a:lnTo>
                        <a:pt x="750" y="591"/>
                      </a:lnTo>
                      <a:lnTo>
                        <a:pt x="749" y="591"/>
                      </a:lnTo>
                      <a:lnTo>
                        <a:pt x="747" y="589"/>
                      </a:lnTo>
                      <a:lnTo>
                        <a:pt x="746" y="586"/>
                      </a:lnTo>
                      <a:lnTo>
                        <a:pt x="745" y="584"/>
                      </a:lnTo>
                      <a:lnTo>
                        <a:pt x="745" y="582"/>
                      </a:lnTo>
                      <a:lnTo>
                        <a:pt x="744" y="580"/>
                      </a:lnTo>
                      <a:lnTo>
                        <a:pt x="742" y="579"/>
                      </a:lnTo>
                      <a:lnTo>
                        <a:pt x="741" y="579"/>
                      </a:lnTo>
                      <a:lnTo>
                        <a:pt x="726" y="579"/>
                      </a:lnTo>
                      <a:lnTo>
                        <a:pt x="724" y="577"/>
                      </a:lnTo>
                      <a:lnTo>
                        <a:pt x="723" y="574"/>
                      </a:lnTo>
                      <a:lnTo>
                        <a:pt x="724" y="573"/>
                      </a:lnTo>
                      <a:lnTo>
                        <a:pt x="726" y="572"/>
                      </a:lnTo>
                      <a:lnTo>
                        <a:pt x="728" y="572"/>
                      </a:lnTo>
                      <a:lnTo>
                        <a:pt x="733" y="570"/>
                      </a:lnTo>
                      <a:lnTo>
                        <a:pt x="737" y="569"/>
                      </a:lnTo>
                      <a:close/>
                      <a:moveTo>
                        <a:pt x="714" y="557"/>
                      </a:moveTo>
                      <a:lnTo>
                        <a:pt x="715" y="557"/>
                      </a:lnTo>
                      <a:lnTo>
                        <a:pt x="717" y="558"/>
                      </a:lnTo>
                      <a:lnTo>
                        <a:pt x="720" y="559"/>
                      </a:lnTo>
                      <a:lnTo>
                        <a:pt x="722" y="560"/>
                      </a:lnTo>
                      <a:lnTo>
                        <a:pt x="724" y="562"/>
                      </a:lnTo>
                      <a:lnTo>
                        <a:pt x="726" y="564"/>
                      </a:lnTo>
                      <a:lnTo>
                        <a:pt x="726" y="567"/>
                      </a:lnTo>
                      <a:lnTo>
                        <a:pt x="725" y="569"/>
                      </a:lnTo>
                      <a:lnTo>
                        <a:pt x="723" y="571"/>
                      </a:lnTo>
                      <a:lnTo>
                        <a:pt x="721" y="571"/>
                      </a:lnTo>
                      <a:lnTo>
                        <a:pt x="719" y="570"/>
                      </a:lnTo>
                      <a:lnTo>
                        <a:pt x="716" y="568"/>
                      </a:lnTo>
                      <a:lnTo>
                        <a:pt x="715" y="564"/>
                      </a:lnTo>
                      <a:lnTo>
                        <a:pt x="714" y="562"/>
                      </a:lnTo>
                      <a:lnTo>
                        <a:pt x="713" y="559"/>
                      </a:lnTo>
                      <a:lnTo>
                        <a:pt x="714" y="557"/>
                      </a:lnTo>
                      <a:close/>
                      <a:moveTo>
                        <a:pt x="1885" y="525"/>
                      </a:moveTo>
                      <a:lnTo>
                        <a:pt x="1885" y="525"/>
                      </a:lnTo>
                      <a:lnTo>
                        <a:pt x="1883" y="526"/>
                      </a:lnTo>
                      <a:lnTo>
                        <a:pt x="1882" y="528"/>
                      </a:lnTo>
                      <a:lnTo>
                        <a:pt x="1881" y="530"/>
                      </a:lnTo>
                      <a:lnTo>
                        <a:pt x="1881" y="531"/>
                      </a:lnTo>
                      <a:lnTo>
                        <a:pt x="1882" y="534"/>
                      </a:lnTo>
                      <a:lnTo>
                        <a:pt x="1883" y="535"/>
                      </a:lnTo>
                      <a:lnTo>
                        <a:pt x="1885" y="536"/>
                      </a:lnTo>
                      <a:lnTo>
                        <a:pt x="1887" y="537"/>
                      </a:lnTo>
                      <a:lnTo>
                        <a:pt x="1888" y="538"/>
                      </a:lnTo>
                      <a:lnTo>
                        <a:pt x="1889" y="538"/>
                      </a:lnTo>
                      <a:lnTo>
                        <a:pt x="1890" y="538"/>
                      </a:lnTo>
                      <a:lnTo>
                        <a:pt x="1892" y="536"/>
                      </a:lnTo>
                      <a:lnTo>
                        <a:pt x="1893" y="534"/>
                      </a:lnTo>
                      <a:lnTo>
                        <a:pt x="1895" y="530"/>
                      </a:lnTo>
                      <a:lnTo>
                        <a:pt x="1895" y="529"/>
                      </a:lnTo>
                      <a:lnTo>
                        <a:pt x="1895" y="528"/>
                      </a:lnTo>
                      <a:lnTo>
                        <a:pt x="1894" y="528"/>
                      </a:lnTo>
                      <a:lnTo>
                        <a:pt x="1893" y="528"/>
                      </a:lnTo>
                      <a:lnTo>
                        <a:pt x="1891" y="528"/>
                      </a:lnTo>
                      <a:lnTo>
                        <a:pt x="1890" y="528"/>
                      </a:lnTo>
                      <a:lnTo>
                        <a:pt x="1889" y="528"/>
                      </a:lnTo>
                      <a:lnTo>
                        <a:pt x="1888" y="527"/>
                      </a:lnTo>
                      <a:lnTo>
                        <a:pt x="1888" y="526"/>
                      </a:lnTo>
                      <a:lnTo>
                        <a:pt x="1887" y="525"/>
                      </a:lnTo>
                      <a:lnTo>
                        <a:pt x="1885" y="525"/>
                      </a:lnTo>
                      <a:close/>
                      <a:moveTo>
                        <a:pt x="32" y="496"/>
                      </a:moveTo>
                      <a:lnTo>
                        <a:pt x="36" y="497"/>
                      </a:lnTo>
                      <a:lnTo>
                        <a:pt x="40" y="498"/>
                      </a:lnTo>
                      <a:lnTo>
                        <a:pt x="45" y="499"/>
                      </a:lnTo>
                      <a:lnTo>
                        <a:pt x="48" y="501"/>
                      </a:lnTo>
                      <a:lnTo>
                        <a:pt x="50" y="504"/>
                      </a:lnTo>
                      <a:lnTo>
                        <a:pt x="50" y="505"/>
                      </a:lnTo>
                      <a:lnTo>
                        <a:pt x="50" y="507"/>
                      </a:lnTo>
                      <a:lnTo>
                        <a:pt x="48" y="509"/>
                      </a:lnTo>
                      <a:lnTo>
                        <a:pt x="46" y="510"/>
                      </a:lnTo>
                      <a:lnTo>
                        <a:pt x="44" y="510"/>
                      </a:lnTo>
                      <a:lnTo>
                        <a:pt x="39" y="508"/>
                      </a:lnTo>
                      <a:lnTo>
                        <a:pt x="36" y="506"/>
                      </a:lnTo>
                      <a:lnTo>
                        <a:pt x="33" y="504"/>
                      </a:lnTo>
                      <a:lnTo>
                        <a:pt x="30" y="501"/>
                      </a:lnTo>
                      <a:lnTo>
                        <a:pt x="30" y="497"/>
                      </a:lnTo>
                      <a:lnTo>
                        <a:pt x="32" y="496"/>
                      </a:lnTo>
                      <a:close/>
                      <a:moveTo>
                        <a:pt x="1" y="479"/>
                      </a:moveTo>
                      <a:lnTo>
                        <a:pt x="2" y="480"/>
                      </a:lnTo>
                      <a:lnTo>
                        <a:pt x="3" y="481"/>
                      </a:lnTo>
                      <a:lnTo>
                        <a:pt x="3" y="481"/>
                      </a:lnTo>
                      <a:lnTo>
                        <a:pt x="3" y="482"/>
                      </a:lnTo>
                      <a:lnTo>
                        <a:pt x="4" y="482"/>
                      </a:lnTo>
                      <a:lnTo>
                        <a:pt x="5" y="483"/>
                      </a:lnTo>
                      <a:lnTo>
                        <a:pt x="7" y="484"/>
                      </a:lnTo>
                      <a:lnTo>
                        <a:pt x="7" y="486"/>
                      </a:lnTo>
                      <a:lnTo>
                        <a:pt x="6" y="488"/>
                      </a:lnTo>
                      <a:lnTo>
                        <a:pt x="5" y="490"/>
                      </a:lnTo>
                      <a:lnTo>
                        <a:pt x="3" y="490"/>
                      </a:lnTo>
                      <a:lnTo>
                        <a:pt x="2" y="488"/>
                      </a:lnTo>
                      <a:lnTo>
                        <a:pt x="1" y="486"/>
                      </a:lnTo>
                      <a:lnTo>
                        <a:pt x="1" y="485"/>
                      </a:lnTo>
                      <a:lnTo>
                        <a:pt x="0" y="484"/>
                      </a:lnTo>
                      <a:lnTo>
                        <a:pt x="0" y="482"/>
                      </a:lnTo>
                      <a:lnTo>
                        <a:pt x="0" y="481"/>
                      </a:lnTo>
                      <a:lnTo>
                        <a:pt x="0" y="480"/>
                      </a:lnTo>
                      <a:lnTo>
                        <a:pt x="0" y="479"/>
                      </a:lnTo>
                      <a:lnTo>
                        <a:pt x="1" y="479"/>
                      </a:lnTo>
                      <a:close/>
                      <a:moveTo>
                        <a:pt x="1028" y="447"/>
                      </a:moveTo>
                      <a:lnTo>
                        <a:pt x="1030" y="448"/>
                      </a:lnTo>
                      <a:lnTo>
                        <a:pt x="1033" y="448"/>
                      </a:lnTo>
                      <a:lnTo>
                        <a:pt x="1036" y="449"/>
                      </a:lnTo>
                      <a:lnTo>
                        <a:pt x="1038" y="450"/>
                      </a:lnTo>
                      <a:lnTo>
                        <a:pt x="1038" y="451"/>
                      </a:lnTo>
                      <a:lnTo>
                        <a:pt x="1038" y="453"/>
                      </a:lnTo>
                      <a:lnTo>
                        <a:pt x="1037" y="454"/>
                      </a:lnTo>
                      <a:lnTo>
                        <a:pt x="1034" y="455"/>
                      </a:lnTo>
                      <a:lnTo>
                        <a:pt x="1032" y="457"/>
                      </a:lnTo>
                      <a:lnTo>
                        <a:pt x="1029" y="458"/>
                      </a:lnTo>
                      <a:lnTo>
                        <a:pt x="1027" y="458"/>
                      </a:lnTo>
                      <a:lnTo>
                        <a:pt x="1025" y="458"/>
                      </a:lnTo>
                      <a:lnTo>
                        <a:pt x="1021" y="457"/>
                      </a:lnTo>
                      <a:lnTo>
                        <a:pt x="1020" y="454"/>
                      </a:lnTo>
                      <a:lnTo>
                        <a:pt x="1020" y="452"/>
                      </a:lnTo>
                      <a:lnTo>
                        <a:pt x="1020" y="450"/>
                      </a:lnTo>
                      <a:lnTo>
                        <a:pt x="1022" y="449"/>
                      </a:lnTo>
                      <a:lnTo>
                        <a:pt x="1025" y="448"/>
                      </a:lnTo>
                      <a:lnTo>
                        <a:pt x="1028" y="447"/>
                      </a:lnTo>
                      <a:close/>
                      <a:moveTo>
                        <a:pt x="962" y="441"/>
                      </a:moveTo>
                      <a:lnTo>
                        <a:pt x="963" y="441"/>
                      </a:lnTo>
                      <a:lnTo>
                        <a:pt x="965" y="442"/>
                      </a:lnTo>
                      <a:lnTo>
                        <a:pt x="967" y="444"/>
                      </a:lnTo>
                      <a:lnTo>
                        <a:pt x="967" y="447"/>
                      </a:lnTo>
                      <a:lnTo>
                        <a:pt x="967" y="450"/>
                      </a:lnTo>
                      <a:lnTo>
                        <a:pt x="966" y="452"/>
                      </a:lnTo>
                      <a:lnTo>
                        <a:pt x="964" y="455"/>
                      </a:lnTo>
                      <a:lnTo>
                        <a:pt x="962" y="457"/>
                      </a:lnTo>
                      <a:lnTo>
                        <a:pt x="961" y="458"/>
                      </a:lnTo>
                      <a:lnTo>
                        <a:pt x="959" y="457"/>
                      </a:lnTo>
                      <a:lnTo>
                        <a:pt x="957" y="454"/>
                      </a:lnTo>
                      <a:lnTo>
                        <a:pt x="956" y="452"/>
                      </a:lnTo>
                      <a:lnTo>
                        <a:pt x="956" y="450"/>
                      </a:lnTo>
                      <a:lnTo>
                        <a:pt x="956" y="447"/>
                      </a:lnTo>
                      <a:lnTo>
                        <a:pt x="957" y="443"/>
                      </a:lnTo>
                      <a:lnTo>
                        <a:pt x="960" y="441"/>
                      </a:lnTo>
                      <a:lnTo>
                        <a:pt x="962" y="441"/>
                      </a:lnTo>
                      <a:close/>
                      <a:moveTo>
                        <a:pt x="2269" y="427"/>
                      </a:moveTo>
                      <a:lnTo>
                        <a:pt x="2271" y="428"/>
                      </a:lnTo>
                      <a:lnTo>
                        <a:pt x="2273" y="429"/>
                      </a:lnTo>
                      <a:lnTo>
                        <a:pt x="2274" y="431"/>
                      </a:lnTo>
                      <a:lnTo>
                        <a:pt x="2275" y="433"/>
                      </a:lnTo>
                      <a:lnTo>
                        <a:pt x="2276" y="436"/>
                      </a:lnTo>
                      <a:lnTo>
                        <a:pt x="2277" y="439"/>
                      </a:lnTo>
                      <a:lnTo>
                        <a:pt x="2278" y="442"/>
                      </a:lnTo>
                      <a:lnTo>
                        <a:pt x="2278" y="446"/>
                      </a:lnTo>
                      <a:lnTo>
                        <a:pt x="2275" y="450"/>
                      </a:lnTo>
                      <a:lnTo>
                        <a:pt x="2272" y="453"/>
                      </a:lnTo>
                      <a:lnTo>
                        <a:pt x="2269" y="457"/>
                      </a:lnTo>
                      <a:lnTo>
                        <a:pt x="2266" y="459"/>
                      </a:lnTo>
                      <a:lnTo>
                        <a:pt x="2265" y="460"/>
                      </a:lnTo>
                      <a:lnTo>
                        <a:pt x="2263" y="462"/>
                      </a:lnTo>
                      <a:lnTo>
                        <a:pt x="2261" y="462"/>
                      </a:lnTo>
                      <a:lnTo>
                        <a:pt x="2260" y="462"/>
                      </a:lnTo>
                      <a:lnTo>
                        <a:pt x="2260" y="452"/>
                      </a:lnTo>
                      <a:lnTo>
                        <a:pt x="2260" y="449"/>
                      </a:lnTo>
                      <a:lnTo>
                        <a:pt x="2260" y="447"/>
                      </a:lnTo>
                      <a:lnTo>
                        <a:pt x="2261" y="444"/>
                      </a:lnTo>
                      <a:lnTo>
                        <a:pt x="2263" y="441"/>
                      </a:lnTo>
                      <a:lnTo>
                        <a:pt x="2263" y="439"/>
                      </a:lnTo>
                      <a:lnTo>
                        <a:pt x="2263" y="437"/>
                      </a:lnTo>
                      <a:lnTo>
                        <a:pt x="2264" y="433"/>
                      </a:lnTo>
                      <a:lnTo>
                        <a:pt x="2265" y="431"/>
                      </a:lnTo>
                      <a:lnTo>
                        <a:pt x="2267" y="429"/>
                      </a:lnTo>
                      <a:lnTo>
                        <a:pt x="2269" y="427"/>
                      </a:lnTo>
                      <a:close/>
                      <a:moveTo>
                        <a:pt x="1691" y="390"/>
                      </a:moveTo>
                      <a:lnTo>
                        <a:pt x="1693" y="390"/>
                      </a:lnTo>
                      <a:lnTo>
                        <a:pt x="1694" y="393"/>
                      </a:lnTo>
                      <a:lnTo>
                        <a:pt x="1692" y="399"/>
                      </a:lnTo>
                      <a:lnTo>
                        <a:pt x="1690" y="407"/>
                      </a:lnTo>
                      <a:lnTo>
                        <a:pt x="1686" y="414"/>
                      </a:lnTo>
                      <a:lnTo>
                        <a:pt x="1682" y="418"/>
                      </a:lnTo>
                      <a:lnTo>
                        <a:pt x="1681" y="416"/>
                      </a:lnTo>
                      <a:lnTo>
                        <a:pt x="1681" y="412"/>
                      </a:lnTo>
                      <a:lnTo>
                        <a:pt x="1683" y="407"/>
                      </a:lnTo>
                      <a:lnTo>
                        <a:pt x="1685" y="400"/>
                      </a:lnTo>
                      <a:lnTo>
                        <a:pt x="1687" y="396"/>
                      </a:lnTo>
                      <a:lnTo>
                        <a:pt x="1690" y="393"/>
                      </a:lnTo>
                      <a:lnTo>
                        <a:pt x="1691" y="390"/>
                      </a:lnTo>
                      <a:close/>
                      <a:moveTo>
                        <a:pt x="1691" y="324"/>
                      </a:moveTo>
                      <a:lnTo>
                        <a:pt x="1692" y="328"/>
                      </a:lnTo>
                      <a:lnTo>
                        <a:pt x="1692" y="330"/>
                      </a:lnTo>
                      <a:lnTo>
                        <a:pt x="1692" y="333"/>
                      </a:lnTo>
                      <a:lnTo>
                        <a:pt x="1691" y="335"/>
                      </a:lnTo>
                      <a:lnTo>
                        <a:pt x="1688" y="339"/>
                      </a:lnTo>
                      <a:lnTo>
                        <a:pt x="1686" y="342"/>
                      </a:lnTo>
                      <a:lnTo>
                        <a:pt x="1686" y="345"/>
                      </a:lnTo>
                      <a:lnTo>
                        <a:pt x="1685" y="348"/>
                      </a:lnTo>
                      <a:lnTo>
                        <a:pt x="1684" y="350"/>
                      </a:lnTo>
                      <a:lnTo>
                        <a:pt x="1683" y="350"/>
                      </a:lnTo>
                      <a:lnTo>
                        <a:pt x="1681" y="350"/>
                      </a:lnTo>
                      <a:lnTo>
                        <a:pt x="1680" y="349"/>
                      </a:lnTo>
                      <a:lnTo>
                        <a:pt x="1679" y="346"/>
                      </a:lnTo>
                      <a:lnTo>
                        <a:pt x="1677" y="345"/>
                      </a:lnTo>
                      <a:lnTo>
                        <a:pt x="1677" y="342"/>
                      </a:lnTo>
                      <a:lnTo>
                        <a:pt x="1677" y="339"/>
                      </a:lnTo>
                      <a:lnTo>
                        <a:pt x="1680" y="335"/>
                      </a:lnTo>
                      <a:lnTo>
                        <a:pt x="1682" y="333"/>
                      </a:lnTo>
                      <a:lnTo>
                        <a:pt x="1684" y="331"/>
                      </a:lnTo>
                      <a:lnTo>
                        <a:pt x="1686" y="329"/>
                      </a:lnTo>
                      <a:lnTo>
                        <a:pt x="1688" y="328"/>
                      </a:lnTo>
                      <a:lnTo>
                        <a:pt x="1690" y="327"/>
                      </a:lnTo>
                      <a:lnTo>
                        <a:pt x="1691" y="327"/>
                      </a:lnTo>
                      <a:lnTo>
                        <a:pt x="1691" y="324"/>
                      </a:lnTo>
                      <a:close/>
                      <a:moveTo>
                        <a:pt x="1555" y="269"/>
                      </a:moveTo>
                      <a:lnTo>
                        <a:pt x="1555" y="270"/>
                      </a:lnTo>
                      <a:lnTo>
                        <a:pt x="1555" y="272"/>
                      </a:lnTo>
                      <a:lnTo>
                        <a:pt x="1555" y="274"/>
                      </a:lnTo>
                      <a:lnTo>
                        <a:pt x="1554" y="277"/>
                      </a:lnTo>
                      <a:lnTo>
                        <a:pt x="1554" y="279"/>
                      </a:lnTo>
                      <a:lnTo>
                        <a:pt x="1553" y="283"/>
                      </a:lnTo>
                      <a:lnTo>
                        <a:pt x="1553" y="285"/>
                      </a:lnTo>
                      <a:lnTo>
                        <a:pt x="1551" y="286"/>
                      </a:lnTo>
                      <a:lnTo>
                        <a:pt x="1550" y="285"/>
                      </a:lnTo>
                      <a:lnTo>
                        <a:pt x="1548" y="284"/>
                      </a:lnTo>
                      <a:lnTo>
                        <a:pt x="1546" y="280"/>
                      </a:lnTo>
                      <a:lnTo>
                        <a:pt x="1546" y="278"/>
                      </a:lnTo>
                      <a:lnTo>
                        <a:pt x="1545" y="275"/>
                      </a:lnTo>
                      <a:lnTo>
                        <a:pt x="1548" y="272"/>
                      </a:lnTo>
                      <a:lnTo>
                        <a:pt x="1549" y="270"/>
                      </a:lnTo>
                      <a:lnTo>
                        <a:pt x="1551" y="269"/>
                      </a:lnTo>
                      <a:lnTo>
                        <a:pt x="1553" y="269"/>
                      </a:lnTo>
                      <a:lnTo>
                        <a:pt x="1555" y="269"/>
                      </a:lnTo>
                      <a:close/>
                      <a:moveTo>
                        <a:pt x="1582" y="251"/>
                      </a:moveTo>
                      <a:lnTo>
                        <a:pt x="1582" y="253"/>
                      </a:lnTo>
                      <a:lnTo>
                        <a:pt x="1582" y="255"/>
                      </a:lnTo>
                      <a:lnTo>
                        <a:pt x="1584" y="256"/>
                      </a:lnTo>
                      <a:lnTo>
                        <a:pt x="1586" y="258"/>
                      </a:lnTo>
                      <a:lnTo>
                        <a:pt x="1587" y="259"/>
                      </a:lnTo>
                      <a:lnTo>
                        <a:pt x="1589" y="261"/>
                      </a:lnTo>
                      <a:lnTo>
                        <a:pt x="1589" y="262"/>
                      </a:lnTo>
                      <a:lnTo>
                        <a:pt x="1590" y="265"/>
                      </a:lnTo>
                      <a:lnTo>
                        <a:pt x="1592" y="268"/>
                      </a:lnTo>
                      <a:lnTo>
                        <a:pt x="1592" y="272"/>
                      </a:lnTo>
                      <a:lnTo>
                        <a:pt x="1590" y="274"/>
                      </a:lnTo>
                      <a:lnTo>
                        <a:pt x="1589" y="277"/>
                      </a:lnTo>
                      <a:lnTo>
                        <a:pt x="1587" y="278"/>
                      </a:lnTo>
                      <a:lnTo>
                        <a:pt x="1585" y="278"/>
                      </a:lnTo>
                      <a:lnTo>
                        <a:pt x="1582" y="278"/>
                      </a:lnTo>
                      <a:lnTo>
                        <a:pt x="1579" y="277"/>
                      </a:lnTo>
                      <a:lnTo>
                        <a:pt x="1577" y="275"/>
                      </a:lnTo>
                      <a:lnTo>
                        <a:pt x="1575" y="274"/>
                      </a:lnTo>
                      <a:lnTo>
                        <a:pt x="1574" y="270"/>
                      </a:lnTo>
                      <a:lnTo>
                        <a:pt x="1574" y="267"/>
                      </a:lnTo>
                      <a:lnTo>
                        <a:pt x="1574" y="265"/>
                      </a:lnTo>
                      <a:lnTo>
                        <a:pt x="1574" y="262"/>
                      </a:lnTo>
                      <a:lnTo>
                        <a:pt x="1575" y="258"/>
                      </a:lnTo>
                      <a:lnTo>
                        <a:pt x="1576" y="256"/>
                      </a:lnTo>
                      <a:lnTo>
                        <a:pt x="1577" y="253"/>
                      </a:lnTo>
                      <a:lnTo>
                        <a:pt x="1579" y="252"/>
                      </a:lnTo>
                      <a:lnTo>
                        <a:pt x="1582" y="251"/>
                      </a:lnTo>
                      <a:close/>
                      <a:moveTo>
                        <a:pt x="1560" y="235"/>
                      </a:moveTo>
                      <a:lnTo>
                        <a:pt x="1563" y="235"/>
                      </a:lnTo>
                      <a:lnTo>
                        <a:pt x="1566" y="236"/>
                      </a:lnTo>
                      <a:lnTo>
                        <a:pt x="1568" y="239"/>
                      </a:lnTo>
                      <a:lnTo>
                        <a:pt x="1571" y="241"/>
                      </a:lnTo>
                      <a:lnTo>
                        <a:pt x="1572" y="243"/>
                      </a:lnTo>
                      <a:lnTo>
                        <a:pt x="1572" y="247"/>
                      </a:lnTo>
                      <a:lnTo>
                        <a:pt x="1572" y="250"/>
                      </a:lnTo>
                      <a:lnTo>
                        <a:pt x="1571" y="252"/>
                      </a:lnTo>
                      <a:lnTo>
                        <a:pt x="1568" y="253"/>
                      </a:lnTo>
                      <a:lnTo>
                        <a:pt x="1567" y="254"/>
                      </a:lnTo>
                      <a:lnTo>
                        <a:pt x="1565" y="255"/>
                      </a:lnTo>
                      <a:lnTo>
                        <a:pt x="1563" y="255"/>
                      </a:lnTo>
                      <a:lnTo>
                        <a:pt x="1561" y="256"/>
                      </a:lnTo>
                      <a:lnTo>
                        <a:pt x="1559" y="257"/>
                      </a:lnTo>
                      <a:lnTo>
                        <a:pt x="1557" y="258"/>
                      </a:lnTo>
                      <a:lnTo>
                        <a:pt x="1556" y="261"/>
                      </a:lnTo>
                      <a:lnTo>
                        <a:pt x="1554" y="263"/>
                      </a:lnTo>
                      <a:lnTo>
                        <a:pt x="1552" y="265"/>
                      </a:lnTo>
                      <a:lnTo>
                        <a:pt x="1550" y="265"/>
                      </a:lnTo>
                      <a:lnTo>
                        <a:pt x="1546" y="265"/>
                      </a:lnTo>
                      <a:lnTo>
                        <a:pt x="1544" y="265"/>
                      </a:lnTo>
                      <a:lnTo>
                        <a:pt x="1542" y="263"/>
                      </a:lnTo>
                      <a:lnTo>
                        <a:pt x="1541" y="262"/>
                      </a:lnTo>
                      <a:lnTo>
                        <a:pt x="1540" y="259"/>
                      </a:lnTo>
                      <a:lnTo>
                        <a:pt x="1541" y="256"/>
                      </a:lnTo>
                      <a:lnTo>
                        <a:pt x="1542" y="255"/>
                      </a:lnTo>
                      <a:lnTo>
                        <a:pt x="1544" y="254"/>
                      </a:lnTo>
                      <a:lnTo>
                        <a:pt x="1546" y="253"/>
                      </a:lnTo>
                      <a:lnTo>
                        <a:pt x="1549" y="252"/>
                      </a:lnTo>
                      <a:lnTo>
                        <a:pt x="1550" y="250"/>
                      </a:lnTo>
                      <a:lnTo>
                        <a:pt x="1551" y="246"/>
                      </a:lnTo>
                      <a:lnTo>
                        <a:pt x="1553" y="242"/>
                      </a:lnTo>
                      <a:lnTo>
                        <a:pt x="1554" y="239"/>
                      </a:lnTo>
                      <a:lnTo>
                        <a:pt x="1556" y="236"/>
                      </a:lnTo>
                      <a:lnTo>
                        <a:pt x="1560" y="235"/>
                      </a:lnTo>
                      <a:close/>
                      <a:moveTo>
                        <a:pt x="864" y="234"/>
                      </a:moveTo>
                      <a:lnTo>
                        <a:pt x="862" y="235"/>
                      </a:lnTo>
                      <a:lnTo>
                        <a:pt x="859" y="237"/>
                      </a:lnTo>
                      <a:lnTo>
                        <a:pt x="862" y="237"/>
                      </a:lnTo>
                      <a:lnTo>
                        <a:pt x="864" y="239"/>
                      </a:lnTo>
                      <a:lnTo>
                        <a:pt x="866" y="240"/>
                      </a:lnTo>
                      <a:lnTo>
                        <a:pt x="868" y="241"/>
                      </a:lnTo>
                      <a:lnTo>
                        <a:pt x="869" y="242"/>
                      </a:lnTo>
                      <a:lnTo>
                        <a:pt x="868" y="237"/>
                      </a:lnTo>
                      <a:lnTo>
                        <a:pt x="867" y="235"/>
                      </a:lnTo>
                      <a:lnTo>
                        <a:pt x="865" y="234"/>
                      </a:lnTo>
                      <a:lnTo>
                        <a:pt x="864" y="234"/>
                      </a:lnTo>
                      <a:close/>
                      <a:moveTo>
                        <a:pt x="2014" y="207"/>
                      </a:moveTo>
                      <a:lnTo>
                        <a:pt x="2015" y="207"/>
                      </a:lnTo>
                      <a:lnTo>
                        <a:pt x="2016" y="208"/>
                      </a:lnTo>
                      <a:lnTo>
                        <a:pt x="2019" y="208"/>
                      </a:lnTo>
                      <a:lnTo>
                        <a:pt x="2020" y="208"/>
                      </a:lnTo>
                      <a:lnTo>
                        <a:pt x="2020" y="208"/>
                      </a:lnTo>
                      <a:lnTo>
                        <a:pt x="2021" y="208"/>
                      </a:lnTo>
                      <a:lnTo>
                        <a:pt x="2023" y="207"/>
                      </a:lnTo>
                      <a:lnTo>
                        <a:pt x="2024" y="207"/>
                      </a:lnTo>
                      <a:lnTo>
                        <a:pt x="2026" y="208"/>
                      </a:lnTo>
                      <a:lnTo>
                        <a:pt x="2027" y="208"/>
                      </a:lnTo>
                      <a:lnTo>
                        <a:pt x="2027" y="210"/>
                      </a:lnTo>
                      <a:lnTo>
                        <a:pt x="2026" y="210"/>
                      </a:lnTo>
                      <a:lnTo>
                        <a:pt x="2025" y="211"/>
                      </a:lnTo>
                      <a:lnTo>
                        <a:pt x="2025" y="212"/>
                      </a:lnTo>
                      <a:lnTo>
                        <a:pt x="2024" y="212"/>
                      </a:lnTo>
                      <a:lnTo>
                        <a:pt x="2023" y="213"/>
                      </a:lnTo>
                      <a:lnTo>
                        <a:pt x="2023" y="213"/>
                      </a:lnTo>
                      <a:lnTo>
                        <a:pt x="2022" y="213"/>
                      </a:lnTo>
                      <a:lnTo>
                        <a:pt x="2022" y="213"/>
                      </a:lnTo>
                      <a:lnTo>
                        <a:pt x="2020" y="213"/>
                      </a:lnTo>
                      <a:lnTo>
                        <a:pt x="2018" y="212"/>
                      </a:lnTo>
                      <a:lnTo>
                        <a:pt x="2015" y="212"/>
                      </a:lnTo>
                      <a:lnTo>
                        <a:pt x="2015" y="212"/>
                      </a:lnTo>
                      <a:lnTo>
                        <a:pt x="2014" y="212"/>
                      </a:lnTo>
                      <a:lnTo>
                        <a:pt x="2012" y="211"/>
                      </a:lnTo>
                      <a:lnTo>
                        <a:pt x="2011" y="211"/>
                      </a:lnTo>
                      <a:lnTo>
                        <a:pt x="2011" y="210"/>
                      </a:lnTo>
                      <a:lnTo>
                        <a:pt x="2011" y="208"/>
                      </a:lnTo>
                      <a:lnTo>
                        <a:pt x="2012" y="207"/>
                      </a:lnTo>
                      <a:lnTo>
                        <a:pt x="2014" y="207"/>
                      </a:lnTo>
                      <a:close/>
                      <a:moveTo>
                        <a:pt x="1841" y="189"/>
                      </a:moveTo>
                      <a:lnTo>
                        <a:pt x="1840" y="196"/>
                      </a:lnTo>
                      <a:lnTo>
                        <a:pt x="1838" y="203"/>
                      </a:lnTo>
                      <a:lnTo>
                        <a:pt x="1835" y="220"/>
                      </a:lnTo>
                      <a:lnTo>
                        <a:pt x="1827" y="233"/>
                      </a:lnTo>
                      <a:lnTo>
                        <a:pt x="1825" y="236"/>
                      </a:lnTo>
                      <a:lnTo>
                        <a:pt x="1822" y="240"/>
                      </a:lnTo>
                      <a:lnTo>
                        <a:pt x="1819" y="244"/>
                      </a:lnTo>
                      <a:lnTo>
                        <a:pt x="1816" y="246"/>
                      </a:lnTo>
                      <a:lnTo>
                        <a:pt x="1814" y="248"/>
                      </a:lnTo>
                      <a:lnTo>
                        <a:pt x="1812" y="250"/>
                      </a:lnTo>
                      <a:lnTo>
                        <a:pt x="1811" y="250"/>
                      </a:lnTo>
                      <a:lnTo>
                        <a:pt x="1810" y="250"/>
                      </a:lnTo>
                      <a:lnTo>
                        <a:pt x="1808" y="248"/>
                      </a:lnTo>
                      <a:lnTo>
                        <a:pt x="1806" y="248"/>
                      </a:lnTo>
                      <a:lnTo>
                        <a:pt x="1805" y="247"/>
                      </a:lnTo>
                      <a:lnTo>
                        <a:pt x="1804" y="247"/>
                      </a:lnTo>
                      <a:lnTo>
                        <a:pt x="1803" y="248"/>
                      </a:lnTo>
                      <a:lnTo>
                        <a:pt x="1801" y="251"/>
                      </a:lnTo>
                      <a:lnTo>
                        <a:pt x="1800" y="253"/>
                      </a:lnTo>
                      <a:lnTo>
                        <a:pt x="1797" y="255"/>
                      </a:lnTo>
                      <a:lnTo>
                        <a:pt x="1796" y="257"/>
                      </a:lnTo>
                      <a:lnTo>
                        <a:pt x="1794" y="259"/>
                      </a:lnTo>
                      <a:lnTo>
                        <a:pt x="1793" y="261"/>
                      </a:lnTo>
                      <a:lnTo>
                        <a:pt x="1792" y="257"/>
                      </a:lnTo>
                      <a:lnTo>
                        <a:pt x="1791" y="255"/>
                      </a:lnTo>
                      <a:lnTo>
                        <a:pt x="1790" y="253"/>
                      </a:lnTo>
                      <a:lnTo>
                        <a:pt x="1789" y="251"/>
                      </a:lnTo>
                      <a:lnTo>
                        <a:pt x="1787" y="248"/>
                      </a:lnTo>
                      <a:lnTo>
                        <a:pt x="1786" y="246"/>
                      </a:lnTo>
                      <a:lnTo>
                        <a:pt x="1785" y="245"/>
                      </a:lnTo>
                      <a:lnTo>
                        <a:pt x="1783" y="245"/>
                      </a:lnTo>
                      <a:lnTo>
                        <a:pt x="1781" y="246"/>
                      </a:lnTo>
                      <a:lnTo>
                        <a:pt x="1778" y="248"/>
                      </a:lnTo>
                      <a:lnTo>
                        <a:pt x="1776" y="250"/>
                      </a:lnTo>
                      <a:lnTo>
                        <a:pt x="1775" y="250"/>
                      </a:lnTo>
                      <a:lnTo>
                        <a:pt x="1773" y="251"/>
                      </a:lnTo>
                      <a:lnTo>
                        <a:pt x="1771" y="251"/>
                      </a:lnTo>
                      <a:lnTo>
                        <a:pt x="1770" y="251"/>
                      </a:lnTo>
                      <a:lnTo>
                        <a:pt x="1769" y="248"/>
                      </a:lnTo>
                      <a:lnTo>
                        <a:pt x="1769" y="247"/>
                      </a:lnTo>
                      <a:lnTo>
                        <a:pt x="1769" y="244"/>
                      </a:lnTo>
                      <a:lnTo>
                        <a:pt x="1770" y="242"/>
                      </a:lnTo>
                      <a:lnTo>
                        <a:pt x="1771" y="240"/>
                      </a:lnTo>
                      <a:lnTo>
                        <a:pt x="1772" y="237"/>
                      </a:lnTo>
                      <a:lnTo>
                        <a:pt x="1772" y="234"/>
                      </a:lnTo>
                      <a:lnTo>
                        <a:pt x="1771" y="232"/>
                      </a:lnTo>
                      <a:lnTo>
                        <a:pt x="1771" y="230"/>
                      </a:lnTo>
                      <a:lnTo>
                        <a:pt x="1770" y="228"/>
                      </a:lnTo>
                      <a:lnTo>
                        <a:pt x="1770" y="226"/>
                      </a:lnTo>
                      <a:lnTo>
                        <a:pt x="1806" y="207"/>
                      </a:lnTo>
                      <a:lnTo>
                        <a:pt x="1807" y="206"/>
                      </a:lnTo>
                      <a:lnTo>
                        <a:pt x="1812" y="203"/>
                      </a:lnTo>
                      <a:lnTo>
                        <a:pt x="1841" y="189"/>
                      </a:lnTo>
                      <a:close/>
                      <a:moveTo>
                        <a:pt x="1942" y="186"/>
                      </a:moveTo>
                      <a:lnTo>
                        <a:pt x="1944" y="187"/>
                      </a:lnTo>
                      <a:lnTo>
                        <a:pt x="1945" y="188"/>
                      </a:lnTo>
                      <a:lnTo>
                        <a:pt x="1947" y="190"/>
                      </a:lnTo>
                      <a:lnTo>
                        <a:pt x="1949" y="191"/>
                      </a:lnTo>
                      <a:lnTo>
                        <a:pt x="1950" y="193"/>
                      </a:lnTo>
                      <a:lnTo>
                        <a:pt x="1952" y="195"/>
                      </a:lnTo>
                      <a:lnTo>
                        <a:pt x="1953" y="196"/>
                      </a:lnTo>
                      <a:lnTo>
                        <a:pt x="1954" y="197"/>
                      </a:lnTo>
                      <a:lnTo>
                        <a:pt x="1954" y="199"/>
                      </a:lnTo>
                      <a:lnTo>
                        <a:pt x="1954" y="200"/>
                      </a:lnTo>
                      <a:lnTo>
                        <a:pt x="1954" y="202"/>
                      </a:lnTo>
                      <a:lnTo>
                        <a:pt x="1953" y="203"/>
                      </a:lnTo>
                      <a:lnTo>
                        <a:pt x="1952" y="204"/>
                      </a:lnTo>
                      <a:lnTo>
                        <a:pt x="1949" y="204"/>
                      </a:lnTo>
                      <a:lnTo>
                        <a:pt x="1948" y="204"/>
                      </a:lnTo>
                      <a:lnTo>
                        <a:pt x="1947" y="203"/>
                      </a:lnTo>
                      <a:lnTo>
                        <a:pt x="1947" y="203"/>
                      </a:lnTo>
                      <a:lnTo>
                        <a:pt x="1945" y="203"/>
                      </a:lnTo>
                      <a:lnTo>
                        <a:pt x="1944" y="202"/>
                      </a:lnTo>
                      <a:lnTo>
                        <a:pt x="1943" y="202"/>
                      </a:lnTo>
                      <a:lnTo>
                        <a:pt x="1942" y="201"/>
                      </a:lnTo>
                      <a:lnTo>
                        <a:pt x="1941" y="200"/>
                      </a:lnTo>
                      <a:lnTo>
                        <a:pt x="1941" y="198"/>
                      </a:lnTo>
                      <a:lnTo>
                        <a:pt x="1939" y="197"/>
                      </a:lnTo>
                      <a:lnTo>
                        <a:pt x="1937" y="196"/>
                      </a:lnTo>
                      <a:lnTo>
                        <a:pt x="1936" y="195"/>
                      </a:lnTo>
                      <a:lnTo>
                        <a:pt x="1935" y="192"/>
                      </a:lnTo>
                      <a:lnTo>
                        <a:pt x="1935" y="190"/>
                      </a:lnTo>
                      <a:lnTo>
                        <a:pt x="1936" y="188"/>
                      </a:lnTo>
                      <a:lnTo>
                        <a:pt x="1938" y="187"/>
                      </a:lnTo>
                      <a:lnTo>
                        <a:pt x="1939" y="186"/>
                      </a:lnTo>
                      <a:lnTo>
                        <a:pt x="1942" y="186"/>
                      </a:lnTo>
                      <a:close/>
                      <a:moveTo>
                        <a:pt x="1857" y="186"/>
                      </a:moveTo>
                      <a:lnTo>
                        <a:pt x="1858" y="187"/>
                      </a:lnTo>
                      <a:lnTo>
                        <a:pt x="1858" y="187"/>
                      </a:lnTo>
                      <a:lnTo>
                        <a:pt x="1858" y="188"/>
                      </a:lnTo>
                      <a:lnTo>
                        <a:pt x="1858" y="190"/>
                      </a:lnTo>
                      <a:lnTo>
                        <a:pt x="1857" y="191"/>
                      </a:lnTo>
                      <a:lnTo>
                        <a:pt x="1857" y="191"/>
                      </a:lnTo>
                      <a:lnTo>
                        <a:pt x="1857" y="192"/>
                      </a:lnTo>
                      <a:lnTo>
                        <a:pt x="1855" y="192"/>
                      </a:lnTo>
                      <a:lnTo>
                        <a:pt x="1854" y="192"/>
                      </a:lnTo>
                      <a:lnTo>
                        <a:pt x="1852" y="191"/>
                      </a:lnTo>
                      <a:lnTo>
                        <a:pt x="1852" y="189"/>
                      </a:lnTo>
                      <a:lnTo>
                        <a:pt x="1854" y="188"/>
                      </a:lnTo>
                      <a:lnTo>
                        <a:pt x="1855" y="187"/>
                      </a:lnTo>
                      <a:lnTo>
                        <a:pt x="1857" y="186"/>
                      </a:lnTo>
                      <a:close/>
                      <a:moveTo>
                        <a:pt x="1862" y="177"/>
                      </a:moveTo>
                      <a:lnTo>
                        <a:pt x="1862" y="177"/>
                      </a:lnTo>
                      <a:lnTo>
                        <a:pt x="1861" y="177"/>
                      </a:lnTo>
                      <a:lnTo>
                        <a:pt x="1862" y="177"/>
                      </a:lnTo>
                      <a:close/>
                      <a:moveTo>
                        <a:pt x="1869" y="175"/>
                      </a:moveTo>
                      <a:lnTo>
                        <a:pt x="1869" y="175"/>
                      </a:lnTo>
                      <a:lnTo>
                        <a:pt x="1869" y="178"/>
                      </a:lnTo>
                      <a:lnTo>
                        <a:pt x="1868" y="181"/>
                      </a:lnTo>
                      <a:lnTo>
                        <a:pt x="1867" y="182"/>
                      </a:lnTo>
                      <a:lnTo>
                        <a:pt x="1866" y="184"/>
                      </a:lnTo>
                      <a:lnTo>
                        <a:pt x="1865" y="184"/>
                      </a:lnTo>
                      <a:lnTo>
                        <a:pt x="1863" y="184"/>
                      </a:lnTo>
                      <a:lnTo>
                        <a:pt x="1863" y="181"/>
                      </a:lnTo>
                      <a:lnTo>
                        <a:pt x="1862" y="180"/>
                      </a:lnTo>
                      <a:lnTo>
                        <a:pt x="1862" y="177"/>
                      </a:lnTo>
                      <a:lnTo>
                        <a:pt x="1862" y="177"/>
                      </a:lnTo>
                      <a:lnTo>
                        <a:pt x="1863" y="177"/>
                      </a:lnTo>
                      <a:lnTo>
                        <a:pt x="1865" y="177"/>
                      </a:lnTo>
                      <a:lnTo>
                        <a:pt x="1867" y="176"/>
                      </a:lnTo>
                      <a:lnTo>
                        <a:pt x="1868" y="175"/>
                      </a:lnTo>
                      <a:lnTo>
                        <a:pt x="1869" y="175"/>
                      </a:lnTo>
                      <a:close/>
                      <a:moveTo>
                        <a:pt x="1866" y="170"/>
                      </a:moveTo>
                      <a:lnTo>
                        <a:pt x="1866" y="171"/>
                      </a:lnTo>
                      <a:lnTo>
                        <a:pt x="1866" y="174"/>
                      </a:lnTo>
                      <a:lnTo>
                        <a:pt x="1865" y="176"/>
                      </a:lnTo>
                      <a:lnTo>
                        <a:pt x="1865" y="176"/>
                      </a:lnTo>
                      <a:lnTo>
                        <a:pt x="1863" y="177"/>
                      </a:lnTo>
                      <a:lnTo>
                        <a:pt x="1862" y="177"/>
                      </a:lnTo>
                      <a:lnTo>
                        <a:pt x="1862" y="175"/>
                      </a:lnTo>
                      <a:lnTo>
                        <a:pt x="1862" y="172"/>
                      </a:lnTo>
                      <a:lnTo>
                        <a:pt x="1862" y="170"/>
                      </a:lnTo>
                      <a:lnTo>
                        <a:pt x="1865" y="170"/>
                      </a:lnTo>
                      <a:lnTo>
                        <a:pt x="1866" y="170"/>
                      </a:lnTo>
                      <a:lnTo>
                        <a:pt x="1866" y="170"/>
                      </a:lnTo>
                      <a:close/>
                      <a:moveTo>
                        <a:pt x="1880" y="167"/>
                      </a:moveTo>
                      <a:lnTo>
                        <a:pt x="1879" y="169"/>
                      </a:lnTo>
                      <a:lnTo>
                        <a:pt x="1878" y="170"/>
                      </a:lnTo>
                      <a:lnTo>
                        <a:pt x="1877" y="172"/>
                      </a:lnTo>
                      <a:lnTo>
                        <a:pt x="1876" y="174"/>
                      </a:lnTo>
                      <a:lnTo>
                        <a:pt x="1874" y="174"/>
                      </a:lnTo>
                      <a:lnTo>
                        <a:pt x="1873" y="174"/>
                      </a:lnTo>
                      <a:lnTo>
                        <a:pt x="1873" y="172"/>
                      </a:lnTo>
                      <a:lnTo>
                        <a:pt x="1873" y="171"/>
                      </a:lnTo>
                      <a:lnTo>
                        <a:pt x="1872" y="171"/>
                      </a:lnTo>
                      <a:lnTo>
                        <a:pt x="1872" y="170"/>
                      </a:lnTo>
                      <a:lnTo>
                        <a:pt x="1872" y="169"/>
                      </a:lnTo>
                      <a:lnTo>
                        <a:pt x="1873" y="169"/>
                      </a:lnTo>
                      <a:lnTo>
                        <a:pt x="1873" y="168"/>
                      </a:lnTo>
                      <a:lnTo>
                        <a:pt x="1876" y="168"/>
                      </a:lnTo>
                      <a:lnTo>
                        <a:pt x="1877" y="167"/>
                      </a:lnTo>
                      <a:lnTo>
                        <a:pt x="1880" y="167"/>
                      </a:lnTo>
                      <a:close/>
                      <a:moveTo>
                        <a:pt x="1867" y="167"/>
                      </a:moveTo>
                      <a:lnTo>
                        <a:pt x="1870" y="167"/>
                      </a:lnTo>
                      <a:lnTo>
                        <a:pt x="1870" y="170"/>
                      </a:lnTo>
                      <a:lnTo>
                        <a:pt x="1869" y="174"/>
                      </a:lnTo>
                      <a:lnTo>
                        <a:pt x="1869" y="175"/>
                      </a:lnTo>
                      <a:lnTo>
                        <a:pt x="1868" y="172"/>
                      </a:lnTo>
                      <a:lnTo>
                        <a:pt x="1868" y="169"/>
                      </a:lnTo>
                      <a:lnTo>
                        <a:pt x="1867" y="167"/>
                      </a:lnTo>
                      <a:close/>
                      <a:moveTo>
                        <a:pt x="1866" y="167"/>
                      </a:moveTo>
                      <a:lnTo>
                        <a:pt x="1867" y="167"/>
                      </a:lnTo>
                      <a:lnTo>
                        <a:pt x="1867" y="169"/>
                      </a:lnTo>
                      <a:lnTo>
                        <a:pt x="1866" y="170"/>
                      </a:lnTo>
                      <a:lnTo>
                        <a:pt x="1866" y="167"/>
                      </a:lnTo>
                      <a:close/>
                      <a:moveTo>
                        <a:pt x="1921" y="139"/>
                      </a:moveTo>
                      <a:lnTo>
                        <a:pt x="1923" y="142"/>
                      </a:lnTo>
                      <a:lnTo>
                        <a:pt x="1923" y="144"/>
                      </a:lnTo>
                      <a:lnTo>
                        <a:pt x="1923" y="146"/>
                      </a:lnTo>
                      <a:lnTo>
                        <a:pt x="1924" y="148"/>
                      </a:lnTo>
                      <a:lnTo>
                        <a:pt x="1924" y="149"/>
                      </a:lnTo>
                      <a:lnTo>
                        <a:pt x="1924" y="152"/>
                      </a:lnTo>
                      <a:lnTo>
                        <a:pt x="1923" y="155"/>
                      </a:lnTo>
                      <a:lnTo>
                        <a:pt x="1923" y="164"/>
                      </a:lnTo>
                      <a:lnTo>
                        <a:pt x="1915" y="177"/>
                      </a:lnTo>
                      <a:lnTo>
                        <a:pt x="1914" y="180"/>
                      </a:lnTo>
                      <a:lnTo>
                        <a:pt x="1912" y="181"/>
                      </a:lnTo>
                      <a:lnTo>
                        <a:pt x="1911" y="184"/>
                      </a:lnTo>
                      <a:lnTo>
                        <a:pt x="1909" y="184"/>
                      </a:lnTo>
                      <a:lnTo>
                        <a:pt x="1907" y="181"/>
                      </a:lnTo>
                      <a:lnTo>
                        <a:pt x="1907" y="178"/>
                      </a:lnTo>
                      <a:lnTo>
                        <a:pt x="1909" y="174"/>
                      </a:lnTo>
                      <a:lnTo>
                        <a:pt x="1910" y="169"/>
                      </a:lnTo>
                      <a:lnTo>
                        <a:pt x="1910" y="166"/>
                      </a:lnTo>
                      <a:lnTo>
                        <a:pt x="1911" y="163"/>
                      </a:lnTo>
                      <a:lnTo>
                        <a:pt x="1912" y="160"/>
                      </a:lnTo>
                      <a:lnTo>
                        <a:pt x="1912" y="157"/>
                      </a:lnTo>
                      <a:lnTo>
                        <a:pt x="1911" y="155"/>
                      </a:lnTo>
                      <a:lnTo>
                        <a:pt x="1910" y="153"/>
                      </a:lnTo>
                      <a:lnTo>
                        <a:pt x="1910" y="147"/>
                      </a:lnTo>
                      <a:lnTo>
                        <a:pt x="1910" y="146"/>
                      </a:lnTo>
                      <a:lnTo>
                        <a:pt x="1914" y="144"/>
                      </a:lnTo>
                      <a:lnTo>
                        <a:pt x="1915" y="143"/>
                      </a:lnTo>
                      <a:lnTo>
                        <a:pt x="1917" y="142"/>
                      </a:lnTo>
                      <a:lnTo>
                        <a:pt x="1921" y="139"/>
                      </a:lnTo>
                      <a:close/>
                      <a:moveTo>
                        <a:pt x="1914" y="139"/>
                      </a:moveTo>
                      <a:lnTo>
                        <a:pt x="1916" y="139"/>
                      </a:lnTo>
                      <a:lnTo>
                        <a:pt x="1916" y="141"/>
                      </a:lnTo>
                      <a:lnTo>
                        <a:pt x="1916" y="142"/>
                      </a:lnTo>
                      <a:lnTo>
                        <a:pt x="1915" y="143"/>
                      </a:lnTo>
                      <a:lnTo>
                        <a:pt x="1913" y="144"/>
                      </a:lnTo>
                      <a:lnTo>
                        <a:pt x="1910" y="146"/>
                      </a:lnTo>
                      <a:lnTo>
                        <a:pt x="1910" y="147"/>
                      </a:lnTo>
                      <a:lnTo>
                        <a:pt x="1907" y="149"/>
                      </a:lnTo>
                      <a:lnTo>
                        <a:pt x="1907" y="146"/>
                      </a:lnTo>
                      <a:lnTo>
                        <a:pt x="1909" y="146"/>
                      </a:lnTo>
                      <a:lnTo>
                        <a:pt x="1910" y="145"/>
                      </a:lnTo>
                      <a:lnTo>
                        <a:pt x="1910" y="145"/>
                      </a:lnTo>
                      <a:lnTo>
                        <a:pt x="1911" y="145"/>
                      </a:lnTo>
                      <a:lnTo>
                        <a:pt x="1912" y="144"/>
                      </a:lnTo>
                      <a:lnTo>
                        <a:pt x="1912" y="143"/>
                      </a:lnTo>
                      <a:lnTo>
                        <a:pt x="1912" y="141"/>
                      </a:lnTo>
                      <a:lnTo>
                        <a:pt x="1913" y="141"/>
                      </a:lnTo>
                      <a:lnTo>
                        <a:pt x="1914" y="139"/>
                      </a:lnTo>
                      <a:close/>
                      <a:moveTo>
                        <a:pt x="1970" y="116"/>
                      </a:moveTo>
                      <a:lnTo>
                        <a:pt x="1970" y="116"/>
                      </a:lnTo>
                      <a:lnTo>
                        <a:pt x="1971" y="119"/>
                      </a:lnTo>
                      <a:lnTo>
                        <a:pt x="1974" y="122"/>
                      </a:lnTo>
                      <a:lnTo>
                        <a:pt x="1976" y="125"/>
                      </a:lnTo>
                      <a:lnTo>
                        <a:pt x="1977" y="127"/>
                      </a:lnTo>
                      <a:lnTo>
                        <a:pt x="1980" y="130"/>
                      </a:lnTo>
                      <a:lnTo>
                        <a:pt x="1981" y="134"/>
                      </a:lnTo>
                      <a:lnTo>
                        <a:pt x="1981" y="141"/>
                      </a:lnTo>
                      <a:lnTo>
                        <a:pt x="1981" y="148"/>
                      </a:lnTo>
                      <a:lnTo>
                        <a:pt x="1980" y="148"/>
                      </a:lnTo>
                      <a:lnTo>
                        <a:pt x="1980" y="147"/>
                      </a:lnTo>
                      <a:lnTo>
                        <a:pt x="1979" y="145"/>
                      </a:lnTo>
                      <a:lnTo>
                        <a:pt x="1978" y="143"/>
                      </a:lnTo>
                      <a:lnTo>
                        <a:pt x="1977" y="141"/>
                      </a:lnTo>
                      <a:lnTo>
                        <a:pt x="1976" y="138"/>
                      </a:lnTo>
                      <a:lnTo>
                        <a:pt x="1976" y="136"/>
                      </a:lnTo>
                      <a:lnTo>
                        <a:pt x="1974" y="136"/>
                      </a:lnTo>
                      <a:lnTo>
                        <a:pt x="1972" y="137"/>
                      </a:lnTo>
                      <a:lnTo>
                        <a:pt x="1972" y="139"/>
                      </a:lnTo>
                      <a:lnTo>
                        <a:pt x="1971" y="142"/>
                      </a:lnTo>
                      <a:lnTo>
                        <a:pt x="1971" y="143"/>
                      </a:lnTo>
                      <a:lnTo>
                        <a:pt x="1970" y="147"/>
                      </a:lnTo>
                      <a:lnTo>
                        <a:pt x="1969" y="149"/>
                      </a:lnTo>
                      <a:lnTo>
                        <a:pt x="1969" y="152"/>
                      </a:lnTo>
                      <a:lnTo>
                        <a:pt x="1970" y="154"/>
                      </a:lnTo>
                      <a:lnTo>
                        <a:pt x="1971" y="157"/>
                      </a:lnTo>
                      <a:lnTo>
                        <a:pt x="1971" y="163"/>
                      </a:lnTo>
                      <a:lnTo>
                        <a:pt x="1969" y="169"/>
                      </a:lnTo>
                      <a:lnTo>
                        <a:pt x="1967" y="177"/>
                      </a:lnTo>
                      <a:lnTo>
                        <a:pt x="1966" y="178"/>
                      </a:lnTo>
                      <a:lnTo>
                        <a:pt x="1965" y="179"/>
                      </a:lnTo>
                      <a:lnTo>
                        <a:pt x="1964" y="180"/>
                      </a:lnTo>
                      <a:lnTo>
                        <a:pt x="1963" y="181"/>
                      </a:lnTo>
                      <a:lnTo>
                        <a:pt x="1960" y="181"/>
                      </a:lnTo>
                      <a:lnTo>
                        <a:pt x="1959" y="181"/>
                      </a:lnTo>
                      <a:lnTo>
                        <a:pt x="1959" y="179"/>
                      </a:lnTo>
                      <a:lnTo>
                        <a:pt x="1959" y="177"/>
                      </a:lnTo>
                      <a:lnTo>
                        <a:pt x="1960" y="174"/>
                      </a:lnTo>
                      <a:lnTo>
                        <a:pt x="1963" y="170"/>
                      </a:lnTo>
                      <a:lnTo>
                        <a:pt x="1963" y="166"/>
                      </a:lnTo>
                      <a:lnTo>
                        <a:pt x="1963" y="155"/>
                      </a:lnTo>
                      <a:lnTo>
                        <a:pt x="1961" y="147"/>
                      </a:lnTo>
                      <a:lnTo>
                        <a:pt x="1959" y="142"/>
                      </a:lnTo>
                      <a:lnTo>
                        <a:pt x="1957" y="136"/>
                      </a:lnTo>
                      <a:lnTo>
                        <a:pt x="1956" y="134"/>
                      </a:lnTo>
                      <a:lnTo>
                        <a:pt x="1955" y="132"/>
                      </a:lnTo>
                      <a:lnTo>
                        <a:pt x="1954" y="130"/>
                      </a:lnTo>
                      <a:lnTo>
                        <a:pt x="1953" y="127"/>
                      </a:lnTo>
                      <a:lnTo>
                        <a:pt x="1950" y="126"/>
                      </a:lnTo>
                      <a:lnTo>
                        <a:pt x="1948" y="125"/>
                      </a:lnTo>
                      <a:lnTo>
                        <a:pt x="1946" y="125"/>
                      </a:lnTo>
                      <a:lnTo>
                        <a:pt x="1944" y="125"/>
                      </a:lnTo>
                      <a:lnTo>
                        <a:pt x="1944" y="123"/>
                      </a:lnTo>
                      <a:lnTo>
                        <a:pt x="1947" y="121"/>
                      </a:lnTo>
                      <a:lnTo>
                        <a:pt x="1948" y="122"/>
                      </a:lnTo>
                      <a:lnTo>
                        <a:pt x="1950" y="125"/>
                      </a:lnTo>
                      <a:lnTo>
                        <a:pt x="1953" y="126"/>
                      </a:lnTo>
                      <a:lnTo>
                        <a:pt x="1963" y="121"/>
                      </a:lnTo>
                      <a:lnTo>
                        <a:pt x="1970" y="116"/>
                      </a:lnTo>
                      <a:close/>
                      <a:moveTo>
                        <a:pt x="1923" y="104"/>
                      </a:moveTo>
                      <a:lnTo>
                        <a:pt x="1924" y="105"/>
                      </a:lnTo>
                      <a:lnTo>
                        <a:pt x="1924" y="108"/>
                      </a:lnTo>
                      <a:lnTo>
                        <a:pt x="1924" y="110"/>
                      </a:lnTo>
                      <a:lnTo>
                        <a:pt x="1923" y="113"/>
                      </a:lnTo>
                      <a:lnTo>
                        <a:pt x="1923" y="116"/>
                      </a:lnTo>
                      <a:lnTo>
                        <a:pt x="1922" y="119"/>
                      </a:lnTo>
                      <a:lnTo>
                        <a:pt x="1922" y="121"/>
                      </a:lnTo>
                      <a:lnTo>
                        <a:pt x="1922" y="122"/>
                      </a:lnTo>
                      <a:lnTo>
                        <a:pt x="1922" y="124"/>
                      </a:lnTo>
                      <a:lnTo>
                        <a:pt x="1922" y="126"/>
                      </a:lnTo>
                      <a:lnTo>
                        <a:pt x="1922" y="127"/>
                      </a:lnTo>
                      <a:lnTo>
                        <a:pt x="1921" y="128"/>
                      </a:lnTo>
                      <a:lnTo>
                        <a:pt x="1921" y="128"/>
                      </a:lnTo>
                      <a:lnTo>
                        <a:pt x="1919" y="126"/>
                      </a:lnTo>
                      <a:lnTo>
                        <a:pt x="1919" y="124"/>
                      </a:lnTo>
                      <a:lnTo>
                        <a:pt x="1919" y="121"/>
                      </a:lnTo>
                      <a:lnTo>
                        <a:pt x="1917" y="119"/>
                      </a:lnTo>
                      <a:lnTo>
                        <a:pt x="1917" y="116"/>
                      </a:lnTo>
                      <a:lnTo>
                        <a:pt x="1916" y="114"/>
                      </a:lnTo>
                      <a:lnTo>
                        <a:pt x="1917" y="113"/>
                      </a:lnTo>
                      <a:lnTo>
                        <a:pt x="1919" y="111"/>
                      </a:lnTo>
                      <a:lnTo>
                        <a:pt x="1920" y="110"/>
                      </a:lnTo>
                      <a:lnTo>
                        <a:pt x="1921" y="109"/>
                      </a:lnTo>
                      <a:lnTo>
                        <a:pt x="1922" y="106"/>
                      </a:lnTo>
                      <a:lnTo>
                        <a:pt x="1922" y="104"/>
                      </a:lnTo>
                      <a:lnTo>
                        <a:pt x="1923" y="104"/>
                      </a:lnTo>
                      <a:close/>
                      <a:moveTo>
                        <a:pt x="503" y="89"/>
                      </a:moveTo>
                      <a:lnTo>
                        <a:pt x="506" y="90"/>
                      </a:lnTo>
                      <a:lnTo>
                        <a:pt x="508" y="93"/>
                      </a:lnTo>
                      <a:lnTo>
                        <a:pt x="507" y="97"/>
                      </a:lnTo>
                      <a:lnTo>
                        <a:pt x="507" y="100"/>
                      </a:lnTo>
                      <a:lnTo>
                        <a:pt x="507" y="100"/>
                      </a:lnTo>
                      <a:lnTo>
                        <a:pt x="502" y="98"/>
                      </a:lnTo>
                      <a:lnTo>
                        <a:pt x="493" y="94"/>
                      </a:lnTo>
                      <a:lnTo>
                        <a:pt x="491" y="97"/>
                      </a:lnTo>
                      <a:lnTo>
                        <a:pt x="490" y="95"/>
                      </a:lnTo>
                      <a:lnTo>
                        <a:pt x="494" y="93"/>
                      </a:lnTo>
                      <a:lnTo>
                        <a:pt x="498" y="90"/>
                      </a:lnTo>
                      <a:lnTo>
                        <a:pt x="503" y="89"/>
                      </a:lnTo>
                      <a:close/>
                      <a:moveTo>
                        <a:pt x="2053" y="57"/>
                      </a:moveTo>
                      <a:lnTo>
                        <a:pt x="2052" y="62"/>
                      </a:lnTo>
                      <a:lnTo>
                        <a:pt x="2050" y="70"/>
                      </a:lnTo>
                      <a:lnTo>
                        <a:pt x="2047" y="77"/>
                      </a:lnTo>
                      <a:lnTo>
                        <a:pt x="2046" y="80"/>
                      </a:lnTo>
                      <a:lnTo>
                        <a:pt x="2046" y="82"/>
                      </a:lnTo>
                      <a:lnTo>
                        <a:pt x="2045" y="84"/>
                      </a:lnTo>
                      <a:lnTo>
                        <a:pt x="2045" y="88"/>
                      </a:lnTo>
                      <a:lnTo>
                        <a:pt x="2045" y="90"/>
                      </a:lnTo>
                      <a:lnTo>
                        <a:pt x="2045" y="92"/>
                      </a:lnTo>
                      <a:lnTo>
                        <a:pt x="2046" y="94"/>
                      </a:lnTo>
                      <a:lnTo>
                        <a:pt x="2046" y="98"/>
                      </a:lnTo>
                      <a:lnTo>
                        <a:pt x="2047" y="101"/>
                      </a:lnTo>
                      <a:lnTo>
                        <a:pt x="2046" y="104"/>
                      </a:lnTo>
                      <a:lnTo>
                        <a:pt x="2045" y="108"/>
                      </a:lnTo>
                      <a:lnTo>
                        <a:pt x="2044" y="110"/>
                      </a:lnTo>
                      <a:lnTo>
                        <a:pt x="2043" y="111"/>
                      </a:lnTo>
                      <a:lnTo>
                        <a:pt x="2041" y="111"/>
                      </a:lnTo>
                      <a:lnTo>
                        <a:pt x="2038" y="113"/>
                      </a:lnTo>
                      <a:lnTo>
                        <a:pt x="2036" y="114"/>
                      </a:lnTo>
                      <a:lnTo>
                        <a:pt x="2034" y="115"/>
                      </a:lnTo>
                      <a:lnTo>
                        <a:pt x="2032" y="119"/>
                      </a:lnTo>
                      <a:lnTo>
                        <a:pt x="2031" y="120"/>
                      </a:lnTo>
                      <a:lnTo>
                        <a:pt x="2029" y="120"/>
                      </a:lnTo>
                      <a:lnTo>
                        <a:pt x="2027" y="120"/>
                      </a:lnTo>
                      <a:lnTo>
                        <a:pt x="2025" y="120"/>
                      </a:lnTo>
                      <a:lnTo>
                        <a:pt x="2023" y="121"/>
                      </a:lnTo>
                      <a:lnTo>
                        <a:pt x="2021" y="122"/>
                      </a:lnTo>
                      <a:lnTo>
                        <a:pt x="2020" y="125"/>
                      </a:lnTo>
                      <a:lnTo>
                        <a:pt x="2019" y="128"/>
                      </a:lnTo>
                      <a:lnTo>
                        <a:pt x="2018" y="132"/>
                      </a:lnTo>
                      <a:lnTo>
                        <a:pt x="2016" y="135"/>
                      </a:lnTo>
                      <a:lnTo>
                        <a:pt x="2015" y="137"/>
                      </a:lnTo>
                      <a:lnTo>
                        <a:pt x="2014" y="139"/>
                      </a:lnTo>
                      <a:lnTo>
                        <a:pt x="2012" y="139"/>
                      </a:lnTo>
                      <a:lnTo>
                        <a:pt x="2011" y="142"/>
                      </a:lnTo>
                      <a:lnTo>
                        <a:pt x="2010" y="144"/>
                      </a:lnTo>
                      <a:lnTo>
                        <a:pt x="2010" y="146"/>
                      </a:lnTo>
                      <a:lnTo>
                        <a:pt x="2011" y="147"/>
                      </a:lnTo>
                      <a:lnTo>
                        <a:pt x="2011" y="148"/>
                      </a:lnTo>
                      <a:lnTo>
                        <a:pt x="2012" y="149"/>
                      </a:lnTo>
                      <a:lnTo>
                        <a:pt x="2012" y="150"/>
                      </a:lnTo>
                      <a:lnTo>
                        <a:pt x="2012" y="153"/>
                      </a:lnTo>
                      <a:lnTo>
                        <a:pt x="2012" y="156"/>
                      </a:lnTo>
                      <a:lnTo>
                        <a:pt x="2012" y="158"/>
                      </a:lnTo>
                      <a:lnTo>
                        <a:pt x="2012" y="160"/>
                      </a:lnTo>
                      <a:lnTo>
                        <a:pt x="2012" y="163"/>
                      </a:lnTo>
                      <a:lnTo>
                        <a:pt x="2014" y="165"/>
                      </a:lnTo>
                      <a:lnTo>
                        <a:pt x="2016" y="165"/>
                      </a:lnTo>
                      <a:lnTo>
                        <a:pt x="2018" y="167"/>
                      </a:lnTo>
                      <a:lnTo>
                        <a:pt x="2018" y="170"/>
                      </a:lnTo>
                      <a:lnTo>
                        <a:pt x="2018" y="174"/>
                      </a:lnTo>
                      <a:lnTo>
                        <a:pt x="2018" y="176"/>
                      </a:lnTo>
                      <a:lnTo>
                        <a:pt x="2016" y="178"/>
                      </a:lnTo>
                      <a:lnTo>
                        <a:pt x="2014" y="178"/>
                      </a:lnTo>
                      <a:lnTo>
                        <a:pt x="2013" y="177"/>
                      </a:lnTo>
                      <a:lnTo>
                        <a:pt x="2011" y="177"/>
                      </a:lnTo>
                      <a:lnTo>
                        <a:pt x="2010" y="178"/>
                      </a:lnTo>
                      <a:lnTo>
                        <a:pt x="2009" y="180"/>
                      </a:lnTo>
                      <a:lnTo>
                        <a:pt x="2008" y="182"/>
                      </a:lnTo>
                      <a:lnTo>
                        <a:pt x="2007" y="186"/>
                      </a:lnTo>
                      <a:lnTo>
                        <a:pt x="2005" y="189"/>
                      </a:lnTo>
                      <a:lnTo>
                        <a:pt x="2004" y="191"/>
                      </a:lnTo>
                      <a:lnTo>
                        <a:pt x="2002" y="192"/>
                      </a:lnTo>
                      <a:lnTo>
                        <a:pt x="2000" y="193"/>
                      </a:lnTo>
                      <a:lnTo>
                        <a:pt x="1998" y="192"/>
                      </a:lnTo>
                      <a:lnTo>
                        <a:pt x="1996" y="192"/>
                      </a:lnTo>
                      <a:lnTo>
                        <a:pt x="1994" y="191"/>
                      </a:lnTo>
                      <a:lnTo>
                        <a:pt x="1994" y="189"/>
                      </a:lnTo>
                      <a:lnTo>
                        <a:pt x="1994" y="186"/>
                      </a:lnTo>
                      <a:lnTo>
                        <a:pt x="1994" y="182"/>
                      </a:lnTo>
                      <a:lnTo>
                        <a:pt x="1994" y="179"/>
                      </a:lnTo>
                      <a:lnTo>
                        <a:pt x="1994" y="176"/>
                      </a:lnTo>
                      <a:lnTo>
                        <a:pt x="1994" y="175"/>
                      </a:lnTo>
                      <a:lnTo>
                        <a:pt x="1994" y="172"/>
                      </a:lnTo>
                      <a:lnTo>
                        <a:pt x="1993" y="171"/>
                      </a:lnTo>
                      <a:lnTo>
                        <a:pt x="1992" y="171"/>
                      </a:lnTo>
                      <a:lnTo>
                        <a:pt x="1991" y="171"/>
                      </a:lnTo>
                      <a:lnTo>
                        <a:pt x="1989" y="171"/>
                      </a:lnTo>
                      <a:lnTo>
                        <a:pt x="1988" y="170"/>
                      </a:lnTo>
                      <a:lnTo>
                        <a:pt x="1987" y="169"/>
                      </a:lnTo>
                      <a:lnTo>
                        <a:pt x="1986" y="167"/>
                      </a:lnTo>
                      <a:lnTo>
                        <a:pt x="1985" y="161"/>
                      </a:lnTo>
                      <a:lnTo>
                        <a:pt x="1986" y="154"/>
                      </a:lnTo>
                      <a:lnTo>
                        <a:pt x="1987" y="146"/>
                      </a:lnTo>
                      <a:lnTo>
                        <a:pt x="1988" y="139"/>
                      </a:lnTo>
                      <a:lnTo>
                        <a:pt x="1989" y="136"/>
                      </a:lnTo>
                      <a:lnTo>
                        <a:pt x="1989" y="133"/>
                      </a:lnTo>
                      <a:lnTo>
                        <a:pt x="1989" y="130"/>
                      </a:lnTo>
                      <a:lnTo>
                        <a:pt x="1989" y="127"/>
                      </a:lnTo>
                      <a:lnTo>
                        <a:pt x="1990" y="124"/>
                      </a:lnTo>
                      <a:lnTo>
                        <a:pt x="1990" y="122"/>
                      </a:lnTo>
                      <a:lnTo>
                        <a:pt x="1991" y="120"/>
                      </a:lnTo>
                      <a:lnTo>
                        <a:pt x="1991" y="117"/>
                      </a:lnTo>
                      <a:lnTo>
                        <a:pt x="1991" y="116"/>
                      </a:lnTo>
                      <a:lnTo>
                        <a:pt x="1990" y="113"/>
                      </a:lnTo>
                      <a:lnTo>
                        <a:pt x="1990" y="110"/>
                      </a:lnTo>
                      <a:lnTo>
                        <a:pt x="1989" y="106"/>
                      </a:lnTo>
                      <a:lnTo>
                        <a:pt x="1988" y="104"/>
                      </a:lnTo>
                      <a:lnTo>
                        <a:pt x="1987" y="102"/>
                      </a:lnTo>
                      <a:lnTo>
                        <a:pt x="1985" y="101"/>
                      </a:lnTo>
                      <a:lnTo>
                        <a:pt x="1983" y="99"/>
                      </a:lnTo>
                      <a:lnTo>
                        <a:pt x="1990" y="94"/>
                      </a:lnTo>
                      <a:lnTo>
                        <a:pt x="1991" y="95"/>
                      </a:lnTo>
                      <a:lnTo>
                        <a:pt x="1992" y="98"/>
                      </a:lnTo>
                      <a:lnTo>
                        <a:pt x="1994" y="100"/>
                      </a:lnTo>
                      <a:lnTo>
                        <a:pt x="2053" y="57"/>
                      </a:lnTo>
                      <a:close/>
                      <a:moveTo>
                        <a:pt x="2090" y="28"/>
                      </a:moveTo>
                      <a:lnTo>
                        <a:pt x="2090" y="29"/>
                      </a:lnTo>
                      <a:lnTo>
                        <a:pt x="2090" y="30"/>
                      </a:lnTo>
                      <a:lnTo>
                        <a:pt x="2089" y="32"/>
                      </a:lnTo>
                      <a:lnTo>
                        <a:pt x="2089" y="32"/>
                      </a:lnTo>
                      <a:lnTo>
                        <a:pt x="2089" y="30"/>
                      </a:lnTo>
                      <a:lnTo>
                        <a:pt x="2089" y="33"/>
                      </a:lnTo>
                      <a:lnTo>
                        <a:pt x="2089" y="36"/>
                      </a:lnTo>
                      <a:lnTo>
                        <a:pt x="2090" y="38"/>
                      </a:lnTo>
                      <a:lnTo>
                        <a:pt x="2090" y="40"/>
                      </a:lnTo>
                      <a:lnTo>
                        <a:pt x="2090" y="44"/>
                      </a:lnTo>
                      <a:lnTo>
                        <a:pt x="2089" y="46"/>
                      </a:lnTo>
                      <a:lnTo>
                        <a:pt x="2087" y="48"/>
                      </a:lnTo>
                      <a:lnTo>
                        <a:pt x="2085" y="50"/>
                      </a:lnTo>
                      <a:lnTo>
                        <a:pt x="2085" y="52"/>
                      </a:lnTo>
                      <a:lnTo>
                        <a:pt x="2085" y="55"/>
                      </a:lnTo>
                      <a:lnTo>
                        <a:pt x="2084" y="55"/>
                      </a:lnTo>
                      <a:lnTo>
                        <a:pt x="2084" y="56"/>
                      </a:lnTo>
                      <a:lnTo>
                        <a:pt x="2083" y="55"/>
                      </a:lnTo>
                      <a:lnTo>
                        <a:pt x="2083" y="55"/>
                      </a:lnTo>
                      <a:lnTo>
                        <a:pt x="2081" y="52"/>
                      </a:lnTo>
                      <a:lnTo>
                        <a:pt x="2080" y="50"/>
                      </a:lnTo>
                      <a:lnTo>
                        <a:pt x="2080" y="48"/>
                      </a:lnTo>
                      <a:lnTo>
                        <a:pt x="2080" y="46"/>
                      </a:lnTo>
                      <a:lnTo>
                        <a:pt x="2080" y="45"/>
                      </a:lnTo>
                      <a:lnTo>
                        <a:pt x="2078" y="43"/>
                      </a:lnTo>
                      <a:lnTo>
                        <a:pt x="2077" y="43"/>
                      </a:lnTo>
                      <a:lnTo>
                        <a:pt x="2076" y="43"/>
                      </a:lnTo>
                      <a:lnTo>
                        <a:pt x="2076" y="41"/>
                      </a:lnTo>
                      <a:lnTo>
                        <a:pt x="2075" y="40"/>
                      </a:lnTo>
                      <a:lnTo>
                        <a:pt x="2076" y="40"/>
                      </a:lnTo>
                      <a:lnTo>
                        <a:pt x="2076" y="39"/>
                      </a:lnTo>
                      <a:lnTo>
                        <a:pt x="2076" y="38"/>
                      </a:lnTo>
                      <a:lnTo>
                        <a:pt x="2079" y="35"/>
                      </a:lnTo>
                      <a:lnTo>
                        <a:pt x="2084" y="33"/>
                      </a:lnTo>
                      <a:lnTo>
                        <a:pt x="2086" y="30"/>
                      </a:lnTo>
                      <a:lnTo>
                        <a:pt x="2086" y="32"/>
                      </a:lnTo>
                      <a:lnTo>
                        <a:pt x="2086" y="33"/>
                      </a:lnTo>
                      <a:lnTo>
                        <a:pt x="2086" y="33"/>
                      </a:lnTo>
                      <a:lnTo>
                        <a:pt x="2090" y="29"/>
                      </a:lnTo>
                      <a:lnTo>
                        <a:pt x="2090" y="28"/>
                      </a:lnTo>
                      <a:close/>
                      <a:moveTo>
                        <a:pt x="501" y="1"/>
                      </a:moveTo>
                      <a:lnTo>
                        <a:pt x="498" y="2"/>
                      </a:lnTo>
                      <a:lnTo>
                        <a:pt x="496" y="4"/>
                      </a:lnTo>
                      <a:lnTo>
                        <a:pt x="493" y="6"/>
                      </a:lnTo>
                      <a:lnTo>
                        <a:pt x="491" y="8"/>
                      </a:lnTo>
                      <a:lnTo>
                        <a:pt x="488" y="12"/>
                      </a:lnTo>
                      <a:lnTo>
                        <a:pt x="487" y="14"/>
                      </a:lnTo>
                      <a:lnTo>
                        <a:pt x="487" y="16"/>
                      </a:lnTo>
                      <a:lnTo>
                        <a:pt x="488" y="21"/>
                      </a:lnTo>
                      <a:lnTo>
                        <a:pt x="495" y="24"/>
                      </a:lnTo>
                      <a:lnTo>
                        <a:pt x="502" y="25"/>
                      </a:lnTo>
                      <a:lnTo>
                        <a:pt x="507" y="23"/>
                      </a:lnTo>
                      <a:lnTo>
                        <a:pt x="509" y="15"/>
                      </a:lnTo>
                      <a:lnTo>
                        <a:pt x="507" y="7"/>
                      </a:lnTo>
                      <a:lnTo>
                        <a:pt x="503" y="1"/>
                      </a:lnTo>
                      <a:lnTo>
                        <a:pt x="501" y="1"/>
                      </a:lnTo>
                      <a:close/>
                      <a:moveTo>
                        <a:pt x="2232" y="0"/>
                      </a:moveTo>
                      <a:lnTo>
                        <a:pt x="2232" y="0"/>
                      </a:lnTo>
                      <a:lnTo>
                        <a:pt x="2230" y="1"/>
                      </a:lnTo>
                      <a:lnTo>
                        <a:pt x="2229" y="2"/>
                      </a:lnTo>
                      <a:lnTo>
                        <a:pt x="2228" y="3"/>
                      </a:lnTo>
                      <a:lnTo>
                        <a:pt x="2227" y="4"/>
                      </a:lnTo>
                      <a:lnTo>
                        <a:pt x="2226" y="5"/>
                      </a:lnTo>
                      <a:lnTo>
                        <a:pt x="2223" y="7"/>
                      </a:lnTo>
                      <a:lnTo>
                        <a:pt x="2222" y="11"/>
                      </a:lnTo>
                      <a:lnTo>
                        <a:pt x="2220" y="15"/>
                      </a:lnTo>
                      <a:lnTo>
                        <a:pt x="2220" y="19"/>
                      </a:lnTo>
                      <a:lnTo>
                        <a:pt x="2219" y="24"/>
                      </a:lnTo>
                      <a:lnTo>
                        <a:pt x="2218" y="28"/>
                      </a:lnTo>
                      <a:lnTo>
                        <a:pt x="2218" y="29"/>
                      </a:lnTo>
                      <a:lnTo>
                        <a:pt x="2218" y="33"/>
                      </a:lnTo>
                      <a:lnTo>
                        <a:pt x="2218" y="36"/>
                      </a:lnTo>
                      <a:lnTo>
                        <a:pt x="2219" y="39"/>
                      </a:lnTo>
                      <a:lnTo>
                        <a:pt x="2219" y="41"/>
                      </a:lnTo>
                      <a:lnTo>
                        <a:pt x="2220" y="44"/>
                      </a:lnTo>
                      <a:lnTo>
                        <a:pt x="2222" y="44"/>
                      </a:lnTo>
                      <a:lnTo>
                        <a:pt x="2223" y="43"/>
                      </a:lnTo>
                      <a:lnTo>
                        <a:pt x="2225" y="43"/>
                      </a:lnTo>
                      <a:lnTo>
                        <a:pt x="2226" y="43"/>
                      </a:lnTo>
                      <a:lnTo>
                        <a:pt x="2226" y="43"/>
                      </a:lnTo>
                      <a:lnTo>
                        <a:pt x="2227" y="41"/>
                      </a:lnTo>
                      <a:lnTo>
                        <a:pt x="2228" y="40"/>
                      </a:lnTo>
                      <a:lnTo>
                        <a:pt x="2230" y="38"/>
                      </a:lnTo>
                      <a:lnTo>
                        <a:pt x="2230" y="36"/>
                      </a:lnTo>
                      <a:lnTo>
                        <a:pt x="2231" y="33"/>
                      </a:lnTo>
                      <a:lnTo>
                        <a:pt x="2231" y="30"/>
                      </a:lnTo>
                      <a:lnTo>
                        <a:pt x="2232" y="28"/>
                      </a:lnTo>
                      <a:lnTo>
                        <a:pt x="2233" y="26"/>
                      </a:lnTo>
                      <a:lnTo>
                        <a:pt x="2234" y="23"/>
                      </a:lnTo>
                      <a:lnTo>
                        <a:pt x="2236" y="21"/>
                      </a:lnTo>
                      <a:lnTo>
                        <a:pt x="2236" y="17"/>
                      </a:lnTo>
                      <a:lnTo>
                        <a:pt x="2236" y="15"/>
                      </a:lnTo>
                      <a:lnTo>
                        <a:pt x="2234" y="13"/>
                      </a:lnTo>
                      <a:lnTo>
                        <a:pt x="2234" y="11"/>
                      </a:lnTo>
                      <a:lnTo>
                        <a:pt x="2233" y="8"/>
                      </a:lnTo>
                      <a:lnTo>
                        <a:pt x="2234" y="6"/>
                      </a:lnTo>
                      <a:lnTo>
                        <a:pt x="2236" y="5"/>
                      </a:lnTo>
                      <a:lnTo>
                        <a:pt x="2236" y="3"/>
                      </a:lnTo>
                      <a:lnTo>
                        <a:pt x="2234" y="2"/>
                      </a:lnTo>
                      <a:lnTo>
                        <a:pt x="2233" y="2"/>
                      </a:lnTo>
                      <a:lnTo>
                        <a:pt x="2233" y="1"/>
                      </a:lnTo>
                      <a:lnTo>
                        <a:pt x="223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5" name="Freeform 32"/>
                <p:cNvSpPr>
                  <a:spLocks noEditPoints="1"/>
                </p:cNvSpPr>
                <p:nvPr/>
              </p:nvSpPr>
              <p:spPr bwMode="auto">
                <a:xfrm>
                  <a:off x="5566" y="833"/>
                  <a:ext cx="438" cy="180"/>
                </a:xfrm>
                <a:custGeom>
                  <a:avLst/>
                  <a:gdLst>
                    <a:gd name="T0" fmla="*/ 2823 w 3068"/>
                    <a:gd name="T1" fmla="*/ 354 h 1258"/>
                    <a:gd name="T2" fmla="*/ 2836 w 3068"/>
                    <a:gd name="T3" fmla="*/ 404 h 1258"/>
                    <a:gd name="T4" fmla="*/ 2846 w 3068"/>
                    <a:gd name="T5" fmla="*/ 338 h 1258"/>
                    <a:gd name="T6" fmla="*/ 2848 w 3068"/>
                    <a:gd name="T7" fmla="*/ 278 h 1258"/>
                    <a:gd name="T8" fmla="*/ 2949 w 3068"/>
                    <a:gd name="T9" fmla="*/ 250 h 1258"/>
                    <a:gd name="T10" fmla="*/ 22 w 3068"/>
                    <a:gd name="T11" fmla="*/ 166 h 1258"/>
                    <a:gd name="T12" fmla="*/ 924 w 3068"/>
                    <a:gd name="T13" fmla="*/ 209 h 1258"/>
                    <a:gd name="T14" fmla="*/ 406 w 3068"/>
                    <a:gd name="T15" fmla="*/ 176 h 1258"/>
                    <a:gd name="T16" fmla="*/ 932 w 3068"/>
                    <a:gd name="T17" fmla="*/ 142 h 1258"/>
                    <a:gd name="T18" fmla="*/ 948 w 3068"/>
                    <a:gd name="T19" fmla="*/ 138 h 1258"/>
                    <a:gd name="T20" fmla="*/ 56 w 3068"/>
                    <a:gd name="T21" fmla="*/ 136 h 1258"/>
                    <a:gd name="T22" fmla="*/ 65 w 3068"/>
                    <a:gd name="T23" fmla="*/ 111 h 1258"/>
                    <a:gd name="T24" fmla="*/ 108 w 3068"/>
                    <a:gd name="T25" fmla="*/ 111 h 1258"/>
                    <a:gd name="T26" fmla="*/ 2448 w 3068"/>
                    <a:gd name="T27" fmla="*/ 187 h 1258"/>
                    <a:gd name="T28" fmla="*/ 2423 w 3068"/>
                    <a:gd name="T29" fmla="*/ 126 h 1258"/>
                    <a:gd name="T30" fmla="*/ 2442 w 3068"/>
                    <a:gd name="T31" fmla="*/ 96 h 1258"/>
                    <a:gd name="T32" fmla="*/ 86 w 3068"/>
                    <a:gd name="T33" fmla="*/ 104 h 1258"/>
                    <a:gd name="T34" fmla="*/ 400 w 3068"/>
                    <a:gd name="T35" fmla="*/ 78 h 1258"/>
                    <a:gd name="T36" fmla="*/ 369 w 3068"/>
                    <a:gd name="T37" fmla="*/ 47 h 1258"/>
                    <a:gd name="T38" fmla="*/ 3046 w 3068"/>
                    <a:gd name="T39" fmla="*/ 349 h 1258"/>
                    <a:gd name="T40" fmla="*/ 2949 w 3068"/>
                    <a:gd name="T41" fmla="*/ 602 h 1258"/>
                    <a:gd name="T42" fmla="*/ 2915 w 3068"/>
                    <a:gd name="T43" fmla="*/ 684 h 1258"/>
                    <a:gd name="T44" fmla="*/ 2906 w 3068"/>
                    <a:gd name="T45" fmla="*/ 572 h 1258"/>
                    <a:gd name="T46" fmla="*/ 2882 w 3068"/>
                    <a:gd name="T47" fmla="*/ 538 h 1258"/>
                    <a:gd name="T48" fmla="*/ 2834 w 3068"/>
                    <a:gd name="T49" fmla="*/ 530 h 1258"/>
                    <a:gd name="T50" fmla="*/ 2798 w 3068"/>
                    <a:gd name="T51" fmla="*/ 505 h 1258"/>
                    <a:gd name="T52" fmla="*/ 2830 w 3068"/>
                    <a:gd name="T53" fmla="*/ 546 h 1258"/>
                    <a:gd name="T54" fmla="*/ 2830 w 3068"/>
                    <a:gd name="T55" fmla="*/ 610 h 1258"/>
                    <a:gd name="T56" fmla="*/ 2778 w 3068"/>
                    <a:gd name="T57" fmla="*/ 681 h 1258"/>
                    <a:gd name="T58" fmla="*/ 2737 w 3068"/>
                    <a:gd name="T59" fmla="*/ 689 h 1258"/>
                    <a:gd name="T60" fmla="*/ 2719 w 3068"/>
                    <a:gd name="T61" fmla="*/ 562 h 1258"/>
                    <a:gd name="T62" fmla="*/ 2710 w 3068"/>
                    <a:gd name="T63" fmla="*/ 660 h 1258"/>
                    <a:gd name="T64" fmla="*/ 2730 w 3068"/>
                    <a:gd name="T65" fmla="*/ 732 h 1258"/>
                    <a:gd name="T66" fmla="*/ 2761 w 3068"/>
                    <a:gd name="T67" fmla="*/ 751 h 1258"/>
                    <a:gd name="T68" fmla="*/ 2658 w 3068"/>
                    <a:gd name="T69" fmla="*/ 919 h 1258"/>
                    <a:gd name="T70" fmla="*/ 2604 w 3068"/>
                    <a:gd name="T71" fmla="*/ 1045 h 1258"/>
                    <a:gd name="T72" fmla="*/ 2510 w 3068"/>
                    <a:gd name="T73" fmla="*/ 1191 h 1258"/>
                    <a:gd name="T74" fmla="*/ 2414 w 3068"/>
                    <a:gd name="T75" fmla="*/ 1258 h 1258"/>
                    <a:gd name="T76" fmla="*/ 2413 w 3068"/>
                    <a:gd name="T77" fmla="*/ 1217 h 1258"/>
                    <a:gd name="T78" fmla="*/ 2420 w 3068"/>
                    <a:gd name="T79" fmla="*/ 1110 h 1258"/>
                    <a:gd name="T80" fmla="*/ 2461 w 3068"/>
                    <a:gd name="T81" fmla="*/ 1024 h 1258"/>
                    <a:gd name="T82" fmla="*/ 2475 w 3068"/>
                    <a:gd name="T83" fmla="*/ 912 h 1258"/>
                    <a:gd name="T84" fmla="*/ 2430 w 3068"/>
                    <a:gd name="T85" fmla="*/ 907 h 1258"/>
                    <a:gd name="T86" fmla="*/ 2311 w 3068"/>
                    <a:gd name="T87" fmla="*/ 961 h 1258"/>
                    <a:gd name="T88" fmla="*/ 2274 w 3068"/>
                    <a:gd name="T89" fmla="*/ 914 h 1258"/>
                    <a:gd name="T90" fmla="*/ 2294 w 3068"/>
                    <a:gd name="T91" fmla="*/ 759 h 1258"/>
                    <a:gd name="T92" fmla="*/ 2425 w 3068"/>
                    <a:gd name="T93" fmla="*/ 555 h 1258"/>
                    <a:gd name="T94" fmla="*/ 2500 w 3068"/>
                    <a:gd name="T95" fmla="*/ 500 h 1258"/>
                    <a:gd name="T96" fmla="*/ 2563 w 3068"/>
                    <a:gd name="T97" fmla="*/ 474 h 1258"/>
                    <a:gd name="T98" fmla="*/ 2574 w 3068"/>
                    <a:gd name="T99" fmla="*/ 526 h 1258"/>
                    <a:gd name="T100" fmla="*/ 2616 w 3068"/>
                    <a:gd name="T101" fmla="*/ 556 h 1258"/>
                    <a:gd name="T102" fmla="*/ 2667 w 3068"/>
                    <a:gd name="T103" fmla="*/ 526 h 1258"/>
                    <a:gd name="T104" fmla="*/ 2708 w 3068"/>
                    <a:gd name="T105" fmla="*/ 505 h 1258"/>
                    <a:gd name="T106" fmla="*/ 2741 w 3068"/>
                    <a:gd name="T107" fmla="*/ 436 h 1258"/>
                    <a:gd name="T108" fmla="*/ 2695 w 3068"/>
                    <a:gd name="T109" fmla="*/ 445 h 1258"/>
                    <a:gd name="T110" fmla="*/ 2719 w 3068"/>
                    <a:gd name="T111" fmla="*/ 372 h 1258"/>
                    <a:gd name="T112" fmla="*/ 2779 w 3068"/>
                    <a:gd name="T113" fmla="*/ 338 h 1258"/>
                    <a:gd name="T114" fmla="*/ 2768 w 3068"/>
                    <a:gd name="T115" fmla="*/ 272 h 1258"/>
                    <a:gd name="T116" fmla="*/ 2655 w 3068"/>
                    <a:gd name="T117" fmla="*/ 29 h 1258"/>
                    <a:gd name="T118" fmla="*/ 2768 w 3068"/>
                    <a:gd name="T119" fmla="*/ 13 h 1258"/>
                    <a:gd name="T120" fmla="*/ 368 w 3068"/>
                    <a:gd name="T121" fmla="*/ 18 h 1258"/>
                    <a:gd name="T122" fmla="*/ 182 w 3068"/>
                    <a:gd name="T123" fmla="*/ 9 h 1258"/>
                    <a:gd name="T124" fmla="*/ 178 w 3068"/>
                    <a:gd name="T125" fmla="*/ 1 h 1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8" h="1258">
                      <a:moveTo>
                        <a:pt x="2843" y="243"/>
                      </a:moveTo>
                      <a:lnTo>
                        <a:pt x="2840" y="245"/>
                      </a:lnTo>
                      <a:lnTo>
                        <a:pt x="2838" y="246"/>
                      </a:lnTo>
                      <a:lnTo>
                        <a:pt x="2836" y="248"/>
                      </a:lnTo>
                      <a:lnTo>
                        <a:pt x="2836" y="250"/>
                      </a:lnTo>
                      <a:lnTo>
                        <a:pt x="2835" y="252"/>
                      </a:lnTo>
                      <a:lnTo>
                        <a:pt x="2834" y="254"/>
                      </a:lnTo>
                      <a:lnTo>
                        <a:pt x="2832" y="256"/>
                      </a:lnTo>
                      <a:lnTo>
                        <a:pt x="2830" y="257"/>
                      </a:lnTo>
                      <a:lnTo>
                        <a:pt x="2828" y="257"/>
                      </a:lnTo>
                      <a:lnTo>
                        <a:pt x="2827" y="257"/>
                      </a:lnTo>
                      <a:lnTo>
                        <a:pt x="2825" y="257"/>
                      </a:lnTo>
                      <a:lnTo>
                        <a:pt x="2823" y="259"/>
                      </a:lnTo>
                      <a:lnTo>
                        <a:pt x="2822" y="261"/>
                      </a:lnTo>
                      <a:lnTo>
                        <a:pt x="2821" y="264"/>
                      </a:lnTo>
                      <a:lnTo>
                        <a:pt x="2821" y="268"/>
                      </a:lnTo>
                      <a:lnTo>
                        <a:pt x="2819" y="271"/>
                      </a:lnTo>
                      <a:lnTo>
                        <a:pt x="2818" y="274"/>
                      </a:lnTo>
                      <a:lnTo>
                        <a:pt x="2816" y="281"/>
                      </a:lnTo>
                      <a:lnTo>
                        <a:pt x="2815" y="287"/>
                      </a:lnTo>
                      <a:lnTo>
                        <a:pt x="2814" y="296"/>
                      </a:lnTo>
                      <a:lnTo>
                        <a:pt x="2814" y="318"/>
                      </a:lnTo>
                      <a:lnTo>
                        <a:pt x="2815" y="323"/>
                      </a:lnTo>
                      <a:lnTo>
                        <a:pt x="2816" y="327"/>
                      </a:lnTo>
                      <a:lnTo>
                        <a:pt x="2816" y="332"/>
                      </a:lnTo>
                      <a:lnTo>
                        <a:pt x="2817" y="334"/>
                      </a:lnTo>
                      <a:lnTo>
                        <a:pt x="2818" y="336"/>
                      </a:lnTo>
                      <a:lnTo>
                        <a:pt x="2819" y="338"/>
                      </a:lnTo>
                      <a:lnTo>
                        <a:pt x="2821" y="340"/>
                      </a:lnTo>
                      <a:lnTo>
                        <a:pt x="2821" y="349"/>
                      </a:lnTo>
                      <a:lnTo>
                        <a:pt x="2822" y="350"/>
                      </a:lnTo>
                      <a:lnTo>
                        <a:pt x="2823" y="354"/>
                      </a:lnTo>
                      <a:lnTo>
                        <a:pt x="2823" y="357"/>
                      </a:lnTo>
                      <a:lnTo>
                        <a:pt x="2823" y="360"/>
                      </a:lnTo>
                      <a:lnTo>
                        <a:pt x="2822" y="363"/>
                      </a:lnTo>
                      <a:lnTo>
                        <a:pt x="2819" y="367"/>
                      </a:lnTo>
                      <a:lnTo>
                        <a:pt x="2818" y="370"/>
                      </a:lnTo>
                      <a:lnTo>
                        <a:pt x="2818" y="372"/>
                      </a:lnTo>
                      <a:lnTo>
                        <a:pt x="2817" y="377"/>
                      </a:lnTo>
                      <a:lnTo>
                        <a:pt x="2816" y="381"/>
                      </a:lnTo>
                      <a:lnTo>
                        <a:pt x="2816" y="385"/>
                      </a:lnTo>
                      <a:lnTo>
                        <a:pt x="2816" y="388"/>
                      </a:lnTo>
                      <a:lnTo>
                        <a:pt x="2815" y="391"/>
                      </a:lnTo>
                      <a:lnTo>
                        <a:pt x="2815" y="393"/>
                      </a:lnTo>
                      <a:lnTo>
                        <a:pt x="2816" y="396"/>
                      </a:lnTo>
                      <a:lnTo>
                        <a:pt x="2816" y="398"/>
                      </a:lnTo>
                      <a:lnTo>
                        <a:pt x="2817" y="398"/>
                      </a:lnTo>
                      <a:lnTo>
                        <a:pt x="2817" y="398"/>
                      </a:lnTo>
                      <a:lnTo>
                        <a:pt x="2818" y="399"/>
                      </a:lnTo>
                      <a:lnTo>
                        <a:pt x="2818" y="399"/>
                      </a:lnTo>
                      <a:lnTo>
                        <a:pt x="2821" y="401"/>
                      </a:lnTo>
                      <a:lnTo>
                        <a:pt x="2822" y="403"/>
                      </a:lnTo>
                      <a:lnTo>
                        <a:pt x="2823" y="405"/>
                      </a:lnTo>
                      <a:lnTo>
                        <a:pt x="2823" y="409"/>
                      </a:lnTo>
                      <a:lnTo>
                        <a:pt x="2823" y="410"/>
                      </a:lnTo>
                      <a:lnTo>
                        <a:pt x="2824" y="411"/>
                      </a:lnTo>
                      <a:lnTo>
                        <a:pt x="2825" y="412"/>
                      </a:lnTo>
                      <a:lnTo>
                        <a:pt x="2826" y="413"/>
                      </a:lnTo>
                      <a:lnTo>
                        <a:pt x="2828" y="412"/>
                      </a:lnTo>
                      <a:lnTo>
                        <a:pt x="2829" y="410"/>
                      </a:lnTo>
                      <a:lnTo>
                        <a:pt x="2832" y="407"/>
                      </a:lnTo>
                      <a:lnTo>
                        <a:pt x="2834" y="405"/>
                      </a:lnTo>
                      <a:lnTo>
                        <a:pt x="2835" y="405"/>
                      </a:lnTo>
                      <a:lnTo>
                        <a:pt x="2836" y="404"/>
                      </a:lnTo>
                      <a:lnTo>
                        <a:pt x="2837" y="404"/>
                      </a:lnTo>
                      <a:lnTo>
                        <a:pt x="2838" y="403"/>
                      </a:lnTo>
                      <a:lnTo>
                        <a:pt x="2839" y="402"/>
                      </a:lnTo>
                      <a:lnTo>
                        <a:pt x="2840" y="401"/>
                      </a:lnTo>
                      <a:lnTo>
                        <a:pt x="2840" y="400"/>
                      </a:lnTo>
                      <a:lnTo>
                        <a:pt x="2840" y="396"/>
                      </a:lnTo>
                      <a:lnTo>
                        <a:pt x="2841" y="382"/>
                      </a:lnTo>
                      <a:lnTo>
                        <a:pt x="2843" y="368"/>
                      </a:lnTo>
                      <a:lnTo>
                        <a:pt x="2843" y="366"/>
                      </a:lnTo>
                      <a:lnTo>
                        <a:pt x="2843" y="363"/>
                      </a:lnTo>
                      <a:lnTo>
                        <a:pt x="2843" y="361"/>
                      </a:lnTo>
                      <a:lnTo>
                        <a:pt x="2841" y="360"/>
                      </a:lnTo>
                      <a:lnTo>
                        <a:pt x="2840" y="360"/>
                      </a:lnTo>
                      <a:lnTo>
                        <a:pt x="2839" y="359"/>
                      </a:lnTo>
                      <a:lnTo>
                        <a:pt x="2838" y="358"/>
                      </a:lnTo>
                      <a:lnTo>
                        <a:pt x="2838" y="356"/>
                      </a:lnTo>
                      <a:lnTo>
                        <a:pt x="2838" y="354"/>
                      </a:lnTo>
                      <a:lnTo>
                        <a:pt x="2838" y="351"/>
                      </a:lnTo>
                      <a:lnTo>
                        <a:pt x="2839" y="350"/>
                      </a:lnTo>
                      <a:lnTo>
                        <a:pt x="2839" y="350"/>
                      </a:lnTo>
                      <a:lnTo>
                        <a:pt x="2840" y="350"/>
                      </a:lnTo>
                      <a:lnTo>
                        <a:pt x="2840" y="351"/>
                      </a:lnTo>
                      <a:lnTo>
                        <a:pt x="2843" y="351"/>
                      </a:lnTo>
                      <a:lnTo>
                        <a:pt x="2844" y="351"/>
                      </a:lnTo>
                      <a:lnTo>
                        <a:pt x="2846" y="351"/>
                      </a:lnTo>
                      <a:lnTo>
                        <a:pt x="2847" y="351"/>
                      </a:lnTo>
                      <a:lnTo>
                        <a:pt x="2848" y="349"/>
                      </a:lnTo>
                      <a:lnTo>
                        <a:pt x="2848" y="347"/>
                      </a:lnTo>
                      <a:lnTo>
                        <a:pt x="2848" y="344"/>
                      </a:lnTo>
                      <a:lnTo>
                        <a:pt x="2847" y="341"/>
                      </a:lnTo>
                      <a:lnTo>
                        <a:pt x="2847" y="340"/>
                      </a:lnTo>
                      <a:lnTo>
                        <a:pt x="2846" y="338"/>
                      </a:lnTo>
                      <a:lnTo>
                        <a:pt x="2846" y="336"/>
                      </a:lnTo>
                      <a:lnTo>
                        <a:pt x="2845" y="334"/>
                      </a:lnTo>
                      <a:lnTo>
                        <a:pt x="2844" y="333"/>
                      </a:lnTo>
                      <a:lnTo>
                        <a:pt x="2843" y="333"/>
                      </a:lnTo>
                      <a:lnTo>
                        <a:pt x="2840" y="334"/>
                      </a:lnTo>
                      <a:lnTo>
                        <a:pt x="2839" y="333"/>
                      </a:lnTo>
                      <a:lnTo>
                        <a:pt x="2839" y="332"/>
                      </a:lnTo>
                      <a:lnTo>
                        <a:pt x="2839" y="329"/>
                      </a:lnTo>
                      <a:lnTo>
                        <a:pt x="2839" y="327"/>
                      </a:lnTo>
                      <a:lnTo>
                        <a:pt x="2840" y="325"/>
                      </a:lnTo>
                      <a:lnTo>
                        <a:pt x="2840" y="323"/>
                      </a:lnTo>
                      <a:lnTo>
                        <a:pt x="2840" y="321"/>
                      </a:lnTo>
                      <a:lnTo>
                        <a:pt x="2840" y="318"/>
                      </a:lnTo>
                      <a:lnTo>
                        <a:pt x="2839" y="316"/>
                      </a:lnTo>
                      <a:lnTo>
                        <a:pt x="2837" y="315"/>
                      </a:lnTo>
                      <a:lnTo>
                        <a:pt x="2836" y="314"/>
                      </a:lnTo>
                      <a:lnTo>
                        <a:pt x="2836" y="312"/>
                      </a:lnTo>
                      <a:lnTo>
                        <a:pt x="2836" y="301"/>
                      </a:lnTo>
                      <a:lnTo>
                        <a:pt x="2836" y="298"/>
                      </a:lnTo>
                      <a:lnTo>
                        <a:pt x="2835" y="296"/>
                      </a:lnTo>
                      <a:lnTo>
                        <a:pt x="2834" y="294"/>
                      </a:lnTo>
                      <a:lnTo>
                        <a:pt x="2834" y="290"/>
                      </a:lnTo>
                      <a:lnTo>
                        <a:pt x="2835" y="285"/>
                      </a:lnTo>
                      <a:lnTo>
                        <a:pt x="2837" y="282"/>
                      </a:lnTo>
                      <a:lnTo>
                        <a:pt x="2838" y="279"/>
                      </a:lnTo>
                      <a:lnTo>
                        <a:pt x="2839" y="276"/>
                      </a:lnTo>
                      <a:lnTo>
                        <a:pt x="2841" y="274"/>
                      </a:lnTo>
                      <a:lnTo>
                        <a:pt x="2843" y="274"/>
                      </a:lnTo>
                      <a:lnTo>
                        <a:pt x="2845" y="274"/>
                      </a:lnTo>
                      <a:lnTo>
                        <a:pt x="2847" y="276"/>
                      </a:lnTo>
                      <a:lnTo>
                        <a:pt x="2847" y="276"/>
                      </a:lnTo>
                      <a:lnTo>
                        <a:pt x="2848" y="278"/>
                      </a:lnTo>
                      <a:lnTo>
                        <a:pt x="2849" y="278"/>
                      </a:lnTo>
                      <a:lnTo>
                        <a:pt x="2850" y="279"/>
                      </a:lnTo>
                      <a:lnTo>
                        <a:pt x="2851" y="278"/>
                      </a:lnTo>
                      <a:lnTo>
                        <a:pt x="2851" y="276"/>
                      </a:lnTo>
                      <a:lnTo>
                        <a:pt x="2851" y="272"/>
                      </a:lnTo>
                      <a:lnTo>
                        <a:pt x="2850" y="268"/>
                      </a:lnTo>
                      <a:lnTo>
                        <a:pt x="2849" y="263"/>
                      </a:lnTo>
                      <a:lnTo>
                        <a:pt x="2847" y="256"/>
                      </a:lnTo>
                      <a:lnTo>
                        <a:pt x="2845" y="248"/>
                      </a:lnTo>
                      <a:lnTo>
                        <a:pt x="2843" y="243"/>
                      </a:lnTo>
                      <a:close/>
                      <a:moveTo>
                        <a:pt x="2956" y="241"/>
                      </a:moveTo>
                      <a:lnTo>
                        <a:pt x="2953" y="241"/>
                      </a:lnTo>
                      <a:lnTo>
                        <a:pt x="2950" y="242"/>
                      </a:lnTo>
                      <a:lnTo>
                        <a:pt x="2948" y="243"/>
                      </a:lnTo>
                      <a:lnTo>
                        <a:pt x="2947" y="247"/>
                      </a:lnTo>
                      <a:lnTo>
                        <a:pt x="2946" y="250"/>
                      </a:lnTo>
                      <a:lnTo>
                        <a:pt x="2945" y="252"/>
                      </a:lnTo>
                      <a:lnTo>
                        <a:pt x="2944" y="254"/>
                      </a:lnTo>
                      <a:lnTo>
                        <a:pt x="2944" y="258"/>
                      </a:lnTo>
                      <a:lnTo>
                        <a:pt x="2944" y="261"/>
                      </a:lnTo>
                      <a:lnTo>
                        <a:pt x="2944" y="264"/>
                      </a:lnTo>
                      <a:lnTo>
                        <a:pt x="2944" y="268"/>
                      </a:lnTo>
                      <a:lnTo>
                        <a:pt x="2945" y="267"/>
                      </a:lnTo>
                      <a:lnTo>
                        <a:pt x="2945" y="265"/>
                      </a:lnTo>
                      <a:lnTo>
                        <a:pt x="2945" y="263"/>
                      </a:lnTo>
                      <a:lnTo>
                        <a:pt x="2946" y="260"/>
                      </a:lnTo>
                      <a:lnTo>
                        <a:pt x="2946" y="258"/>
                      </a:lnTo>
                      <a:lnTo>
                        <a:pt x="2946" y="257"/>
                      </a:lnTo>
                      <a:lnTo>
                        <a:pt x="2947" y="256"/>
                      </a:lnTo>
                      <a:lnTo>
                        <a:pt x="2948" y="253"/>
                      </a:lnTo>
                      <a:lnTo>
                        <a:pt x="2949" y="251"/>
                      </a:lnTo>
                      <a:lnTo>
                        <a:pt x="2949" y="250"/>
                      </a:lnTo>
                      <a:lnTo>
                        <a:pt x="2950" y="250"/>
                      </a:lnTo>
                      <a:lnTo>
                        <a:pt x="2953" y="249"/>
                      </a:lnTo>
                      <a:lnTo>
                        <a:pt x="2955" y="248"/>
                      </a:lnTo>
                      <a:lnTo>
                        <a:pt x="2958" y="247"/>
                      </a:lnTo>
                      <a:lnTo>
                        <a:pt x="2959" y="246"/>
                      </a:lnTo>
                      <a:lnTo>
                        <a:pt x="2960" y="246"/>
                      </a:lnTo>
                      <a:lnTo>
                        <a:pt x="2960" y="246"/>
                      </a:lnTo>
                      <a:lnTo>
                        <a:pt x="2961" y="245"/>
                      </a:lnTo>
                      <a:lnTo>
                        <a:pt x="2963" y="243"/>
                      </a:lnTo>
                      <a:lnTo>
                        <a:pt x="2960" y="245"/>
                      </a:lnTo>
                      <a:lnTo>
                        <a:pt x="2959" y="243"/>
                      </a:lnTo>
                      <a:lnTo>
                        <a:pt x="2958" y="242"/>
                      </a:lnTo>
                      <a:lnTo>
                        <a:pt x="2957" y="241"/>
                      </a:lnTo>
                      <a:lnTo>
                        <a:pt x="2956" y="241"/>
                      </a:lnTo>
                      <a:close/>
                      <a:moveTo>
                        <a:pt x="0" y="174"/>
                      </a:moveTo>
                      <a:lnTo>
                        <a:pt x="2" y="174"/>
                      </a:lnTo>
                      <a:lnTo>
                        <a:pt x="4" y="175"/>
                      </a:lnTo>
                      <a:lnTo>
                        <a:pt x="4" y="176"/>
                      </a:lnTo>
                      <a:lnTo>
                        <a:pt x="4" y="178"/>
                      </a:lnTo>
                      <a:lnTo>
                        <a:pt x="3" y="180"/>
                      </a:lnTo>
                      <a:lnTo>
                        <a:pt x="2" y="181"/>
                      </a:lnTo>
                      <a:lnTo>
                        <a:pt x="1" y="182"/>
                      </a:lnTo>
                      <a:lnTo>
                        <a:pt x="0" y="183"/>
                      </a:lnTo>
                      <a:lnTo>
                        <a:pt x="0" y="183"/>
                      </a:lnTo>
                      <a:lnTo>
                        <a:pt x="0" y="174"/>
                      </a:lnTo>
                      <a:close/>
                      <a:moveTo>
                        <a:pt x="17" y="165"/>
                      </a:moveTo>
                      <a:lnTo>
                        <a:pt x="28" y="165"/>
                      </a:lnTo>
                      <a:lnTo>
                        <a:pt x="28" y="166"/>
                      </a:lnTo>
                      <a:lnTo>
                        <a:pt x="26" y="167"/>
                      </a:lnTo>
                      <a:lnTo>
                        <a:pt x="25" y="167"/>
                      </a:lnTo>
                      <a:lnTo>
                        <a:pt x="24" y="167"/>
                      </a:lnTo>
                      <a:lnTo>
                        <a:pt x="22" y="166"/>
                      </a:lnTo>
                      <a:lnTo>
                        <a:pt x="21" y="166"/>
                      </a:lnTo>
                      <a:lnTo>
                        <a:pt x="19" y="167"/>
                      </a:lnTo>
                      <a:lnTo>
                        <a:pt x="18" y="169"/>
                      </a:lnTo>
                      <a:lnTo>
                        <a:pt x="17" y="170"/>
                      </a:lnTo>
                      <a:lnTo>
                        <a:pt x="15" y="172"/>
                      </a:lnTo>
                      <a:lnTo>
                        <a:pt x="14" y="173"/>
                      </a:lnTo>
                      <a:lnTo>
                        <a:pt x="13" y="172"/>
                      </a:lnTo>
                      <a:lnTo>
                        <a:pt x="12" y="171"/>
                      </a:lnTo>
                      <a:lnTo>
                        <a:pt x="12" y="170"/>
                      </a:lnTo>
                      <a:lnTo>
                        <a:pt x="13" y="169"/>
                      </a:lnTo>
                      <a:lnTo>
                        <a:pt x="15" y="167"/>
                      </a:lnTo>
                      <a:lnTo>
                        <a:pt x="17" y="166"/>
                      </a:lnTo>
                      <a:lnTo>
                        <a:pt x="17" y="165"/>
                      </a:lnTo>
                      <a:close/>
                      <a:moveTo>
                        <a:pt x="908" y="161"/>
                      </a:moveTo>
                      <a:lnTo>
                        <a:pt x="904" y="161"/>
                      </a:lnTo>
                      <a:lnTo>
                        <a:pt x="901" y="163"/>
                      </a:lnTo>
                      <a:lnTo>
                        <a:pt x="901" y="167"/>
                      </a:lnTo>
                      <a:lnTo>
                        <a:pt x="902" y="171"/>
                      </a:lnTo>
                      <a:lnTo>
                        <a:pt x="903" y="172"/>
                      </a:lnTo>
                      <a:lnTo>
                        <a:pt x="905" y="174"/>
                      </a:lnTo>
                      <a:lnTo>
                        <a:pt x="908" y="175"/>
                      </a:lnTo>
                      <a:lnTo>
                        <a:pt x="910" y="176"/>
                      </a:lnTo>
                      <a:lnTo>
                        <a:pt x="914" y="178"/>
                      </a:lnTo>
                      <a:lnTo>
                        <a:pt x="915" y="181"/>
                      </a:lnTo>
                      <a:lnTo>
                        <a:pt x="916" y="183"/>
                      </a:lnTo>
                      <a:lnTo>
                        <a:pt x="917" y="186"/>
                      </a:lnTo>
                      <a:lnTo>
                        <a:pt x="917" y="188"/>
                      </a:lnTo>
                      <a:lnTo>
                        <a:pt x="918" y="192"/>
                      </a:lnTo>
                      <a:lnTo>
                        <a:pt x="919" y="195"/>
                      </a:lnTo>
                      <a:lnTo>
                        <a:pt x="920" y="201"/>
                      </a:lnTo>
                      <a:lnTo>
                        <a:pt x="921" y="206"/>
                      </a:lnTo>
                      <a:lnTo>
                        <a:pt x="924" y="209"/>
                      </a:lnTo>
                      <a:lnTo>
                        <a:pt x="925" y="209"/>
                      </a:lnTo>
                      <a:lnTo>
                        <a:pt x="926" y="204"/>
                      </a:lnTo>
                      <a:lnTo>
                        <a:pt x="926" y="197"/>
                      </a:lnTo>
                      <a:lnTo>
                        <a:pt x="925" y="192"/>
                      </a:lnTo>
                      <a:lnTo>
                        <a:pt x="926" y="182"/>
                      </a:lnTo>
                      <a:lnTo>
                        <a:pt x="925" y="172"/>
                      </a:lnTo>
                      <a:lnTo>
                        <a:pt x="923" y="169"/>
                      </a:lnTo>
                      <a:lnTo>
                        <a:pt x="918" y="165"/>
                      </a:lnTo>
                      <a:lnTo>
                        <a:pt x="914" y="162"/>
                      </a:lnTo>
                      <a:lnTo>
                        <a:pt x="908" y="161"/>
                      </a:lnTo>
                      <a:close/>
                      <a:moveTo>
                        <a:pt x="401" y="148"/>
                      </a:moveTo>
                      <a:lnTo>
                        <a:pt x="402" y="149"/>
                      </a:lnTo>
                      <a:lnTo>
                        <a:pt x="403" y="149"/>
                      </a:lnTo>
                      <a:lnTo>
                        <a:pt x="405" y="150"/>
                      </a:lnTo>
                      <a:lnTo>
                        <a:pt x="406" y="151"/>
                      </a:lnTo>
                      <a:lnTo>
                        <a:pt x="407" y="152"/>
                      </a:lnTo>
                      <a:lnTo>
                        <a:pt x="408" y="152"/>
                      </a:lnTo>
                      <a:lnTo>
                        <a:pt x="408" y="155"/>
                      </a:lnTo>
                      <a:lnTo>
                        <a:pt x="408" y="156"/>
                      </a:lnTo>
                      <a:lnTo>
                        <a:pt x="407" y="158"/>
                      </a:lnTo>
                      <a:lnTo>
                        <a:pt x="406" y="159"/>
                      </a:lnTo>
                      <a:lnTo>
                        <a:pt x="406" y="160"/>
                      </a:lnTo>
                      <a:lnTo>
                        <a:pt x="406" y="161"/>
                      </a:lnTo>
                      <a:lnTo>
                        <a:pt x="406" y="163"/>
                      </a:lnTo>
                      <a:lnTo>
                        <a:pt x="407" y="165"/>
                      </a:lnTo>
                      <a:lnTo>
                        <a:pt x="410" y="169"/>
                      </a:lnTo>
                      <a:lnTo>
                        <a:pt x="412" y="174"/>
                      </a:lnTo>
                      <a:lnTo>
                        <a:pt x="413" y="177"/>
                      </a:lnTo>
                      <a:lnTo>
                        <a:pt x="412" y="181"/>
                      </a:lnTo>
                      <a:lnTo>
                        <a:pt x="410" y="182"/>
                      </a:lnTo>
                      <a:lnTo>
                        <a:pt x="407" y="180"/>
                      </a:lnTo>
                      <a:lnTo>
                        <a:pt x="406" y="176"/>
                      </a:lnTo>
                      <a:lnTo>
                        <a:pt x="405" y="173"/>
                      </a:lnTo>
                      <a:lnTo>
                        <a:pt x="404" y="169"/>
                      </a:lnTo>
                      <a:lnTo>
                        <a:pt x="403" y="165"/>
                      </a:lnTo>
                      <a:lnTo>
                        <a:pt x="402" y="163"/>
                      </a:lnTo>
                      <a:lnTo>
                        <a:pt x="401" y="160"/>
                      </a:lnTo>
                      <a:lnTo>
                        <a:pt x="399" y="156"/>
                      </a:lnTo>
                      <a:lnTo>
                        <a:pt x="399" y="154"/>
                      </a:lnTo>
                      <a:lnTo>
                        <a:pt x="400" y="153"/>
                      </a:lnTo>
                      <a:lnTo>
                        <a:pt x="400" y="152"/>
                      </a:lnTo>
                      <a:lnTo>
                        <a:pt x="401" y="151"/>
                      </a:lnTo>
                      <a:lnTo>
                        <a:pt x="401" y="149"/>
                      </a:lnTo>
                      <a:lnTo>
                        <a:pt x="401" y="148"/>
                      </a:lnTo>
                      <a:close/>
                      <a:moveTo>
                        <a:pt x="40" y="141"/>
                      </a:moveTo>
                      <a:lnTo>
                        <a:pt x="41" y="142"/>
                      </a:lnTo>
                      <a:lnTo>
                        <a:pt x="42" y="143"/>
                      </a:lnTo>
                      <a:lnTo>
                        <a:pt x="43" y="144"/>
                      </a:lnTo>
                      <a:lnTo>
                        <a:pt x="43" y="147"/>
                      </a:lnTo>
                      <a:lnTo>
                        <a:pt x="43" y="148"/>
                      </a:lnTo>
                      <a:lnTo>
                        <a:pt x="44" y="149"/>
                      </a:lnTo>
                      <a:lnTo>
                        <a:pt x="44" y="150"/>
                      </a:lnTo>
                      <a:lnTo>
                        <a:pt x="43" y="151"/>
                      </a:lnTo>
                      <a:lnTo>
                        <a:pt x="42" y="151"/>
                      </a:lnTo>
                      <a:lnTo>
                        <a:pt x="41" y="151"/>
                      </a:lnTo>
                      <a:lnTo>
                        <a:pt x="40" y="151"/>
                      </a:lnTo>
                      <a:lnTo>
                        <a:pt x="39" y="150"/>
                      </a:lnTo>
                      <a:lnTo>
                        <a:pt x="37" y="148"/>
                      </a:lnTo>
                      <a:lnTo>
                        <a:pt x="37" y="145"/>
                      </a:lnTo>
                      <a:lnTo>
                        <a:pt x="39" y="142"/>
                      </a:lnTo>
                      <a:lnTo>
                        <a:pt x="40" y="141"/>
                      </a:lnTo>
                      <a:close/>
                      <a:moveTo>
                        <a:pt x="941" y="138"/>
                      </a:moveTo>
                      <a:lnTo>
                        <a:pt x="936" y="139"/>
                      </a:lnTo>
                      <a:lnTo>
                        <a:pt x="932" y="142"/>
                      </a:lnTo>
                      <a:lnTo>
                        <a:pt x="931" y="148"/>
                      </a:lnTo>
                      <a:lnTo>
                        <a:pt x="932" y="151"/>
                      </a:lnTo>
                      <a:lnTo>
                        <a:pt x="934" y="154"/>
                      </a:lnTo>
                      <a:lnTo>
                        <a:pt x="936" y="156"/>
                      </a:lnTo>
                      <a:lnTo>
                        <a:pt x="938" y="159"/>
                      </a:lnTo>
                      <a:lnTo>
                        <a:pt x="941" y="161"/>
                      </a:lnTo>
                      <a:lnTo>
                        <a:pt x="943" y="162"/>
                      </a:lnTo>
                      <a:lnTo>
                        <a:pt x="945" y="163"/>
                      </a:lnTo>
                      <a:lnTo>
                        <a:pt x="945" y="164"/>
                      </a:lnTo>
                      <a:lnTo>
                        <a:pt x="945" y="166"/>
                      </a:lnTo>
                      <a:lnTo>
                        <a:pt x="945" y="170"/>
                      </a:lnTo>
                      <a:lnTo>
                        <a:pt x="947" y="178"/>
                      </a:lnTo>
                      <a:lnTo>
                        <a:pt x="952" y="187"/>
                      </a:lnTo>
                      <a:lnTo>
                        <a:pt x="958" y="194"/>
                      </a:lnTo>
                      <a:lnTo>
                        <a:pt x="961" y="197"/>
                      </a:lnTo>
                      <a:lnTo>
                        <a:pt x="967" y="202"/>
                      </a:lnTo>
                      <a:lnTo>
                        <a:pt x="972" y="207"/>
                      </a:lnTo>
                      <a:lnTo>
                        <a:pt x="978" y="210"/>
                      </a:lnTo>
                      <a:lnTo>
                        <a:pt x="980" y="212"/>
                      </a:lnTo>
                      <a:lnTo>
                        <a:pt x="981" y="208"/>
                      </a:lnTo>
                      <a:lnTo>
                        <a:pt x="980" y="203"/>
                      </a:lnTo>
                      <a:lnTo>
                        <a:pt x="978" y="196"/>
                      </a:lnTo>
                      <a:lnTo>
                        <a:pt x="975" y="192"/>
                      </a:lnTo>
                      <a:lnTo>
                        <a:pt x="973" y="187"/>
                      </a:lnTo>
                      <a:lnTo>
                        <a:pt x="972" y="180"/>
                      </a:lnTo>
                      <a:lnTo>
                        <a:pt x="971" y="170"/>
                      </a:lnTo>
                      <a:lnTo>
                        <a:pt x="971" y="160"/>
                      </a:lnTo>
                      <a:lnTo>
                        <a:pt x="969" y="151"/>
                      </a:lnTo>
                      <a:lnTo>
                        <a:pt x="966" y="143"/>
                      </a:lnTo>
                      <a:lnTo>
                        <a:pt x="958" y="139"/>
                      </a:lnTo>
                      <a:lnTo>
                        <a:pt x="953" y="139"/>
                      </a:lnTo>
                      <a:lnTo>
                        <a:pt x="948" y="138"/>
                      </a:lnTo>
                      <a:lnTo>
                        <a:pt x="941" y="138"/>
                      </a:lnTo>
                      <a:close/>
                      <a:moveTo>
                        <a:pt x="58" y="128"/>
                      </a:moveTo>
                      <a:lnTo>
                        <a:pt x="61" y="128"/>
                      </a:lnTo>
                      <a:lnTo>
                        <a:pt x="63" y="130"/>
                      </a:lnTo>
                      <a:lnTo>
                        <a:pt x="65" y="133"/>
                      </a:lnTo>
                      <a:lnTo>
                        <a:pt x="65" y="133"/>
                      </a:lnTo>
                      <a:lnTo>
                        <a:pt x="64" y="134"/>
                      </a:lnTo>
                      <a:lnTo>
                        <a:pt x="62" y="137"/>
                      </a:lnTo>
                      <a:lnTo>
                        <a:pt x="59" y="138"/>
                      </a:lnTo>
                      <a:lnTo>
                        <a:pt x="58" y="139"/>
                      </a:lnTo>
                      <a:lnTo>
                        <a:pt x="56" y="140"/>
                      </a:lnTo>
                      <a:lnTo>
                        <a:pt x="55" y="140"/>
                      </a:lnTo>
                      <a:lnTo>
                        <a:pt x="55" y="140"/>
                      </a:lnTo>
                      <a:lnTo>
                        <a:pt x="54" y="140"/>
                      </a:lnTo>
                      <a:lnTo>
                        <a:pt x="53" y="141"/>
                      </a:lnTo>
                      <a:lnTo>
                        <a:pt x="53" y="143"/>
                      </a:lnTo>
                      <a:lnTo>
                        <a:pt x="52" y="144"/>
                      </a:lnTo>
                      <a:lnTo>
                        <a:pt x="51" y="144"/>
                      </a:lnTo>
                      <a:lnTo>
                        <a:pt x="50" y="144"/>
                      </a:lnTo>
                      <a:lnTo>
                        <a:pt x="48" y="143"/>
                      </a:lnTo>
                      <a:lnTo>
                        <a:pt x="47" y="141"/>
                      </a:lnTo>
                      <a:lnTo>
                        <a:pt x="47" y="140"/>
                      </a:lnTo>
                      <a:lnTo>
                        <a:pt x="48" y="138"/>
                      </a:lnTo>
                      <a:lnTo>
                        <a:pt x="48" y="137"/>
                      </a:lnTo>
                      <a:lnTo>
                        <a:pt x="50" y="136"/>
                      </a:lnTo>
                      <a:lnTo>
                        <a:pt x="51" y="136"/>
                      </a:lnTo>
                      <a:lnTo>
                        <a:pt x="52" y="136"/>
                      </a:lnTo>
                      <a:lnTo>
                        <a:pt x="53" y="137"/>
                      </a:lnTo>
                      <a:lnTo>
                        <a:pt x="53" y="137"/>
                      </a:lnTo>
                      <a:lnTo>
                        <a:pt x="54" y="137"/>
                      </a:lnTo>
                      <a:lnTo>
                        <a:pt x="55" y="136"/>
                      </a:lnTo>
                      <a:lnTo>
                        <a:pt x="56" y="136"/>
                      </a:lnTo>
                      <a:lnTo>
                        <a:pt x="57" y="136"/>
                      </a:lnTo>
                      <a:lnTo>
                        <a:pt x="57" y="134"/>
                      </a:lnTo>
                      <a:lnTo>
                        <a:pt x="56" y="133"/>
                      </a:lnTo>
                      <a:lnTo>
                        <a:pt x="55" y="131"/>
                      </a:lnTo>
                      <a:lnTo>
                        <a:pt x="56" y="130"/>
                      </a:lnTo>
                      <a:lnTo>
                        <a:pt x="57" y="128"/>
                      </a:lnTo>
                      <a:lnTo>
                        <a:pt x="58" y="128"/>
                      </a:lnTo>
                      <a:close/>
                      <a:moveTo>
                        <a:pt x="73" y="110"/>
                      </a:moveTo>
                      <a:lnTo>
                        <a:pt x="75" y="110"/>
                      </a:lnTo>
                      <a:lnTo>
                        <a:pt x="77" y="110"/>
                      </a:lnTo>
                      <a:lnTo>
                        <a:pt x="77" y="111"/>
                      </a:lnTo>
                      <a:lnTo>
                        <a:pt x="79" y="112"/>
                      </a:lnTo>
                      <a:lnTo>
                        <a:pt x="82" y="114"/>
                      </a:lnTo>
                      <a:lnTo>
                        <a:pt x="82" y="116"/>
                      </a:lnTo>
                      <a:lnTo>
                        <a:pt x="82" y="119"/>
                      </a:lnTo>
                      <a:lnTo>
                        <a:pt x="82" y="121"/>
                      </a:lnTo>
                      <a:lnTo>
                        <a:pt x="79" y="122"/>
                      </a:lnTo>
                      <a:lnTo>
                        <a:pt x="77" y="123"/>
                      </a:lnTo>
                      <a:lnTo>
                        <a:pt x="75" y="123"/>
                      </a:lnTo>
                      <a:lnTo>
                        <a:pt x="72" y="123"/>
                      </a:lnTo>
                      <a:lnTo>
                        <a:pt x="68" y="126"/>
                      </a:lnTo>
                      <a:lnTo>
                        <a:pt x="66" y="127"/>
                      </a:lnTo>
                      <a:lnTo>
                        <a:pt x="65" y="127"/>
                      </a:lnTo>
                      <a:lnTo>
                        <a:pt x="64" y="127"/>
                      </a:lnTo>
                      <a:lnTo>
                        <a:pt x="62" y="126"/>
                      </a:lnTo>
                      <a:lnTo>
                        <a:pt x="61" y="123"/>
                      </a:lnTo>
                      <a:lnTo>
                        <a:pt x="59" y="121"/>
                      </a:lnTo>
                      <a:lnTo>
                        <a:pt x="61" y="119"/>
                      </a:lnTo>
                      <a:lnTo>
                        <a:pt x="62" y="118"/>
                      </a:lnTo>
                      <a:lnTo>
                        <a:pt x="64" y="116"/>
                      </a:lnTo>
                      <a:lnTo>
                        <a:pt x="65" y="114"/>
                      </a:lnTo>
                      <a:lnTo>
                        <a:pt x="65" y="111"/>
                      </a:lnTo>
                      <a:lnTo>
                        <a:pt x="67" y="110"/>
                      </a:lnTo>
                      <a:lnTo>
                        <a:pt x="69" y="110"/>
                      </a:lnTo>
                      <a:lnTo>
                        <a:pt x="73" y="110"/>
                      </a:lnTo>
                      <a:close/>
                      <a:moveTo>
                        <a:pt x="399" y="109"/>
                      </a:moveTo>
                      <a:lnTo>
                        <a:pt x="402" y="110"/>
                      </a:lnTo>
                      <a:lnTo>
                        <a:pt x="404" y="111"/>
                      </a:lnTo>
                      <a:lnTo>
                        <a:pt x="406" y="115"/>
                      </a:lnTo>
                      <a:lnTo>
                        <a:pt x="407" y="118"/>
                      </a:lnTo>
                      <a:lnTo>
                        <a:pt x="408" y="122"/>
                      </a:lnTo>
                      <a:lnTo>
                        <a:pt x="406" y="125"/>
                      </a:lnTo>
                      <a:lnTo>
                        <a:pt x="404" y="126"/>
                      </a:lnTo>
                      <a:lnTo>
                        <a:pt x="402" y="128"/>
                      </a:lnTo>
                      <a:lnTo>
                        <a:pt x="401" y="130"/>
                      </a:lnTo>
                      <a:lnTo>
                        <a:pt x="399" y="132"/>
                      </a:lnTo>
                      <a:lnTo>
                        <a:pt x="399" y="134"/>
                      </a:lnTo>
                      <a:lnTo>
                        <a:pt x="396" y="137"/>
                      </a:lnTo>
                      <a:lnTo>
                        <a:pt x="394" y="137"/>
                      </a:lnTo>
                      <a:lnTo>
                        <a:pt x="393" y="134"/>
                      </a:lnTo>
                      <a:lnTo>
                        <a:pt x="392" y="132"/>
                      </a:lnTo>
                      <a:lnTo>
                        <a:pt x="392" y="129"/>
                      </a:lnTo>
                      <a:lnTo>
                        <a:pt x="392" y="127"/>
                      </a:lnTo>
                      <a:lnTo>
                        <a:pt x="392" y="125"/>
                      </a:lnTo>
                      <a:lnTo>
                        <a:pt x="391" y="121"/>
                      </a:lnTo>
                      <a:lnTo>
                        <a:pt x="391" y="119"/>
                      </a:lnTo>
                      <a:lnTo>
                        <a:pt x="391" y="117"/>
                      </a:lnTo>
                      <a:lnTo>
                        <a:pt x="392" y="115"/>
                      </a:lnTo>
                      <a:lnTo>
                        <a:pt x="394" y="111"/>
                      </a:lnTo>
                      <a:lnTo>
                        <a:pt x="396" y="110"/>
                      </a:lnTo>
                      <a:lnTo>
                        <a:pt x="399" y="109"/>
                      </a:lnTo>
                      <a:close/>
                      <a:moveTo>
                        <a:pt x="105" y="109"/>
                      </a:moveTo>
                      <a:lnTo>
                        <a:pt x="106" y="110"/>
                      </a:lnTo>
                      <a:lnTo>
                        <a:pt x="108" y="111"/>
                      </a:lnTo>
                      <a:lnTo>
                        <a:pt x="109" y="112"/>
                      </a:lnTo>
                      <a:lnTo>
                        <a:pt x="109" y="115"/>
                      </a:lnTo>
                      <a:lnTo>
                        <a:pt x="109" y="117"/>
                      </a:lnTo>
                      <a:lnTo>
                        <a:pt x="108" y="118"/>
                      </a:lnTo>
                      <a:lnTo>
                        <a:pt x="107" y="119"/>
                      </a:lnTo>
                      <a:lnTo>
                        <a:pt x="107" y="118"/>
                      </a:lnTo>
                      <a:lnTo>
                        <a:pt x="105" y="118"/>
                      </a:lnTo>
                      <a:lnTo>
                        <a:pt x="104" y="118"/>
                      </a:lnTo>
                      <a:lnTo>
                        <a:pt x="102" y="117"/>
                      </a:lnTo>
                      <a:lnTo>
                        <a:pt x="102" y="115"/>
                      </a:lnTo>
                      <a:lnTo>
                        <a:pt x="102" y="114"/>
                      </a:lnTo>
                      <a:lnTo>
                        <a:pt x="102" y="112"/>
                      </a:lnTo>
                      <a:lnTo>
                        <a:pt x="102" y="110"/>
                      </a:lnTo>
                      <a:lnTo>
                        <a:pt x="104" y="109"/>
                      </a:lnTo>
                      <a:lnTo>
                        <a:pt x="105" y="109"/>
                      </a:lnTo>
                      <a:close/>
                      <a:moveTo>
                        <a:pt x="2451" y="90"/>
                      </a:moveTo>
                      <a:lnTo>
                        <a:pt x="2455" y="97"/>
                      </a:lnTo>
                      <a:lnTo>
                        <a:pt x="2458" y="105"/>
                      </a:lnTo>
                      <a:lnTo>
                        <a:pt x="2459" y="111"/>
                      </a:lnTo>
                      <a:lnTo>
                        <a:pt x="2462" y="118"/>
                      </a:lnTo>
                      <a:lnTo>
                        <a:pt x="2461" y="125"/>
                      </a:lnTo>
                      <a:lnTo>
                        <a:pt x="2458" y="130"/>
                      </a:lnTo>
                      <a:lnTo>
                        <a:pt x="2456" y="134"/>
                      </a:lnTo>
                      <a:lnTo>
                        <a:pt x="2456" y="155"/>
                      </a:lnTo>
                      <a:lnTo>
                        <a:pt x="2456" y="159"/>
                      </a:lnTo>
                      <a:lnTo>
                        <a:pt x="2456" y="162"/>
                      </a:lnTo>
                      <a:lnTo>
                        <a:pt x="2455" y="164"/>
                      </a:lnTo>
                      <a:lnTo>
                        <a:pt x="2455" y="166"/>
                      </a:lnTo>
                      <a:lnTo>
                        <a:pt x="2454" y="169"/>
                      </a:lnTo>
                      <a:lnTo>
                        <a:pt x="2452" y="174"/>
                      </a:lnTo>
                      <a:lnTo>
                        <a:pt x="2451" y="181"/>
                      </a:lnTo>
                      <a:lnTo>
                        <a:pt x="2448" y="187"/>
                      </a:lnTo>
                      <a:lnTo>
                        <a:pt x="2447" y="192"/>
                      </a:lnTo>
                      <a:lnTo>
                        <a:pt x="2444" y="194"/>
                      </a:lnTo>
                      <a:lnTo>
                        <a:pt x="2441" y="192"/>
                      </a:lnTo>
                      <a:lnTo>
                        <a:pt x="2440" y="191"/>
                      </a:lnTo>
                      <a:lnTo>
                        <a:pt x="2440" y="188"/>
                      </a:lnTo>
                      <a:lnTo>
                        <a:pt x="2438" y="186"/>
                      </a:lnTo>
                      <a:lnTo>
                        <a:pt x="2438" y="185"/>
                      </a:lnTo>
                      <a:lnTo>
                        <a:pt x="2437" y="185"/>
                      </a:lnTo>
                      <a:lnTo>
                        <a:pt x="2436" y="185"/>
                      </a:lnTo>
                      <a:lnTo>
                        <a:pt x="2434" y="188"/>
                      </a:lnTo>
                      <a:lnTo>
                        <a:pt x="2432" y="190"/>
                      </a:lnTo>
                      <a:lnTo>
                        <a:pt x="2431" y="191"/>
                      </a:lnTo>
                      <a:lnTo>
                        <a:pt x="2429" y="188"/>
                      </a:lnTo>
                      <a:lnTo>
                        <a:pt x="2425" y="185"/>
                      </a:lnTo>
                      <a:lnTo>
                        <a:pt x="2423" y="178"/>
                      </a:lnTo>
                      <a:lnTo>
                        <a:pt x="2422" y="171"/>
                      </a:lnTo>
                      <a:lnTo>
                        <a:pt x="2425" y="164"/>
                      </a:lnTo>
                      <a:lnTo>
                        <a:pt x="2426" y="162"/>
                      </a:lnTo>
                      <a:lnTo>
                        <a:pt x="2426" y="160"/>
                      </a:lnTo>
                      <a:lnTo>
                        <a:pt x="2427" y="156"/>
                      </a:lnTo>
                      <a:lnTo>
                        <a:pt x="2427" y="153"/>
                      </a:lnTo>
                      <a:lnTo>
                        <a:pt x="2429" y="151"/>
                      </a:lnTo>
                      <a:lnTo>
                        <a:pt x="2429" y="149"/>
                      </a:lnTo>
                      <a:lnTo>
                        <a:pt x="2430" y="147"/>
                      </a:lnTo>
                      <a:lnTo>
                        <a:pt x="2431" y="145"/>
                      </a:lnTo>
                      <a:lnTo>
                        <a:pt x="2431" y="142"/>
                      </a:lnTo>
                      <a:lnTo>
                        <a:pt x="2429" y="140"/>
                      </a:lnTo>
                      <a:lnTo>
                        <a:pt x="2426" y="137"/>
                      </a:lnTo>
                      <a:lnTo>
                        <a:pt x="2424" y="133"/>
                      </a:lnTo>
                      <a:lnTo>
                        <a:pt x="2423" y="130"/>
                      </a:lnTo>
                      <a:lnTo>
                        <a:pt x="2423" y="128"/>
                      </a:lnTo>
                      <a:lnTo>
                        <a:pt x="2423" y="126"/>
                      </a:lnTo>
                      <a:lnTo>
                        <a:pt x="2424" y="122"/>
                      </a:lnTo>
                      <a:lnTo>
                        <a:pt x="2424" y="120"/>
                      </a:lnTo>
                      <a:lnTo>
                        <a:pt x="2426" y="118"/>
                      </a:lnTo>
                      <a:lnTo>
                        <a:pt x="2427" y="116"/>
                      </a:lnTo>
                      <a:lnTo>
                        <a:pt x="2429" y="116"/>
                      </a:lnTo>
                      <a:lnTo>
                        <a:pt x="2431" y="115"/>
                      </a:lnTo>
                      <a:lnTo>
                        <a:pt x="2433" y="114"/>
                      </a:lnTo>
                      <a:lnTo>
                        <a:pt x="2434" y="112"/>
                      </a:lnTo>
                      <a:lnTo>
                        <a:pt x="2435" y="112"/>
                      </a:lnTo>
                      <a:lnTo>
                        <a:pt x="2436" y="114"/>
                      </a:lnTo>
                      <a:lnTo>
                        <a:pt x="2437" y="116"/>
                      </a:lnTo>
                      <a:lnTo>
                        <a:pt x="2438" y="118"/>
                      </a:lnTo>
                      <a:lnTo>
                        <a:pt x="2441" y="121"/>
                      </a:lnTo>
                      <a:lnTo>
                        <a:pt x="2442" y="123"/>
                      </a:lnTo>
                      <a:lnTo>
                        <a:pt x="2443" y="125"/>
                      </a:lnTo>
                      <a:lnTo>
                        <a:pt x="2443" y="125"/>
                      </a:lnTo>
                      <a:lnTo>
                        <a:pt x="2443" y="123"/>
                      </a:lnTo>
                      <a:lnTo>
                        <a:pt x="2443" y="122"/>
                      </a:lnTo>
                      <a:lnTo>
                        <a:pt x="2443" y="121"/>
                      </a:lnTo>
                      <a:lnTo>
                        <a:pt x="2443" y="120"/>
                      </a:lnTo>
                      <a:lnTo>
                        <a:pt x="2443" y="118"/>
                      </a:lnTo>
                      <a:lnTo>
                        <a:pt x="2443" y="118"/>
                      </a:lnTo>
                      <a:lnTo>
                        <a:pt x="2443" y="109"/>
                      </a:lnTo>
                      <a:lnTo>
                        <a:pt x="2443" y="107"/>
                      </a:lnTo>
                      <a:lnTo>
                        <a:pt x="2443" y="106"/>
                      </a:lnTo>
                      <a:lnTo>
                        <a:pt x="2442" y="105"/>
                      </a:lnTo>
                      <a:lnTo>
                        <a:pt x="2440" y="104"/>
                      </a:lnTo>
                      <a:lnTo>
                        <a:pt x="2438" y="104"/>
                      </a:lnTo>
                      <a:lnTo>
                        <a:pt x="2440" y="100"/>
                      </a:lnTo>
                      <a:lnTo>
                        <a:pt x="2440" y="98"/>
                      </a:lnTo>
                      <a:lnTo>
                        <a:pt x="2441" y="97"/>
                      </a:lnTo>
                      <a:lnTo>
                        <a:pt x="2442" y="96"/>
                      </a:lnTo>
                      <a:lnTo>
                        <a:pt x="2443" y="95"/>
                      </a:lnTo>
                      <a:lnTo>
                        <a:pt x="2444" y="95"/>
                      </a:lnTo>
                      <a:lnTo>
                        <a:pt x="2446" y="95"/>
                      </a:lnTo>
                      <a:lnTo>
                        <a:pt x="2448" y="93"/>
                      </a:lnTo>
                      <a:lnTo>
                        <a:pt x="2451" y="90"/>
                      </a:lnTo>
                      <a:close/>
                      <a:moveTo>
                        <a:pt x="87" y="85"/>
                      </a:moveTo>
                      <a:lnTo>
                        <a:pt x="88" y="85"/>
                      </a:lnTo>
                      <a:lnTo>
                        <a:pt x="90" y="86"/>
                      </a:lnTo>
                      <a:lnTo>
                        <a:pt x="91" y="87"/>
                      </a:lnTo>
                      <a:lnTo>
                        <a:pt x="93" y="88"/>
                      </a:lnTo>
                      <a:lnTo>
                        <a:pt x="94" y="89"/>
                      </a:lnTo>
                      <a:lnTo>
                        <a:pt x="94" y="92"/>
                      </a:lnTo>
                      <a:lnTo>
                        <a:pt x="95" y="94"/>
                      </a:lnTo>
                      <a:lnTo>
                        <a:pt x="96" y="95"/>
                      </a:lnTo>
                      <a:lnTo>
                        <a:pt x="97" y="97"/>
                      </a:lnTo>
                      <a:lnTo>
                        <a:pt x="99" y="97"/>
                      </a:lnTo>
                      <a:lnTo>
                        <a:pt x="99" y="98"/>
                      </a:lnTo>
                      <a:lnTo>
                        <a:pt x="100" y="99"/>
                      </a:lnTo>
                      <a:lnTo>
                        <a:pt x="100" y="101"/>
                      </a:lnTo>
                      <a:lnTo>
                        <a:pt x="100" y="104"/>
                      </a:lnTo>
                      <a:lnTo>
                        <a:pt x="99" y="104"/>
                      </a:lnTo>
                      <a:lnTo>
                        <a:pt x="97" y="104"/>
                      </a:lnTo>
                      <a:lnTo>
                        <a:pt x="96" y="104"/>
                      </a:lnTo>
                      <a:lnTo>
                        <a:pt x="94" y="103"/>
                      </a:lnTo>
                      <a:lnTo>
                        <a:pt x="93" y="103"/>
                      </a:lnTo>
                      <a:lnTo>
                        <a:pt x="90" y="101"/>
                      </a:lnTo>
                      <a:lnTo>
                        <a:pt x="89" y="100"/>
                      </a:lnTo>
                      <a:lnTo>
                        <a:pt x="89" y="99"/>
                      </a:lnTo>
                      <a:lnTo>
                        <a:pt x="88" y="99"/>
                      </a:lnTo>
                      <a:lnTo>
                        <a:pt x="87" y="100"/>
                      </a:lnTo>
                      <a:lnTo>
                        <a:pt x="87" y="101"/>
                      </a:lnTo>
                      <a:lnTo>
                        <a:pt x="86" y="104"/>
                      </a:lnTo>
                      <a:lnTo>
                        <a:pt x="86" y="106"/>
                      </a:lnTo>
                      <a:lnTo>
                        <a:pt x="86" y="107"/>
                      </a:lnTo>
                      <a:lnTo>
                        <a:pt x="86" y="109"/>
                      </a:lnTo>
                      <a:lnTo>
                        <a:pt x="85" y="109"/>
                      </a:lnTo>
                      <a:lnTo>
                        <a:pt x="83" y="109"/>
                      </a:lnTo>
                      <a:lnTo>
                        <a:pt x="82" y="108"/>
                      </a:lnTo>
                      <a:lnTo>
                        <a:pt x="80" y="107"/>
                      </a:lnTo>
                      <a:lnTo>
                        <a:pt x="79" y="106"/>
                      </a:lnTo>
                      <a:lnTo>
                        <a:pt x="78" y="106"/>
                      </a:lnTo>
                      <a:lnTo>
                        <a:pt x="77" y="106"/>
                      </a:lnTo>
                      <a:lnTo>
                        <a:pt x="76" y="105"/>
                      </a:lnTo>
                      <a:lnTo>
                        <a:pt x="75" y="105"/>
                      </a:lnTo>
                      <a:lnTo>
                        <a:pt x="74" y="104"/>
                      </a:lnTo>
                      <a:lnTo>
                        <a:pt x="75" y="100"/>
                      </a:lnTo>
                      <a:lnTo>
                        <a:pt x="75" y="99"/>
                      </a:lnTo>
                      <a:lnTo>
                        <a:pt x="75" y="98"/>
                      </a:lnTo>
                      <a:lnTo>
                        <a:pt x="76" y="97"/>
                      </a:lnTo>
                      <a:lnTo>
                        <a:pt x="78" y="97"/>
                      </a:lnTo>
                      <a:lnTo>
                        <a:pt x="79" y="96"/>
                      </a:lnTo>
                      <a:lnTo>
                        <a:pt x="82" y="95"/>
                      </a:lnTo>
                      <a:lnTo>
                        <a:pt x="84" y="93"/>
                      </a:lnTo>
                      <a:lnTo>
                        <a:pt x="85" y="89"/>
                      </a:lnTo>
                      <a:lnTo>
                        <a:pt x="85" y="87"/>
                      </a:lnTo>
                      <a:lnTo>
                        <a:pt x="86" y="86"/>
                      </a:lnTo>
                      <a:lnTo>
                        <a:pt x="87" y="85"/>
                      </a:lnTo>
                      <a:close/>
                      <a:moveTo>
                        <a:pt x="389" y="72"/>
                      </a:moveTo>
                      <a:lnTo>
                        <a:pt x="389" y="73"/>
                      </a:lnTo>
                      <a:lnTo>
                        <a:pt x="391" y="74"/>
                      </a:lnTo>
                      <a:lnTo>
                        <a:pt x="393" y="75"/>
                      </a:lnTo>
                      <a:lnTo>
                        <a:pt x="395" y="76"/>
                      </a:lnTo>
                      <a:lnTo>
                        <a:pt x="397" y="77"/>
                      </a:lnTo>
                      <a:lnTo>
                        <a:pt x="400" y="78"/>
                      </a:lnTo>
                      <a:lnTo>
                        <a:pt x="402" y="83"/>
                      </a:lnTo>
                      <a:lnTo>
                        <a:pt x="403" y="87"/>
                      </a:lnTo>
                      <a:lnTo>
                        <a:pt x="405" y="92"/>
                      </a:lnTo>
                      <a:lnTo>
                        <a:pt x="405" y="93"/>
                      </a:lnTo>
                      <a:lnTo>
                        <a:pt x="405" y="95"/>
                      </a:lnTo>
                      <a:lnTo>
                        <a:pt x="406" y="97"/>
                      </a:lnTo>
                      <a:lnTo>
                        <a:pt x="406" y="99"/>
                      </a:lnTo>
                      <a:lnTo>
                        <a:pt x="406" y="101"/>
                      </a:lnTo>
                      <a:lnTo>
                        <a:pt x="406" y="103"/>
                      </a:lnTo>
                      <a:lnTo>
                        <a:pt x="405" y="103"/>
                      </a:lnTo>
                      <a:lnTo>
                        <a:pt x="403" y="104"/>
                      </a:lnTo>
                      <a:lnTo>
                        <a:pt x="402" y="104"/>
                      </a:lnTo>
                      <a:lnTo>
                        <a:pt x="401" y="103"/>
                      </a:lnTo>
                      <a:lnTo>
                        <a:pt x="400" y="103"/>
                      </a:lnTo>
                      <a:lnTo>
                        <a:pt x="399" y="101"/>
                      </a:lnTo>
                      <a:lnTo>
                        <a:pt x="397" y="103"/>
                      </a:lnTo>
                      <a:lnTo>
                        <a:pt x="396" y="103"/>
                      </a:lnTo>
                      <a:lnTo>
                        <a:pt x="394" y="105"/>
                      </a:lnTo>
                      <a:lnTo>
                        <a:pt x="393" y="106"/>
                      </a:lnTo>
                      <a:lnTo>
                        <a:pt x="392" y="107"/>
                      </a:lnTo>
                      <a:lnTo>
                        <a:pt x="390" y="108"/>
                      </a:lnTo>
                      <a:lnTo>
                        <a:pt x="388" y="108"/>
                      </a:lnTo>
                      <a:lnTo>
                        <a:pt x="385" y="107"/>
                      </a:lnTo>
                      <a:lnTo>
                        <a:pt x="386" y="103"/>
                      </a:lnTo>
                      <a:lnTo>
                        <a:pt x="388" y="98"/>
                      </a:lnTo>
                      <a:lnTo>
                        <a:pt x="389" y="94"/>
                      </a:lnTo>
                      <a:lnTo>
                        <a:pt x="388" y="88"/>
                      </a:lnTo>
                      <a:lnTo>
                        <a:pt x="385" y="83"/>
                      </a:lnTo>
                      <a:lnTo>
                        <a:pt x="385" y="77"/>
                      </a:lnTo>
                      <a:lnTo>
                        <a:pt x="389" y="72"/>
                      </a:lnTo>
                      <a:close/>
                      <a:moveTo>
                        <a:pt x="368" y="46"/>
                      </a:moveTo>
                      <a:lnTo>
                        <a:pt x="369" y="47"/>
                      </a:lnTo>
                      <a:lnTo>
                        <a:pt x="370" y="47"/>
                      </a:lnTo>
                      <a:lnTo>
                        <a:pt x="370" y="47"/>
                      </a:lnTo>
                      <a:lnTo>
                        <a:pt x="370" y="49"/>
                      </a:lnTo>
                      <a:lnTo>
                        <a:pt x="370" y="50"/>
                      </a:lnTo>
                      <a:lnTo>
                        <a:pt x="369" y="51"/>
                      </a:lnTo>
                      <a:lnTo>
                        <a:pt x="368" y="52"/>
                      </a:lnTo>
                      <a:lnTo>
                        <a:pt x="366" y="51"/>
                      </a:lnTo>
                      <a:lnTo>
                        <a:pt x="364" y="50"/>
                      </a:lnTo>
                      <a:lnTo>
                        <a:pt x="363" y="49"/>
                      </a:lnTo>
                      <a:lnTo>
                        <a:pt x="364" y="47"/>
                      </a:lnTo>
                      <a:lnTo>
                        <a:pt x="366" y="46"/>
                      </a:lnTo>
                      <a:lnTo>
                        <a:pt x="368" y="46"/>
                      </a:lnTo>
                      <a:close/>
                      <a:moveTo>
                        <a:pt x="22" y="46"/>
                      </a:moveTo>
                      <a:lnTo>
                        <a:pt x="23" y="46"/>
                      </a:lnTo>
                      <a:lnTo>
                        <a:pt x="24" y="47"/>
                      </a:lnTo>
                      <a:lnTo>
                        <a:pt x="25" y="49"/>
                      </a:lnTo>
                      <a:lnTo>
                        <a:pt x="28" y="49"/>
                      </a:lnTo>
                      <a:lnTo>
                        <a:pt x="28" y="50"/>
                      </a:lnTo>
                      <a:lnTo>
                        <a:pt x="26" y="51"/>
                      </a:lnTo>
                      <a:lnTo>
                        <a:pt x="25" y="52"/>
                      </a:lnTo>
                      <a:lnTo>
                        <a:pt x="23" y="52"/>
                      </a:lnTo>
                      <a:lnTo>
                        <a:pt x="22" y="52"/>
                      </a:lnTo>
                      <a:lnTo>
                        <a:pt x="20" y="51"/>
                      </a:lnTo>
                      <a:lnTo>
                        <a:pt x="19" y="50"/>
                      </a:lnTo>
                      <a:lnTo>
                        <a:pt x="19" y="47"/>
                      </a:lnTo>
                      <a:lnTo>
                        <a:pt x="20" y="46"/>
                      </a:lnTo>
                      <a:lnTo>
                        <a:pt x="21" y="46"/>
                      </a:lnTo>
                      <a:lnTo>
                        <a:pt x="22" y="46"/>
                      </a:lnTo>
                      <a:close/>
                      <a:moveTo>
                        <a:pt x="3068" y="35"/>
                      </a:moveTo>
                      <a:lnTo>
                        <a:pt x="3068" y="155"/>
                      </a:lnTo>
                      <a:lnTo>
                        <a:pt x="3060" y="253"/>
                      </a:lnTo>
                      <a:lnTo>
                        <a:pt x="3046" y="349"/>
                      </a:lnTo>
                      <a:lnTo>
                        <a:pt x="3027" y="444"/>
                      </a:lnTo>
                      <a:lnTo>
                        <a:pt x="3002" y="535"/>
                      </a:lnTo>
                      <a:lnTo>
                        <a:pt x="3002" y="533"/>
                      </a:lnTo>
                      <a:lnTo>
                        <a:pt x="3000" y="532"/>
                      </a:lnTo>
                      <a:lnTo>
                        <a:pt x="2999" y="533"/>
                      </a:lnTo>
                      <a:lnTo>
                        <a:pt x="2998" y="534"/>
                      </a:lnTo>
                      <a:lnTo>
                        <a:pt x="2998" y="535"/>
                      </a:lnTo>
                      <a:lnTo>
                        <a:pt x="2998" y="537"/>
                      </a:lnTo>
                      <a:lnTo>
                        <a:pt x="2994" y="541"/>
                      </a:lnTo>
                      <a:lnTo>
                        <a:pt x="2992" y="544"/>
                      </a:lnTo>
                      <a:lnTo>
                        <a:pt x="2989" y="546"/>
                      </a:lnTo>
                      <a:lnTo>
                        <a:pt x="2987" y="548"/>
                      </a:lnTo>
                      <a:lnTo>
                        <a:pt x="2983" y="549"/>
                      </a:lnTo>
                      <a:lnTo>
                        <a:pt x="2981" y="553"/>
                      </a:lnTo>
                      <a:lnTo>
                        <a:pt x="2980" y="555"/>
                      </a:lnTo>
                      <a:lnTo>
                        <a:pt x="2978" y="558"/>
                      </a:lnTo>
                      <a:lnTo>
                        <a:pt x="2976" y="562"/>
                      </a:lnTo>
                      <a:lnTo>
                        <a:pt x="2974" y="564"/>
                      </a:lnTo>
                      <a:lnTo>
                        <a:pt x="2971" y="567"/>
                      </a:lnTo>
                      <a:lnTo>
                        <a:pt x="2969" y="570"/>
                      </a:lnTo>
                      <a:lnTo>
                        <a:pt x="2967" y="573"/>
                      </a:lnTo>
                      <a:lnTo>
                        <a:pt x="2967" y="575"/>
                      </a:lnTo>
                      <a:lnTo>
                        <a:pt x="2966" y="577"/>
                      </a:lnTo>
                      <a:lnTo>
                        <a:pt x="2965" y="579"/>
                      </a:lnTo>
                      <a:lnTo>
                        <a:pt x="2963" y="583"/>
                      </a:lnTo>
                      <a:lnTo>
                        <a:pt x="2959" y="586"/>
                      </a:lnTo>
                      <a:lnTo>
                        <a:pt x="2958" y="588"/>
                      </a:lnTo>
                      <a:lnTo>
                        <a:pt x="2956" y="590"/>
                      </a:lnTo>
                      <a:lnTo>
                        <a:pt x="2955" y="592"/>
                      </a:lnTo>
                      <a:lnTo>
                        <a:pt x="2953" y="595"/>
                      </a:lnTo>
                      <a:lnTo>
                        <a:pt x="2952" y="598"/>
                      </a:lnTo>
                      <a:lnTo>
                        <a:pt x="2949" y="602"/>
                      </a:lnTo>
                      <a:lnTo>
                        <a:pt x="2947" y="607"/>
                      </a:lnTo>
                      <a:lnTo>
                        <a:pt x="2945" y="610"/>
                      </a:lnTo>
                      <a:lnTo>
                        <a:pt x="2942" y="612"/>
                      </a:lnTo>
                      <a:lnTo>
                        <a:pt x="2941" y="614"/>
                      </a:lnTo>
                      <a:lnTo>
                        <a:pt x="2938" y="617"/>
                      </a:lnTo>
                      <a:lnTo>
                        <a:pt x="2936" y="620"/>
                      </a:lnTo>
                      <a:lnTo>
                        <a:pt x="2934" y="623"/>
                      </a:lnTo>
                      <a:lnTo>
                        <a:pt x="2933" y="628"/>
                      </a:lnTo>
                      <a:lnTo>
                        <a:pt x="2932" y="630"/>
                      </a:lnTo>
                      <a:lnTo>
                        <a:pt x="2932" y="633"/>
                      </a:lnTo>
                      <a:lnTo>
                        <a:pt x="2931" y="635"/>
                      </a:lnTo>
                      <a:lnTo>
                        <a:pt x="2931" y="638"/>
                      </a:lnTo>
                      <a:lnTo>
                        <a:pt x="2931" y="640"/>
                      </a:lnTo>
                      <a:lnTo>
                        <a:pt x="2932" y="640"/>
                      </a:lnTo>
                      <a:lnTo>
                        <a:pt x="2932" y="641"/>
                      </a:lnTo>
                      <a:lnTo>
                        <a:pt x="2933" y="642"/>
                      </a:lnTo>
                      <a:lnTo>
                        <a:pt x="2933" y="644"/>
                      </a:lnTo>
                      <a:lnTo>
                        <a:pt x="2932" y="646"/>
                      </a:lnTo>
                      <a:lnTo>
                        <a:pt x="2931" y="650"/>
                      </a:lnTo>
                      <a:lnTo>
                        <a:pt x="2929" y="652"/>
                      </a:lnTo>
                      <a:lnTo>
                        <a:pt x="2928" y="653"/>
                      </a:lnTo>
                      <a:lnTo>
                        <a:pt x="2927" y="656"/>
                      </a:lnTo>
                      <a:lnTo>
                        <a:pt x="2926" y="658"/>
                      </a:lnTo>
                      <a:lnTo>
                        <a:pt x="2925" y="662"/>
                      </a:lnTo>
                      <a:lnTo>
                        <a:pt x="2924" y="664"/>
                      </a:lnTo>
                      <a:lnTo>
                        <a:pt x="2922" y="668"/>
                      </a:lnTo>
                      <a:lnTo>
                        <a:pt x="2921" y="671"/>
                      </a:lnTo>
                      <a:lnTo>
                        <a:pt x="2920" y="673"/>
                      </a:lnTo>
                      <a:lnTo>
                        <a:pt x="2918" y="676"/>
                      </a:lnTo>
                      <a:lnTo>
                        <a:pt x="2917" y="678"/>
                      </a:lnTo>
                      <a:lnTo>
                        <a:pt x="2917" y="682"/>
                      </a:lnTo>
                      <a:lnTo>
                        <a:pt x="2915" y="684"/>
                      </a:lnTo>
                      <a:lnTo>
                        <a:pt x="2915" y="685"/>
                      </a:lnTo>
                      <a:lnTo>
                        <a:pt x="2915" y="687"/>
                      </a:lnTo>
                      <a:lnTo>
                        <a:pt x="2914" y="690"/>
                      </a:lnTo>
                      <a:lnTo>
                        <a:pt x="2913" y="693"/>
                      </a:lnTo>
                      <a:lnTo>
                        <a:pt x="2911" y="696"/>
                      </a:lnTo>
                      <a:lnTo>
                        <a:pt x="2910" y="698"/>
                      </a:lnTo>
                      <a:lnTo>
                        <a:pt x="2909" y="699"/>
                      </a:lnTo>
                      <a:lnTo>
                        <a:pt x="2907" y="700"/>
                      </a:lnTo>
                      <a:lnTo>
                        <a:pt x="2906" y="699"/>
                      </a:lnTo>
                      <a:lnTo>
                        <a:pt x="2906" y="699"/>
                      </a:lnTo>
                      <a:lnTo>
                        <a:pt x="2905" y="698"/>
                      </a:lnTo>
                      <a:lnTo>
                        <a:pt x="2906" y="696"/>
                      </a:lnTo>
                      <a:lnTo>
                        <a:pt x="2906" y="695"/>
                      </a:lnTo>
                      <a:lnTo>
                        <a:pt x="2906" y="693"/>
                      </a:lnTo>
                      <a:lnTo>
                        <a:pt x="2905" y="690"/>
                      </a:lnTo>
                      <a:lnTo>
                        <a:pt x="2905" y="687"/>
                      </a:lnTo>
                      <a:lnTo>
                        <a:pt x="2904" y="685"/>
                      </a:lnTo>
                      <a:lnTo>
                        <a:pt x="2904" y="682"/>
                      </a:lnTo>
                      <a:lnTo>
                        <a:pt x="2904" y="660"/>
                      </a:lnTo>
                      <a:lnTo>
                        <a:pt x="2903" y="650"/>
                      </a:lnTo>
                      <a:lnTo>
                        <a:pt x="2902" y="638"/>
                      </a:lnTo>
                      <a:lnTo>
                        <a:pt x="2902" y="627"/>
                      </a:lnTo>
                      <a:lnTo>
                        <a:pt x="2902" y="614"/>
                      </a:lnTo>
                      <a:lnTo>
                        <a:pt x="2902" y="610"/>
                      </a:lnTo>
                      <a:lnTo>
                        <a:pt x="2903" y="606"/>
                      </a:lnTo>
                      <a:lnTo>
                        <a:pt x="2904" y="601"/>
                      </a:lnTo>
                      <a:lnTo>
                        <a:pt x="2904" y="590"/>
                      </a:lnTo>
                      <a:lnTo>
                        <a:pt x="2905" y="585"/>
                      </a:lnTo>
                      <a:lnTo>
                        <a:pt x="2905" y="581"/>
                      </a:lnTo>
                      <a:lnTo>
                        <a:pt x="2906" y="577"/>
                      </a:lnTo>
                      <a:lnTo>
                        <a:pt x="2906" y="573"/>
                      </a:lnTo>
                      <a:lnTo>
                        <a:pt x="2906" y="572"/>
                      </a:lnTo>
                      <a:lnTo>
                        <a:pt x="2906" y="569"/>
                      </a:lnTo>
                      <a:lnTo>
                        <a:pt x="2906" y="568"/>
                      </a:lnTo>
                      <a:lnTo>
                        <a:pt x="2905" y="567"/>
                      </a:lnTo>
                      <a:lnTo>
                        <a:pt x="2905" y="567"/>
                      </a:lnTo>
                      <a:lnTo>
                        <a:pt x="2904" y="568"/>
                      </a:lnTo>
                      <a:lnTo>
                        <a:pt x="2904" y="570"/>
                      </a:lnTo>
                      <a:lnTo>
                        <a:pt x="2902" y="575"/>
                      </a:lnTo>
                      <a:lnTo>
                        <a:pt x="2900" y="578"/>
                      </a:lnTo>
                      <a:lnTo>
                        <a:pt x="2898" y="579"/>
                      </a:lnTo>
                      <a:lnTo>
                        <a:pt x="2895" y="580"/>
                      </a:lnTo>
                      <a:lnTo>
                        <a:pt x="2893" y="581"/>
                      </a:lnTo>
                      <a:lnTo>
                        <a:pt x="2892" y="581"/>
                      </a:lnTo>
                      <a:lnTo>
                        <a:pt x="2891" y="580"/>
                      </a:lnTo>
                      <a:lnTo>
                        <a:pt x="2890" y="579"/>
                      </a:lnTo>
                      <a:lnTo>
                        <a:pt x="2890" y="577"/>
                      </a:lnTo>
                      <a:lnTo>
                        <a:pt x="2889" y="575"/>
                      </a:lnTo>
                      <a:lnTo>
                        <a:pt x="2889" y="573"/>
                      </a:lnTo>
                      <a:lnTo>
                        <a:pt x="2889" y="570"/>
                      </a:lnTo>
                      <a:lnTo>
                        <a:pt x="2889" y="559"/>
                      </a:lnTo>
                      <a:lnTo>
                        <a:pt x="2889" y="557"/>
                      </a:lnTo>
                      <a:lnTo>
                        <a:pt x="2889" y="555"/>
                      </a:lnTo>
                      <a:lnTo>
                        <a:pt x="2887" y="553"/>
                      </a:lnTo>
                      <a:lnTo>
                        <a:pt x="2887" y="552"/>
                      </a:lnTo>
                      <a:lnTo>
                        <a:pt x="2887" y="551"/>
                      </a:lnTo>
                      <a:lnTo>
                        <a:pt x="2887" y="549"/>
                      </a:lnTo>
                      <a:lnTo>
                        <a:pt x="2885" y="548"/>
                      </a:lnTo>
                      <a:lnTo>
                        <a:pt x="2884" y="548"/>
                      </a:lnTo>
                      <a:lnTo>
                        <a:pt x="2883" y="546"/>
                      </a:lnTo>
                      <a:lnTo>
                        <a:pt x="2882" y="544"/>
                      </a:lnTo>
                      <a:lnTo>
                        <a:pt x="2882" y="542"/>
                      </a:lnTo>
                      <a:lnTo>
                        <a:pt x="2882" y="540"/>
                      </a:lnTo>
                      <a:lnTo>
                        <a:pt x="2882" y="538"/>
                      </a:lnTo>
                      <a:lnTo>
                        <a:pt x="2882" y="536"/>
                      </a:lnTo>
                      <a:lnTo>
                        <a:pt x="2881" y="535"/>
                      </a:lnTo>
                      <a:lnTo>
                        <a:pt x="2880" y="535"/>
                      </a:lnTo>
                      <a:lnTo>
                        <a:pt x="2878" y="535"/>
                      </a:lnTo>
                      <a:lnTo>
                        <a:pt x="2876" y="537"/>
                      </a:lnTo>
                      <a:lnTo>
                        <a:pt x="2873" y="540"/>
                      </a:lnTo>
                      <a:lnTo>
                        <a:pt x="2871" y="540"/>
                      </a:lnTo>
                      <a:lnTo>
                        <a:pt x="2869" y="540"/>
                      </a:lnTo>
                      <a:lnTo>
                        <a:pt x="2867" y="542"/>
                      </a:lnTo>
                      <a:lnTo>
                        <a:pt x="2865" y="542"/>
                      </a:lnTo>
                      <a:lnTo>
                        <a:pt x="2862" y="543"/>
                      </a:lnTo>
                      <a:lnTo>
                        <a:pt x="2860" y="544"/>
                      </a:lnTo>
                      <a:lnTo>
                        <a:pt x="2851" y="544"/>
                      </a:lnTo>
                      <a:lnTo>
                        <a:pt x="2849" y="544"/>
                      </a:lnTo>
                      <a:lnTo>
                        <a:pt x="2847" y="545"/>
                      </a:lnTo>
                      <a:lnTo>
                        <a:pt x="2845" y="546"/>
                      </a:lnTo>
                      <a:lnTo>
                        <a:pt x="2844" y="546"/>
                      </a:lnTo>
                      <a:lnTo>
                        <a:pt x="2843" y="546"/>
                      </a:lnTo>
                      <a:lnTo>
                        <a:pt x="2841" y="547"/>
                      </a:lnTo>
                      <a:lnTo>
                        <a:pt x="2840" y="547"/>
                      </a:lnTo>
                      <a:lnTo>
                        <a:pt x="2839" y="547"/>
                      </a:lnTo>
                      <a:lnTo>
                        <a:pt x="2838" y="546"/>
                      </a:lnTo>
                      <a:lnTo>
                        <a:pt x="2838" y="544"/>
                      </a:lnTo>
                      <a:lnTo>
                        <a:pt x="2838" y="542"/>
                      </a:lnTo>
                      <a:lnTo>
                        <a:pt x="2838" y="538"/>
                      </a:lnTo>
                      <a:lnTo>
                        <a:pt x="2838" y="535"/>
                      </a:lnTo>
                      <a:lnTo>
                        <a:pt x="2838" y="532"/>
                      </a:lnTo>
                      <a:lnTo>
                        <a:pt x="2837" y="530"/>
                      </a:lnTo>
                      <a:lnTo>
                        <a:pt x="2837" y="529"/>
                      </a:lnTo>
                      <a:lnTo>
                        <a:pt x="2836" y="529"/>
                      </a:lnTo>
                      <a:lnTo>
                        <a:pt x="2835" y="529"/>
                      </a:lnTo>
                      <a:lnTo>
                        <a:pt x="2834" y="530"/>
                      </a:lnTo>
                      <a:lnTo>
                        <a:pt x="2834" y="532"/>
                      </a:lnTo>
                      <a:lnTo>
                        <a:pt x="2833" y="533"/>
                      </a:lnTo>
                      <a:lnTo>
                        <a:pt x="2832" y="535"/>
                      </a:lnTo>
                      <a:lnTo>
                        <a:pt x="2829" y="537"/>
                      </a:lnTo>
                      <a:lnTo>
                        <a:pt x="2828" y="540"/>
                      </a:lnTo>
                      <a:lnTo>
                        <a:pt x="2827" y="542"/>
                      </a:lnTo>
                      <a:lnTo>
                        <a:pt x="2825" y="543"/>
                      </a:lnTo>
                      <a:lnTo>
                        <a:pt x="2823" y="544"/>
                      </a:lnTo>
                      <a:lnTo>
                        <a:pt x="2821" y="544"/>
                      </a:lnTo>
                      <a:lnTo>
                        <a:pt x="2819" y="543"/>
                      </a:lnTo>
                      <a:lnTo>
                        <a:pt x="2817" y="542"/>
                      </a:lnTo>
                      <a:lnTo>
                        <a:pt x="2816" y="540"/>
                      </a:lnTo>
                      <a:lnTo>
                        <a:pt x="2815" y="536"/>
                      </a:lnTo>
                      <a:lnTo>
                        <a:pt x="2814" y="533"/>
                      </a:lnTo>
                      <a:lnTo>
                        <a:pt x="2813" y="529"/>
                      </a:lnTo>
                      <a:lnTo>
                        <a:pt x="2812" y="524"/>
                      </a:lnTo>
                      <a:lnTo>
                        <a:pt x="2812" y="523"/>
                      </a:lnTo>
                      <a:lnTo>
                        <a:pt x="2811" y="522"/>
                      </a:lnTo>
                      <a:lnTo>
                        <a:pt x="2811" y="521"/>
                      </a:lnTo>
                      <a:lnTo>
                        <a:pt x="2809" y="520"/>
                      </a:lnTo>
                      <a:lnTo>
                        <a:pt x="2809" y="518"/>
                      </a:lnTo>
                      <a:lnTo>
                        <a:pt x="2808" y="515"/>
                      </a:lnTo>
                      <a:lnTo>
                        <a:pt x="2807" y="513"/>
                      </a:lnTo>
                      <a:lnTo>
                        <a:pt x="2807" y="511"/>
                      </a:lnTo>
                      <a:lnTo>
                        <a:pt x="2807" y="509"/>
                      </a:lnTo>
                      <a:lnTo>
                        <a:pt x="2807" y="507"/>
                      </a:lnTo>
                      <a:lnTo>
                        <a:pt x="2806" y="505"/>
                      </a:lnTo>
                      <a:lnTo>
                        <a:pt x="2805" y="504"/>
                      </a:lnTo>
                      <a:lnTo>
                        <a:pt x="2803" y="504"/>
                      </a:lnTo>
                      <a:lnTo>
                        <a:pt x="2801" y="504"/>
                      </a:lnTo>
                      <a:lnTo>
                        <a:pt x="2800" y="504"/>
                      </a:lnTo>
                      <a:lnTo>
                        <a:pt x="2798" y="505"/>
                      </a:lnTo>
                      <a:lnTo>
                        <a:pt x="2797" y="509"/>
                      </a:lnTo>
                      <a:lnTo>
                        <a:pt x="2796" y="512"/>
                      </a:lnTo>
                      <a:lnTo>
                        <a:pt x="2796" y="518"/>
                      </a:lnTo>
                      <a:lnTo>
                        <a:pt x="2795" y="525"/>
                      </a:lnTo>
                      <a:lnTo>
                        <a:pt x="2796" y="533"/>
                      </a:lnTo>
                      <a:lnTo>
                        <a:pt x="2798" y="540"/>
                      </a:lnTo>
                      <a:lnTo>
                        <a:pt x="2800" y="548"/>
                      </a:lnTo>
                      <a:lnTo>
                        <a:pt x="2803" y="559"/>
                      </a:lnTo>
                      <a:lnTo>
                        <a:pt x="2803" y="562"/>
                      </a:lnTo>
                      <a:lnTo>
                        <a:pt x="2803" y="564"/>
                      </a:lnTo>
                      <a:lnTo>
                        <a:pt x="2804" y="566"/>
                      </a:lnTo>
                      <a:lnTo>
                        <a:pt x="2805" y="568"/>
                      </a:lnTo>
                      <a:lnTo>
                        <a:pt x="2805" y="569"/>
                      </a:lnTo>
                      <a:lnTo>
                        <a:pt x="2805" y="572"/>
                      </a:lnTo>
                      <a:lnTo>
                        <a:pt x="2805" y="573"/>
                      </a:lnTo>
                      <a:lnTo>
                        <a:pt x="2806" y="574"/>
                      </a:lnTo>
                      <a:lnTo>
                        <a:pt x="2807" y="575"/>
                      </a:lnTo>
                      <a:lnTo>
                        <a:pt x="2807" y="575"/>
                      </a:lnTo>
                      <a:lnTo>
                        <a:pt x="2809" y="575"/>
                      </a:lnTo>
                      <a:lnTo>
                        <a:pt x="2811" y="574"/>
                      </a:lnTo>
                      <a:lnTo>
                        <a:pt x="2813" y="573"/>
                      </a:lnTo>
                      <a:lnTo>
                        <a:pt x="2814" y="570"/>
                      </a:lnTo>
                      <a:lnTo>
                        <a:pt x="2816" y="567"/>
                      </a:lnTo>
                      <a:lnTo>
                        <a:pt x="2818" y="564"/>
                      </a:lnTo>
                      <a:lnTo>
                        <a:pt x="2821" y="562"/>
                      </a:lnTo>
                      <a:lnTo>
                        <a:pt x="2822" y="559"/>
                      </a:lnTo>
                      <a:lnTo>
                        <a:pt x="2824" y="557"/>
                      </a:lnTo>
                      <a:lnTo>
                        <a:pt x="2825" y="555"/>
                      </a:lnTo>
                      <a:lnTo>
                        <a:pt x="2826" y="553"/>
                      </a:lnTo>
                      <a:lnTo>
                        <a:pt x="2827" y="551"/>
                      </a:lnTo>
                      <a:lnTo>
                        <a:pt x="2829" y="548"/>
                      </a:lnTo>
                      <a:lnTo>
                        <a:pt x="2830" y="546"/>
                      </a:lnTo>
                      <a:lnTo>
                        <a:pt x="2832" y="544"/>
                      </a:lnTo>
                      <a:lnTo>
                        <a:pt x="2832" y="544"/>
                      </a:lnTo>
                      <a:lnTo>
                        <a:pt x="2833" y="544"/>
                      </a:lnTo>
                      <a:lnTo>
                        <a:pt x="2833" y="546"/>
                      </a:lnTo>
                      <a:lnTo>
                        <a:pt x="2832" y="548"/>
                      </a:lnTo>
                      <a:lnTo>
                        <a:pt x="2832" y="551"/>
                      </a:lnTo>
                      <a:lnTo>
                        <a:pt x="2830" y="553"/>
                      </a:lnTo>
                      <a:lnTo>
                        <a:pt x="2830" y="556"/>
                      </a:lnTo>
                      <a:lnTo>
                        <a:pt x="2829" y="558"/>
                      </a:lnTo>
                      <a:lnTo>
                        <a:pt x="2829" y="559"/>
                      </a:lnTo>
                      <a:lnTo>
                        <a:pt x="2830" y="563"/>
                      </a:lnTo>
                      <a:lnTo>
                        <a:pt x="2833" y="565"/>
                      </a:lnTo>
                      <a:lnTo>
                        <a:pt x="2835" y="566"/>
                      </a:lnTo>
                      <a:lnTo>
                        <a:pt x="2837" y="567"/>
                      </a:lnTo>
                      <a:lnTo>
                        <a:pt x="2838" y="568"/>
                      </a:lnTo>
                      <a:lnTo>
                        <a:pt x="2838" y="568"/>
                      </a:lnTo>
                      <a:lnTo>
                        <a:pt x="2839" y="567"/>
                      </a:lnTo>
                      <a:lnTo>
                        <a:pt x="2839" y="567"/>
                      </a:lnTo>
                      <a:lnTo>
                        <a:pt x="2840" y="567"/>
                      </a:lnTo>
                      <a:lnTo>
                        <a:pt x="2840" y="568"/>
                      </a:lnTo>
                      <a:lnTo>
                        <a:pt x="2840" y="570"/>
                      </a:lnTo>
                      <a:lnTo>
                        <a:pt x="2840" y="574"/>
                      </a:lnTo>
                      <a:lnTo>
                        <a:pt x="2841" y="576"/>
                      </a:lnTo>
                      <a:lnTo>
                        <a:pt x="2843" y="579"/>
                      </a:lnTo>
                      <a:lnTo>
                        <a:pt x="2843" y="586"/>
                      </a:lnTo>
                      <a:lnTo>
                        <a:pt x="2840" y="592"/>
                      </a:lnTo>
                      <a:lnTo>
                        <a:pt x="2836" y="599"/>
                      </a:lnTo>
                      <a:lnTo>
                        <a:pt x="2835" y="600"/>
                      </a:lnTo>
                      <a:lnTo>
                        <a:pt x="2833" y="602"/>
                      </a:lnTo>
                      <a:lnTo>
                        <a:pt x="2832" y="605"/>
                      </a:lnTo>
                      <a:lnTo>
                        <a:pt x="2832" y="608"/>
                      </a:lnTo>
                      <a:lnTo>
                        <a:pt x="2830" y="610"/>
                      </a:lnTo>
                      <a:lnTo>
                        <a:pt x="2829" y="612"/>
                      </a:lnTo>
                      <a:lnTo>
                        <a:pt x="2829" y="617"/>
                      </a:lnTo>
                      <a:lnTo>
                        <a:pt x="2828" y="618"/>
                      </a:lnTo>
                      <a:lnTo>
                        <a:pt x="2827" y="620"/>
                      </a:lnTo>
                      <a:lnTo>
                        <a:pt x="2825" y="622"/>
                      </a:lnTo>
                      <a:lnTo>
                        <a:pt x="2824" y="624"/>
                      </a:lnTo>
                      <a:lnTo>
                        <a:pt x="2823" y="625"/>
                      </a:lnTo>
                      <a:lnTo>
                        <a:pt x="2822" y="627"/>
                      </a:lnTo>
                      <a:lnTo>
                        <a:pt x="2821" y="627"/>
                      </a:lnTo>
                      <a:lnTo>
                        <a:pt x="2821" y="628"/>
                      </a:lnTo>
                      <a:lnTo>
                        <a:pt x="2819" y="630"/>
                      </a:lnTo>
                      <a:lnTo>
                        <a:pt x="2818" y="631"/>
                      </a:lnTo>
                      <a:lnTo>
                        <a:pt x="2816" y="634"/>
                      </a:lnTo>
                      <a:lnTo>
                        <a:pt x="2814" y="638"/>
                      </a:lnTo>
                      <a:lnTo>
                        <a:pt x="2812" y="641"/>
                      </a:lnTo>
                      <a:lnTo>
                        <a:pt x="2809" y="643"/>
                      </a:lnTo>
                      <a:lnTo>
                        <a:pt x="2807" y="644"/>
                      </a:lnTo>
                      <a:lnTo>
                        <a:pt x="2806" y="646"/>
                      </a:lnTo>
                      <a:lnTo>
                        <a:pt x="2805" y="649"/>
                      </a:lnTo>
                      <a:lnTo>
                        <a:pt x="2804" y="652"/>
                      </a:lnTo>
                      <a:lnTo>
                        <a:pt x="2803" y="654"/>
                      </a:lnTo>
                      <a:lnTo>
                        <a:pt x="2801" y="655"/>
                      </a:lnTo>
                      <a:lnTo>
                        <a:pt x="2801" y="656"/>
                      </a:lnTo>
                      <a:lnTo>
                        <a:pt x="2800" y="656"/>
                      </a:lnTo>
                      <a:lnTo>
                        <a:pt x="2798" y="656"/>
                      </a:lnTo>
                      <a:lnTo>
                        <a:pt x="2797" y="657"/>
                      </a:lnTo>
                      <a:lnTo>
                        <a:pt x="2796" y="657"/>
                      </a:lnTo>
                      <a:lnTo>
                        <a:pt x="2790" y="671"/>
                      </a:lnTo>
                      <a:lnTo>
                        <a:pt x="2786" y="674"/>
                      </a:lnTo>
                      <a:lnTo>
                        <a:pt x="2784" y="676"/>
                      </a:lnTo>
                      <a:lnTo>
                        <a:pt x="2781" y="678"/>
                      </a:lnTo>
                      <a:lnTo>
                        <a:pt x="2778" y="681"/>
                      </a:lnTo>
                      <a:lnTo>
                        <a:pt x="2774" y="684"/>
                      </a:lnTo>
                      <a:lnTo>
                        <a:pt x="2774" y="685"/>
                      </a:lnTo>
                      <a:lnTo>
                        <a:pt x="2773" y="686"/>
                      </a:lnTo>
                      <a:lnTo>
                        <a:pt x="2771" y="687"/>
                      </a:lnTo>
                      <a:lnTo>
                        <a:pt x="2770" y="688"/>
                      </a:lnTo>
                      <a:lnTo>
                        <a:pt x="2769" y="689"/>
                      </a:lnTo>
                      <a:lnTo>
                        <a:pt x="2768" y="690"/>
                      </a:lnTo>
                      <a:lnTo>
                        <a:pt x="2768" y="692"/>
                      </a:lnTo>
                      <a:lnTo>
                        <a:pt x="2767" y="694"/>
                      </a:lnTo>
                      <a:lnTo>
                        <a:pt x="2765" y="695"/>
                      </a:lnTo>
                      <a:lnTo>
                        <a:pt x="2763" y="696"/>
                      </a:lnTo>
                      <a:lnTo>
                        <a:pt x="2762" y="697"/>
                      </a:lnTo>
                      <a:lnTo>
                        <a:pt x="2760" y="699"/>
                      </a:lnTo>
                      <a:lnTo>
                        <a:pt x="2759" y="701"/>
                      </a:lnTo>
                      <a:lnTo>
                        <a:pt x="2757" y="704"/>
                      </a:lnTo>
                      <a:lnTo>
                        <a:pt x="2753" y="706"/>
                      </a:lnTo>
                      <a:lnTo>
                        <a:pt x="2750" y="708"/>
                      </a:lnTo>
                      <a:lnTo>
                        <a:pt x="2748" y="710"/>
                      </a:lnTo>
                      <a:lnTo>
                        <a:pt x="2746" y="711"/>
                      </a:lnTo>
                      <a:lnTo>
                        <a:pt x="2743" y="712"/>
                      </a:lnTo>
                      <a:lnTo>
                        <a:pt x="2741" y="715"/>
                      </a:lnTo>
                      <a:lnTo>
                        <a:pt x="2740" y="716"/>
                      </a:lnTo>
                      <a:lnTo>
                        <a:pt x="2738" y="716"/>
                      </a:lnTo>
                      <a:lnTo>
                        <a:pt x="2737" y="715"/>
                      </a:lnTo>
                      <a:lnTo>
                        <a:pt x="2736" y="714"/>
                      </a:lnTo>
                      <a:lnTo>
                        <a:pt x="2736" y="712"/>
                      </a:lnTo>
                      <a:lnTo>
                        <a:pt x="2735" y="711"/>
                      </a:lnTo>
                      <a:lnTo>
                        <a:pt x="2734" y="709"/>
                      </a:lnTo>
                      <a:lnTo>
                        <a:pt x="2734" y="707"/>
                      </a:lnTo>
                      <a:lnTo>
                        <a:pt x="2735" y="704"/>
                      </a:lnTo>
                      <a:lnTo>
                        <a:pt x="2736" y="696"/>
                      </a:lnTo>
                      <a:lnTo>
                        <a:pt x="2737" y="689"/>
                      </a:lnTo>
                      <a:lnTo>
                        <a:pt x="2737" y="682"/>
                      </a:lnTo>
                      <a:lnTo>
                        <a:pt x="2737" y="674"/>
                      </a:lnTo>
                      <a:lnTo>
                        <a:pt x="2736" y="668"/>
                      </a:lnTo>
                      <a:lnTo>
                        <a:pt x="2735" y="662"/>
                      </a:lnTo>
                      <a:lnTo>
                        <a:pt x="2735" y="658"/>
                      </a:lnTo>
                      <a:lnTo>
                        <a:pt x="2735" y="654"/>
                      </a:lnTo>
                      <a:lnTo>
                        <a:pt x="2734" y="650"/>
                      </a:lnTo>
                      <a:lnTo>
                        <a:pt x="2734" y="646"/>
                      </a:lnTo>
                      <a:lnTo>
                        <a:pt x="2732" y="644"/>
                      </a:lnTo>
                      <a:lnTo>
                        <a:pt x="2731" y="644"/>
                      </a:lnTo>
                      <a:lnTo>
                        <a:pt x="2729" y="643"/>
                      </a:lnTo>
                      <a:lnTo>
                        <a:pt x="2728" y="643"/>
                      </a:lnTo>
                      <a:lnTo>
                        <a:pt x="2727" y="643"/>
                      </a:lnTo>
                      <a:lnTo>
                        <a:pt x="2727" y="642"/>
                      </a:lnTo>
                      <a:lnTo>
                        <a:pt x="2728" y="640"/>
                      </a:lnTo>
                      <a:lnTo>
                        <a:pt x="2728" y="635"/>
                      </a:lnTo>
                      <a:lnTo>
                        <a:pt x="2729" y="632"/>
                      </a:lnTo>
                      <a:lnTo>
                        <a:pt x="2730" y="628"/>
                      </a:lnTo>
                      <a:lnTo>
                        <a:pt x="2730" y="623"/>
                      </a:lnTo>
                      <a:lnTo>
                        <a:pt x="2730" y="619"/>
                      </a:lnTo>
                      <a:lnTo>
                        <a:pt x="2730" y="617"/>
                      </a:lnTo>
                      <a:lnTo>
                        <a:pt x="2730" y="612"/>
                      </a:lnTo>
                      <a:lnTo>
                        <a:pt x="2730" y="609"/>
                      </a:lnTo>
                      <a:lnTo>
                        <a:pt x="2730" y="606"/>
                      </a:lnTo>
                      <a:lnTo>
                        <a:pt x="2728" y="599"/>
                      </a:lnTo>
                      <a:lnTo>
                        <a:pt x="2726" y="595"/>
                      </a:lnTo>
                      <a:lnTo>
                        <a:pt x="2724" y="590"/>
                      </a:lnTo>
                      <a:lnTo>
                        <a:pt x="2721" y="579"/>
                      </a:lnTo>
                      <a:lnTo>
                        <a:pt x="2721" y="568"/>
                      </a:lnTo>
                      <a:lnTo>
                        <a:pt x="2720" y="566"/>
                      </a:lnTo>
                      <a:lnTo>
                        <a:pt x="2720" y="564"/>
                      </a:lnTo>
                      <a:lnTo>
                        <a:pt x="2719" y="562"/>
                      </a:lnTo>
                      <a:lnTo>
                        <a:pt x="2719" y="559"/>
                      </a:lnTo>
                      <a:lnTo>
                        <a:pt x="2718" y="558"/>
                      </a:lnTo>
                      <a:lnTo>
                        <a:pt x="2717" y="557"/>
                      </a:lnTo>
                      <a:lnTo>
                        <a:pt x="2716" y="558"/>
                      </a:lnTo>
                      <a:lnTo>
                        <a:pt x="2715" y="559"/>
                      </a:lnTo>
                      <a:lnTo>
                        <a:pt x="2714" y="561"/>
                      </a:lnTo>
                      <a:lnTo>
                        <a:pt x="2713" y="562"/>
                      </a:lnTo>
                      <a:lnTo>
                        <a:pt x="2712" y="563"/>
                      </a:lnTo>
                      <a:lnTo>
                        <a:pt x="2710" y="564"/>
                      </a:lnTo>
                      <a:lnTo>
                        <a:pt x="2710" y="570"/>
                      </a:lnTo>
                      <a:lnTo>
                        <a:pt x="2712" y="584"/>
                      </a:lnTo>
                      <a:lnTo>
                        <a:pt x="2713" y="597"/>
                      </a:lnTo>
                      <a:lnTo>
                        <a:pt x="2713" y="598"/>
                      </a:lnTo>
                      <a:lnTo>
                        <a:pt x="2714" y="601"/>
                      </a:lnTo>
                      <a:lnTo>
                        <a:pt x="2714" y="605"/>
                      </a:lnTo>
                      <a:lnTo>
                        <a:pt x="2715" y="608"/>
                      </a:lnTo>
                      <a:lnTo>
                        <a:pt x="2713" y="609"/>
                      </a:lnTo>
                      <a:lnTo>
                        <a:pt x="2713" y="612"/>
                      </a:lnTo>
                      <a:lnTo>
                        <a:pt x="2713" y="616"/>
                      </a:lnTo>
                      <a:lnTo>
                        <a:pt x="2713" y="619"/>
                      </a:lnTo>
                      <a:lnTo>
                        <a:pt x="2712" y="621"/>
                      </a:lnTo>
                      <a:lnTo>
                        <a:pt x="2712" y="623"/>
                      </a:lnTo>
                      <a:lnTo>
                        <a:pt x="2713" y="624"/>
                      </a:lnTo>
                      <a:lnTo>
                        <a:pt x="2714" y="627"/>
                      </a:lnTo>
                      <a:lnTo>
                        <a:pt x="2715" y="630"/>
                      </a:lnTo>
                      <a:lnTo>
                        <a:pt x="2715" y="631"/>
                      </a:lnTo>
                      <a:lnTo>
                        <a:pt x="2715" y="634"/>
                      </a:lnTo>
                      <a:lnTo>
                        <a:pt x="2715" y="636"/>
                      </a:lnTo>
                      <a:lnTo>
                        <a:pt x="2715" y="640"/>
                      </a:lnTo>
                      <a:lnTo>
                        <a:pt x="2714" y="646"/>
                      </a:lnTo>
                      <a:lnTo>
                        <a:pt x="2713" y="653"/>
                      </a:lnTo>
                      <a:lnTo>
                        <a:pt x="2710" y="660"/>
                      </a:lnTo>
                      <a:lnTo>
                        <a:pt x="2710" y="664"/>
                      </a:lnTo>
                      <a:lnTo>
                        <a:pt x="2713" y="666"/>
                      </a:lnTo>
                      <a:lnTo>
                        <a:pt x="2714" y="666"/>
                      </a:lnTo>
                      <a:lnTo>
                        <a:pt x="2715" y="666"/>
                      </a:lnTo>
                      <a:lnTo>
                        <a:pt x="2716" y="668"/>
                      </a:lnTo>
                      <a:lnTo>
                        <a:pt x="2717" y="671"/>
                      </a:lnTo>
                      <a:lnTo>
                        <a:pt x="2717" y="673"/>
                      </a:lnTo>
                      <a:lnTo>
                        <a:pt x="2717" y="677"/>
                      </a:lnTo>
                      <a:lnTo>
                        <a:pt x="2716" y="684"/>
                      </a:lnTo>
                      <a:lnTo>
                        <a:pt x="2715" y="690"/>
                      </a:lnTo>
                      <a:lnTo>
                        <a:pt x="2715" y="697"/>
                      </a:lnTo>
                      <a:lnTo>
                        <a:pt x="2715" y="700"/>
                      </a:lnTo>
                      <a:lnTo>
                        <a:pt x="2716" y="703"/>
                      </a:lnTo>
                      <a:lnTo>
                        <a:pt x="2717" y="704"/>
                      </a:lnTo>
                      <a:lnTo>
                        <a:pt x="2718" y="705"/>
                      </a:lnTo>
                      <a:lnTo>
                        <a:pt x="2720" y="705"/>
                      </a:lnTo>
                      <a:lnTo>
                        <a:pt x="2721" y="706"/>
                      </a:lnTo>
                      <a:lnTo>
                        <a:pt x="2724" y="707"/>
                      </a:lnTo>
                      <a:lnTo>
                        <a:pt x="2726" y="708"/>
                      </a:lnTo>
                      <a:lnTo>
                        <a:pt x="2728" y="710"/>
                      </a:lnTo>
                      <a:lnTo>
                        <a:pt x="2728" y="711"/>
                      </a:lnTo>
                      <a:lnTo>
                        <a:pt x="2729" y="712"/>
                      </a:lnTo>
                      <a:lnTo>
                        <a:pt x="2729" y="712"/>
                      </a:lnTo>
                      <a:lnTo>
                        <a:pt x="2730" y="712"/>
                      </a:lnTo>
                      <a:lnTo>
                        <a:pt x="2730" y="715"/>
                      </a:lnTo>
                      <a:lnTo>
                        <a:pt x="2731" y="716"/>
                      </a:lnTo>
                      <a:lnTo>
                        <a:pt x="2730" y="719"/>
                      </a:lnTo>
                      <a:lnTo>
                        <a:pt x="2730" y="721"/>
                      </a:lnTo>
                      <a:lnTo>
                        <a:pt x="2730" y="723"/>
                      </a:lnTo>
                      <a:lnTo>
                        <a:pt x="2730" y="728"/>
                      </a:lnTo>
                      <a:lnTo>
                        <a:pt x="2730" y="730"/>
                      </a:lnTo>
                      <a:lnTo>
                        <a:pt x="2730" y="732"/>
                      </a:lnTo>
                      <a:lnTo>
                        <a:pt x="2730" y="736"/>
                      </a:lnTo>
                      <a:lnTo>
                        <a:pt x="2731" y="739"/>
                      </a:lnTo>
                      <a:lnTo>
                        <a:pt x="2732" y="741"/>
                      </a:lnTo>
                      <a:lnTo>
                        <a:pt x="2735" y="743"/>
                      </a:lnTo>
                      <a:lnTo>
                        <a:pt x="2737" y="743"/>
                      </a:lnTo>
                      <a:lnTo>
                        <a:pt x="2739" y="742"/>
                      </a:lnTo>
                      <a:lnTo>
                        <a:pt x="2741" y="740"/>
                      </a:lnTo>
                      <a:lnTo>
                        <a:pt x="2743" y="737"/>
                      </a:lnTo>
                      <a:lnTo>
                        <a:pt x="2745" y="736"/>
                      </a:lnTo>
                      <a:lnTo>
                        <a:pt x="2746" y="734"/>
                      </a:lnTo>
                      <a:lnTo>
                        <a:pt x="2747" y="734"/>
                      </a:lnTo>
                      <a:lnTo>
                        <a:pt x="2748" y="734"/>
                      </a:lnTo>
                      <a:lnTo>
                        <a:pt x="2750" y="733"/>
                      </a:lnTo>
                      <a:lnTo>
                        <a:pt x="2752" y="732"/>
                      </a:lnTo>
                      <a:lnTo>
                        <a:pt x="2754" y="730"/>
                      </a:lnTo>
                      <a:lnTo>
                        <a:pt x="2756" y="728"/>
                      </a:lnTo>
                      <a:lnTo>
                        <a:pt x="2758" y="726"/>
                      </a:lnTo>
                      <a:lnTo>
                        <a:pt x="2759" y="725"/>
                      </a:lnTo>
                      <a:lnTo>
                        <a:pt x="2761" y="723"/>
                      </a:lnTo>
                      <a:lnTo>
                        <a:pt x="2763" y="722"/>
                      </a:lnTo>
                      <a:lnTo>
                        <a:pt x="2765" y="721"/>
                      </a:lnTo>
                      <a:lnTo>
                        <a:pt x="2768" y="719"/>
                      </a:lnTo>
                      <a:lnTo>
                        <a:pt x="2769" y="718"/>
                      </a:lnTo>
                      <a:lnTo>
                        <a:pt x="2771" y="716"/>
                      </a:lnTo>
                      <a:lnTo>
                        <a:pt x="2771" y="716"/>
                      </a:lnTo>
                      <a:lnTo>
                        <a:pt x="2772" y="715"/>
                      </a:lnTo>
                      <a:lnTo>
                        <a:pt x="2773" y="716"/>
                      </a:lnTo>
                      <a:lnTo>
                        <a:pt x="2773" y="720"/>
                      </a:lnTo>
                      <a:lnTo>
                        <a:pt x="2771" y="727"/>
                      </a:lnTo>
                      <a:lnTo>
                        <a:pt x="2769" y="732"/>
                      </a:lnTo>
                      <a:lnTo>
                        <a:pt x="2768" y="737"/>
                      </a:lnTo>
                      <a:lnTo>
                        <a:pt x="2761" y="751"/>
                      </a:lnTo>
                      <a:lnTo>
                        <a:pt x="2754" y="765"/>
                      </a:lnTo>
                      <a:lnTo>
                        <a:pt x="2741" y="792"/>
                      </a:lnTo>
                      <a:lnTo>
                        <a:pt x="2735" y="805"/>
                      </a:lnTo>
                      <a:lnTo>
                        <a:pt x="2728" y="816"/>
                      </a:lnTo>
                      <a:lnTo>
                        <a:pt x="2726" y="818"/>
                      </a:lnTo>
                      <a:lnTo>
                        <a:pt x="2724" y="821"/>
                      </a:lnTo>
                      <a:lnTo>
                        <a:pt x="2721" y="825"/>
                      </a:lnTo>
                      <a:lnTo>
                        <a:pt x="2719" y="826"/>
                      </a:lnTo>
                      <a:lnTo>
                        <a:pt x="2717" y="827"/>
                      </a:lnTo>
                      <a:lnTo>
                        <a:pt x="2715" y="827"/>
                      </a:lnTo>
                      <a:lnTo>
                        <a:pt x="2713" y="829"/>
                      </a:lnTo>
                      <a:lnTo>
                        <a:pt x="2710" y="832"/>
                      </a:lnTo>
                      <a:lnTo>
                        <a:pt x="2708" y="836"/>
                      </a:lnTo>
                      <a:lnTo>
                        <a:pt x="2706" y="839"/>
                      </a:lnTo>
                      <a:lnTo>
                        <a:pt x="2704" y="842"/>
                      </a:lnTo>
                      <a:lnTo>
                        <a:pt x="2704" y="845"/>
                      </a:lnTo>
                      <a:lnTo>
                        <a:pt x="2702" y="847"/>
                      </a:lnTo>
                      <a:lnTo>
                        <a:pt x="2702" y="849"/>
                      </a:lnTo>
                      <a:lnTo>
                        <a:pt x="2701" y="851"/>
                      </a:lnTo>
                      <a:lnTo>
                        <a:pt x="2699" y="853"/>
                      </a:lnTo>
                      <a:lnTo>
                        <a:pt x="2697" y="856"/>
                      </a:lnTo>
                      <a:lnTo>
                        <a:pt x="2695" y="858"/>
                      </a:lnTo>
                      <a:lnTo>
                        <a:pt x="2695" y="860"/>
                      </a:lnTo>
                      <a:lnTo>
                        <a:pt x="2685" y="872"/>
                      </a:lnTo>
                      <a:lnTo>
                        <a:pt x="2676" y="885"/>
                      </a:lnTo>
                      <a:lnTo>
                        <a:pt x="2667" y="898"/>
                      </a:lnTo>
                      <a:lnTo>
                        <a:pt x="2665" y="903"/>
                      </a:lnTo>
                      <a:lnTo>
                        <a:pt x="2662" y="907"/>
                      </a:lnTo>
                      <a:lnTo>
                        <a:pt x="2659" y="912"/>
                      </a:lnTo>
                      <a:lnTo>
                        <a:pt x="2659" y="914"/>
                      </a:lnTo>
                      <a:lnTo>
                        <a:pt x="2658" y="916"/>
                      </a:lnTo>
                      <a:lnTo>
                        <a:pt x="2658" y="919"/>
                      </a:lnTo>
                      <a:lnTo>
                        <a:pt x="2656" y="921"/>
                      </a:lnTo>
                      <a:lnTo>
                        <a:pt x="2655" y="927"/>
                      </a:lnTo>
                      <a:lnTo>
                        <a:pt x="2653" y="935"/>
                      </a:lnTo>
                      <a:lnTo>
                        <a:pt x="2652" y="943"/>
                      </a:lnTo>
                      <a:lnTo>
                        <a:pt x="2652" y="948"/>
                      </a:lnTo>
                      <a:lnTo>
                        <a:pt x="2652" y="952"/>
                      </a:lnTo>
                      <a:lnTo>
                        <a:pt x="2652" y="957"/>
                      </a:lnTo>
                      <a:lnTo>
                        <a:pt x="2652" y="960"/>
                      </a:lnTo>
                      <a:lnTo>
                        <a:pt x="2652" y="965"/>
                      </a:lnTo>
                      <a:lnTo>
                        <a:pt x="2651" y="968"/>
                      </a:lnTo>
                      <a:lnTo>
                        <a:pt x="2650" y="973"/>
                      </a:lnTo>
                      <a:lnTo>
                        <a:pt x="2648" y="978"/>
                      </a:lnTo>
                      <a:lnTo>
                        <a:pt x="2645" y="987"/>
                      </a:lnTo>
                      <a:lnTo>
                        <a:pt x="2643" y="993"/>
                      </a:lnTo>
                      <a:lnTo>
                        <a:pt x="2641" y="1000"/>
                      </a:lnTo>
                      <a:lnTo>
                        <a:pt x="2640" y="1003"/>
                      </a:lnTo>
                      <a:lnTo>
                        <a:pt x="2639" y="1007"/>
                      </a:lnTo>
                      <a:lnTo>
                        <a:pt x="2637" y="1011"/>
                      </a:lnTo>
                      <a:lnTo>
                        <a:pt x="2634" y="1014"/>
                      </a:lnTo>
                      <a:lnTo>
                        <a:pt x="2630" y="1017"/>
                      </a:lnTo>
                      <a:lnTo>
                        <a:pt x="2629" y="1020"/>
                      </a:lnTo>
                      <a:lnTo>
                        <a:pt x="2627" y="1021"/>
                      </a:lnTo>
                      <a:lnTo>
                        <a:pt x="2625" y="1023"/>
                      </a:lnTo>
                      <a:lnTo>
                        <a:pt x="2621" y="1026"/>
                      </a:lnTo>
                      <a:lnTo>
                        <a:pt x="2619" y="1028"/>
                      </a:lnTo>
                      <a:lnTo>
                        <a:pt x="2617" y="1032"/>
                      </a:lnTo>
                      <a:lnTo>
                        <a:pt x="2615" y="1035"/>
                      </a:lnTo>
                      <a:lnTo>
                        <a:pt x="2612" y="1036"/>
                      </a:lnTo>
                      <a:lnTo>
                        <a:pt x="2610" y="1037"/>
                      </a:lnTo>
                      <a:lnTo>
                        <a:pt x="2608" y="1039"/>
                      </a:lnTo>
                      <a:lnTo>
                        <a:pt x="2606" y="1042"/>
                      </a:lnTo>
                      <a:lnTo>
                        <a:pt x="2604" y="1045"/>
                      </a:lnTo>
                      <a:lnTo>
                        <a:pt x="2601" y="1048"/>
                      </a:lnTo>
                      <a:lnTo>
                        <a:pt x="2597" y="1054"/>
                      </a:lnTo>
                      <a:lnTo>
                        <a:pt x="2592" y="1060"/>
                      </a:lnTo>
                      <a:lnTo>
                        <a:pt x="2586" y="1068"/>
                      </a:lnTo>
                      <a:lnTo>
                        <a:pt x="2584" y="1070"/>
                      </a:lnTo>
                      <a:lnTo>
                        <a:pt x="2584" y="1074"/>
                      </a:lnTo>
                      <a:lnTo>
                        <a:pt x="2584" y="1076"/>
                      </a:lnTo>
                      <a:lnTo>
                        <a:pt x="2584" y="1078"/>
                      </a:lnTo>
                      <a:lnTo>
                        <a:pt x="2584" y="1081"/>
                      </a:lnTo>
                      <a:lnTo>
                        <a:pt x="2582" y="1086"/>
                      </a:lnTo>
                      <a:lnTo>
                        <a:pt x="2581" y="1090"/>
                      </a:lnTo>
                      <a:lnTo>
                        <a:pt x="2579" y="1094"/>
                      </a:lnTo>
                      <a:lnTo>
                        <a:pt x="2578" y="1097"/>
                      </a:lnTo>
                      <a:lnTo>
                        <a:pt x="2577" y="1099"/>
                      </a:lnTo>
                      <a:lnTo>
                        <a:pt x="2576" y="1102"/>
                      </a:lnTo>
                      <a:lnTo>
                        <a:pt x="2575" y="1105"/>
                      </a:lnTo>
                      <a:lnTo>
                        <a:pt x="2573" y="1110"/>
                      </a:lnTo>
                      <a:lnTo>
                        <a:pt x="2570" y="1113"/>
                      </a:lnTo>
                      <a:lnTo>
                        <a:pt x="2566" y="1115"/>
                      </a:lnTo>
                      <a:lnTo>
                        <a:pt x="2563" y="1118"/>
                      </a:lnTo>
                      <a:lnTo>
                        <a:pt x="2560" y="1121"/>
                      </a:lnTo>
                      <a:lnTo>
                        <a:pt x="2555" y="1124"/>
                      </a:lnTo>
                      <a:lnTo>
                        <a:pt x="2552" y="1129"/>
                      </a:lnTo>
                      <a:lnTo>
                        <a:pt x="2549" y="1133"/>
                      </a:lnTo>
                      <a:lnTo>
                        <a:pt x="2546" y="1138"/>
                      </a:lnTo>
                      <a:lnTo>
                        <a:pt x="2541" y="1148"/>
                      </a:lnTo>
                      <a:lnTo>
                        <a:pt x="2535" y="1157"/>
                      </a:lnTo>
                      <a:lnTo>
                        <a:pt x="2522" y="1177"/>
                      </a:lnTo>
                      <a:lnTo>
                        <a:pt x="2519" y="1180"/>
                      </a:lnTo>
                      <a:lnTo>
                        <a:pt x="2516" y="1184"/>
                      </a:lnTo>
                      <a:lnTo>
                        <a:pt x="2513" y="1187"/>
                      </a:lnTo>
                      <a:lnTo>
                        <a:pt x="2510" y="1191"/>
                      </a:lnTo>
                      <a:lnTo>
                        <a:pt x="2507" y="1195"/>
                      </a:lnTo>
                      <a:lnTo>
                        <a:pt x="2503" y="1198"/>
                      </a:lnTo>
                      <a:lnTo>
                        <a:pt x="2501" y="1200"/>
                      </a:lnTo>
                      <a:lnTo>
                        <a:pt x="2499" y="1202"/>
                      </a:lnTo>
                      <a:lnTo>
                        <a:pt x="2496" y="1203"/>
                      </a:lnTo>
                      <a:lnTo>
                        <a:pt x="2494" y="1208"/>
                      </a:lnTo>
                      <a:lnTo>
                        <a:pt x="2491" y="1211"/>
                      </a:lnTo>
                      <a:lnTo>
                        <a:pt x="2489" y="1214"/>
                      </a:lnTo>
                      <a:lnTo>
                        <a:pt x="2485" y="1217"/>
                      </a:lnTo>
                      <a:lnTo>
                        <a:pt x="2481" y="1219"/>
                      </a:lnTo>
                      <a:lnTo>
                        <a:pt x="2478" y="1221"/>
                      </a:lnTo>
                      <a:lnTo>
                        <a:pt x="2476" y="1223"/>
                      </a:lnTo>
                      <a:lnTo>
                        <a:pt x="2475" y="1224"/>
                      </a:lnTo>
                      <a:lnTo>
                        <a:pt x="2473" y="1225"/>
                      </a:lnTo>
                      <a:lnTo>
                        <a:pt x="2470" y="1227"/>
                      </a:lnTo>
                      <a:lnTo>
                        <a:pt x="2469" y="1228"/>
                      </a:lnTo>
                      <a:lnTo>
                        <a:pt x="2466" y="1230"/>
                      </a:lnTo>
                      <a:lnTo>
                        <a:pt x="2464" y="1232"/>
                      </a:lnTo>
                      <a:lnTo>
                        <a:pt x="2461" y="1234"/>
                      </a:lnTo>
                      <a:lnTo>
                        <a:pt x="2458" y="1236"/>
                      </a:lnTo>
                      <a:lnTo>
                        <a:pt x="2456" y="1236"/>
                      </a:lnTo>
                      <a:lnTo>
                        <a:pt x="2454" y="1238"/>
                      </a:lnTo>
                      <a:lnTo>
                        <a:pt x="2452" y="1239"/>
                      </a:lnTo>
                      <a:lnTo>
                        <a:pt x="2450" y="1239"/>
                      </a:lnTo>
                      <a:lnTo>
                        <a:pt x="2446" y="1241"/>
                      </a:lnTo>
                      <a:lnTo>
                        <a:pt x="2443" y="1243"/>
                      </a:lnTo>
                      <a:lnTo>
                        <a:pt x="2438" y="1243"/>
                      </a:lnTo>
                      <a:lnTo>
                        <a:pt x="2432" y="1250"/>
                      </a:lnTo>
                      <a:lnTo>
                        <a:pt x="2427" y="1253"/>
                      </a:lnTo>
                      <a:lnTo>
                        <a:pt x="2422" y="1256"/>
                      </a:lnTo>
                      <a:lnTo>
                        <a:pt x="2416" y="1257"/>
                      </a:lnTo>
                      <a:lnTo>
                        <a:pt x="2414" y="1258"/>
                      </a:lnTo>
                      <a:lnTo>
                        <a:pt x="2412" y="1258"/>
                      </a:lnTo>
                      <a:lnTo>
                        <a:pt x="2412" y="1257"/>
                      </a:lnTo>
                      <a:lnTo>
                        <a:pt x="2411" y="1256"/>
                      </a:lnTo>
                      <a:lnTo>
                        <a:pt x="2410" y="1256"/>
                      </a:lnTo>
                      <a:lnTo>
                        <a:pt x="2408" y="1256"/>
                      </a:lnTo>
                      <a:lnTo>
                        <a:pt x="2408" y="1255"/>
                      </a:lnTo>
                      <a:lnTo>
                        <a:pt x="2408" y="1254"/>
                      </a:lnTo>
                      <a:lnTo>
                        <a:pt x="2408" y="1252"/>
                      </a:lnTo>
                      <a:lnTo>
                        <a:pt x="2408" y="1251"/>
                      </a:lnTo>
                      <a:lnTo>
                        <a:pt x="2408" y="1250"/>
                      </a:lnTo>
                      <a:lnTo>
                        <a:pt x="2408" y="1249"/>
                      </a:lnTo>
                      <a:lnTo>
                        <a:pt x="2409" y="1247"/>
                      </a:lnTo>
                      <a:lnTo>
                        <a:pt x="2410" y="1245"/>
                      </a:lnTo>
                      <a:lnTo>
                        <a:pt x="2410" y="1244"/>
                      </a:lnTo>
                      <a:lnTo>
                        <a:pt x="2411" y="1243"/>
                      </a:lnTo>
                      <a:lnTo>
                        <a:pt x="2412" y="1241"/>
                      </a:lnTo>
                      <a:lnTo>
                        <a:pt x="2413" y="1239"/>
                      </a:lnTo>
                      <a:lnTo>
                        <a:pt x="2414" y="1236"/>
                      </a:lnTo>
                      <a:lnTo>
                        <a:pt x="2415" y="1233"/>
                      </a:lnTo>
                      <a:lnTo>
                        <a:pt x="2415" y="1230"/>
                      </a:lnTo>
                      <a:lnTo>
                        <a:pt x="2415" y="1228"/>
                      </a:lnTo>
                      <a:lnTo>
                        <a:pt x="2414" y="1225"/>
                      </a:lnTo>
                      <a:lnTo>
                        <a:pt x="2413" y="1225"/>
                      </a:lnTo>
                      <a:lnTo>
                        <a:pt x="2413" y="1224"/>
                      </a:lnTo>
                      <a:lnTo>
                        <a:pt x="2412" y="1224"/>
                      </a:lnTo>
                      <a:lnTo>
                        <a:pt x="2412" y="1224"/>
                      </a:lnTo>
                      <a:lnTo>
                        <a:pt x="2411" y="1223"/>
                      </a:lnTo>
                      <a:lnTo>
                        <a:pt x="2411" y="1223"/>
                      </a:lnTo>
                      <a:lnTo>
                        <a:pt x="2412" y="1221"/>
                      </a:lnTo>
                      <a:lnTo>
                        <a:pt x="2412" y="1220"/>
                      </a:lnTo>
                      <a:lnTo>
                        <a:pt x="2412" y="1218"/>
                      </a:lnTo>
                      <a:lnTo>
                        <a:pt x="2413" y="1217"/>
                      </a:lnTo>
                      <a:lnTo>
                        <a:pt x="2413" y="1216"/>
                      </a:lnTo>
                      <a:lnTo>
                        <a:pt x="2414" y="1214"/>
                      </a:lnTo>
                      <a:lnTo>
                        <a:pt x="2412" y="1211"/>
                      </a:lnTo>
                      <a:lnTo>
                        <a:pt x="2411" y="1209"/>
                      </a:lnTo>
                      <a:lnTo>
                        <a:pt x="2410" y="1206"/>
                      </a:lnTo>
                      <a:lnTo>
                        <a:pt x="2410" y="1203"/>
                      </a:lnTo>
                      <a:lnTo>
                        <a:pt x="2409" y="1202"/>
                      </a:lnTo>
                      <a:lnTo>
                        <a:pt x="2409" y="1200"/>
                      </a:lnTo>
                      <a:lnTo>
                        <a:pt x="2409" y="1198"/>
                      </a:lnTo>
                      <a:lnTo>
                        <a:pt x="2409" y="1197"/>
                      </a:lnTo>
                      <a:lnTo>
                        <a:pt x="2410" y="1195"/>
                      </a:lnTo>
                      <a:lnTo>
                        <a:pt x="2410" y="1186"/>
                      </a:lnTo>
                      <a:lnTo>
                        <a:pt x="2410" y="1185"/>
                      </a:lnTo>
                      <a:lnTo>
                        <a:pt x="2411" y="1183"/>
                      </a:lnTo>
                      <a:lnTo>
                        <a:pt x="2412" y="1180"/>
                      </a:lnTo>
                      <a:lnTo>
                        <a:pt x="2413" y="1179"/>
                      </a:lnTo>
                      <a:lnTo>
                        <a:pt x="2414" y="1177"/>
                      </a:lnTo>
                      <a:lnTo>
                        <a:pt x="2415" y="1174"/>
                      </a:lnTo>
                      <a:lnTo>
                        <a:pt x="2416" y="1172"/>
                      </a:lnTo>
                      <a:lnTo>
                        <a:pt x="2418" y="1168"/>
                      </a:lnTo>
                      <a:lnTo>
                        <a:pt x="2419" y="1166"/>
                      </a:lnTo>
                      <a:lnTo>
                        <a:pt x="2421" y="1156"/>
                      </a:lnTo>
                      <a:lnTo>
                        <a:pt x="2421" y="1147"/>
                      </a:lnTo>
                      <a:lnTo>
                        <a:pt x="2419" y="1141"/>
                      </a:lnTo>
                      <a:lnTo>
                        <a:pt x="2416" y="1134"/>
                      </a:lnTo>
                      <a:lnTo>
                        <a:pt x="2415" y="1131"/>
                      </a:lnTo>
                      <a:lnTo>
                        <a:pt x="2414" y="1129"/>
                      </a:lnTo>
                      <a:lnTo>
                        <a:pt x="2414" y="1125"/>
                      </a:lnTo>
                      <a:lnTo>
                        <a:pt x="2415" y="1121"/>
                      </a:lnTo>
                      <a:lnTo>
                        <a:pt x="2416" y="1116"/>
                      </a:lnTo>
                      <a:lnTo>
                        <a:pt x="2419" y="1113"/>
                      </a:lnTo>
                      <a:lnTo>
                        <a:pt x="2420" y="1110"/>
                      </a:lnTo>
                      <a:lnTo>
                        <a:pt x="2421" y="1105"/>
                      </a:lnTo>
                      <a:lnTo>
                        <a:pt x="2422" y="1103"/>
                      </a:lnTo>
                      <a:lnTo>
                        <a:pt x="2423" y="1101"/>
                      </a:lnTo>
                      <a:lnTo>
                        <a:pt x="2423" y="1098"/>
                      </a:lnTo>
                      <a:lnTo>
                        <a:pt x="2425" y="1097"/>
                      </a:lnTo>
                      <a:lnTo>
                        <a:pt x="2429" y="1092"/>
                      </a:lnTo>
                      <a:lnTo>
                        <a:pt x="2432" y="1088"/>
                      </a:lnTo>
                      <a:lnTo>
                        <a:pt x="2434" y="1086"/>
                      </a:lnTo>
                      <a:lnTo>
                        <a:pt x="2434" y="1082"/>
                      </a:lnTo>
                      <a:lnTo>
                        <a:pt x="2435" y="1080"/>
                      </a:lnTo>
                      <a:lnTo>
                        <a:pt x="2436" y="1078"/>
                      </a:lnTo>
                      <a:lnTo>
                        <a:pt x="2438" y="1075"/>
                      </a:lnTo>
                      <a:lnTo>
                        <a:pt x="2442" y="1071"/>
                      </a:lnTo>
                      <a:lnTo>
                        <a:pt x="2446" y="1068"/>
                      </a:lnTo>
                      <a:lnTo>
                        <a:pt x="2450" y="1064"/>
                      </a:lnTo>
                      <a:lnTo>
                        <a:pt x="2454" y="1059"/>
                      </a:lnTo>
                      <a:lnTo>
                        <a:pt x="2456" y="1056"/>
                      </a:lnTo>
                      <a:lnTo>
                        <a:pt x="2457" y="1053"/>
                      </a:lnTo>
                      <a:lnTo>
                        <a:pt x="2458" y="1048"/>
                      </a:lnTo>
                      <a:lnTo>
                        <a:pt x="2458" y="1047"/>
                      </a:lnTo>
                      <a:lnTo>
                        <a:pt x="2458" y="1046"/>
                      </a:lnTo>
                      <a:lnTo>
                        <a:pt x="2458" y="1046"/>
                      </a:lnTo>
                      <a:lnTo>
                        <a:pt x="2457" y="1045"/>
                      </a:lnTo>
                      <a:lnTo>
                        <a:pt x="2456" y="1044"/>
                      </a:lnTo>
                      <a:lnTo>
                        <a:pt x="2456" y="1042"/>
                      </a:lnTo>
                      <a:lnTo>
                        <a:pt x="2456" y="1041"/>
                      </a:lnTo>
                      <a:lnTo>
                        <a:pt x="2457" y="1038"/>
                      </a:lnTo>
                      <a:lnTo>
                        <a:pt x="2458" y="1035"/>
                      </a:lnTo>
                      <a:lnTo>
                        <a:pt x="2459" y="1032"/>
                      </a:lnTo>
                      <a:lnTo>
                        <a:pt x="2459" y="1029"/>
                      </a:lnTo>
                      <a:lnTo>
                        <a:pt x="2461" y="1027"/>
                      </a:lnTo>
                      <a:lnTo>
                        <a:pt x="2461" y="1024"/>
                      </a:lnTo>
                      <a:lnTo>
                        <a:pt x="2461" y="1015"/>
                      </a:lnTo>
                      <a:lnTo>
                        <a:pt x="2461" y="1013"/>
                      </a:lnTo>
                      <a:lnTo>
                        <a:pt x="2461" y="1011"/>
                      </a:lnTo>
                      <a:lnTo>
                        <a:pt x="2462" y="1009"/>
                      </a:lnTo>
                      <a:lnTo>
                        <a:pt x="2463" y="1006"/>
                      </a:lnTo>
                      <a:lnTo>
                        <a:pt x="2464" y="1002"/>
                      </a:lnTo>
                      <a:lnTo>
                        <a:pt x="2464" y="998"/>
                      </a:lnTo>
                      <a:lnTo>
                        <a:pt x="2464" y="995"/>
                      </a:lnTo>
                      <a:lnTo>
                        <a:pt x="2464" y="993"/>
                      </a:lnTo>
                      <a:lnTo>
                        <a:pt x="2463" y="991"/>
                      </a:lnTo>
                      <a:lnTo>
                        <a:pt x="2459" y="988"/>
                      </a:lnTo>
                      <a:lnTo>
                        <a:pt x="2457" y="983"/>
                      </a:lnTo>
                      <a:lnTo>
                        <a:pt x="2455" y="979"/>
                      </a:lnTo>
                      <a:lnTo>
                        <a:pt x="2454" y="976"/>
                      </a:lnTo>
                      <a:lnTo>
                        <a:pt x="2453" y="974"/>
                      </a:lnTo>
                      <a:lnTo>
                        <a:pt x="2452" y="973"/>
                      </a:lnTo>
                      <a:lnTo>
                        <a:pt x="2451" y="972"/>
                      </a:lnTo>
                      <a:lnTo>
                        <a:pt x="2450" y="971"/>
                      </a:lnTo>
                      <a:lnTo>
                        <a:pt x="2450" y="969"/>
                      </a:lnTo>
                      <a:lnTo>
                        <a:pt x="2450" y="966"/>
                      </a:lnTo>
                      <a:lnTo>
                        <a:pt x="2452" y="962"/>
                      </a:lnTo>
                      <a:lnTo>
                        <a:pt x="2458" y="949"/>
                      </a:lnTo>
                      <a:lnTo>
                        <a:pt x="2465" y="936"/>
                      </a:lnTo>
                      <a:lnTo>
                        <a:pt x="2467" y="933"/>
                      </a:lnTo>
                      <a:lnTo>
                        <a:pt x="2469" y="929"/>
                      </a:lnTo>
                      <a:lnTo>
                        <a:pt x="2472" y="925"/>
                      </a:lnTo>
                      <a:lnTo>
                        <a:pt x="2473" y="924"/>
                      </a:lnTo>
                      <a:lnTo>
                        <a:pt x="2474" y="921"/>
                      </a:lnTo>
                      <a:lnTo>
                        <a:pt x="2475" y="917"/>
                      </a:lnTo>
                      <a:lnTo>
                        <a:pt x="2476" y="914"/>
                      </a:lnTo>
                      <a:lnTo>
                        <a:pt x="2476" y="913"/>
                      </a:lnTo>
                      <a:lnTo>
                        <a:pt x="2475" y="912"/>
                      </a:lnTo>
                      <a:lnTo>
                        <a:pt x="2474" y="912"/>
                      </a:lnTo>
                      <a:lnTo>
                        <a:pt x="2473" y="911"/>
                      </a:lnTo>
                      <a:lnTo>
                        <a:pt x="2472" y="909"/>
                      </a:lnTo>
                      <a:lnTo>
                        <a:pt x="2470" y="909"/>
                      </a:lnTo>
                      <a:lnTo>
                        <a:pt x="2470" y="908"/>
                      </a:lnTo>
                      <a:lnTo>
                        <a:pt x="2470" y="907"/>
                      </a:lnTo>
                      <a:lnTo>
                        <a:pt x="2470" y="906"/>
                      </a:lnTo>
                      <a:lnTo>
                        <a:pt x="2469" y="905"/>
                      </a:lnTo>
                      <a:lnTo>
                        <a:pt x="2468" y="904"/>
                      </a:lnTo>
                      <a:lnTo>
                        <a:pt x="2466" y="905"/>
                      </a:lnTo>
                      <a:lnTo>
                        <a:pt x="2464" y="906"/>
                      </a:lnTo>
                      <a:lnTo>
                        <a:pt x="2462" y="907"/>
                      </a:lnTo>
                      <a:lnTo>
                        <a:pt x="2459" y="909"/>
                      </a:lnTo>
                      <a:lnTo>
                        <a:pt x="2456" y="913"/>
                      </a:lnTo>
                      <a:lnTo>
                        <a:pt x="2454" y="914"/>
                      </a:lnTo>
                      <a:lnTo>
                        <a:pt x="2451" y="916"/>
                      </a:lnTo>
                      <a:lnTo>
                        <a:pt x="2447" y="918"/>
                      </a:lnTo>
                      <a:lnTo>
                        <a:pt x="2445" y="918"/>
                      </a:lnTo>
                      <a:lnTo>
                        <a:pt x="2444" y="918"/>
                      </a:lnTo>
                      <a:lnTo>
                        <a:pt x="2443" y="917"/>
                      </a:lnTo>
                      <a:lnTo>
                        <a:pt x="2443" y="914"/>
                      </a:lnTo>
                      <a:lnTo>
                        <a:pt x="2443" y="912"/>
                      </a:lnTo>
                      <a:lnTo>
                        <a:pt x="2442" y="909"/>
                      </a:lnTo>
                      <a:lnTo>
                        <a:pt x="2442" y="907"/>
                      </a:lnTo>
                      <a:lnTo>
                        <a:pt x="2441" y="905"/>
                      </a:lnTo>
                      <a:lnTo>
                        <a:pt x="2440" y="904"/>
                      </a:lnTo>
                      <a:lnTo>
                        <a:pt x="2438" y="903"/>
                      </a:lnTo>
                      <a:lnTo>
                        <a:pt x="2436" y="904"/>
                      </a:lnTo>
                      <a:lnTo>
                        <a:pt x="2435" y="905"/>
                      </a:lnTo>
                      <a:lnTo>
                        <a:pt x="2433" y="906"/>
                      </a:lnTo>
                      <a:lnTo>
                        <a:pt x="2431" y="907"/>
                      </a:lnTo>
                      <a:lnTo>
                        <a:pt x="2430" y="907"/>
                      </a:lnTo>
                      <a:lnTo>
                        <a:pt x="2423" y="907"/>
                      </a:lnTo>
                      <a:lnTo>
                        <a:pt x="2421" y="908"/>
                      </a:lnTo>
                      <a:lnTo>
                        <a:pt x="2419" y="908"/>
                      </a:lnTo>
                      <a:lnTo>
                        <a:pt x="2416" y="909"/>
                      </a:lnTo>
                      <a:lnTo>
                        <a:pt x="2414" y="912"/>
                      </a:lnTo>
                      <a:lnTo>
                        <a:pt x="2414" y="914"/>
                      </a:lnTo>
                      <a:lnTo>
                        <a:pt x="2413" y="917"/>
                      </a:lnTo>
                      <a:lnTo>
                        <a:pt x="2412" y="918"/>
                      </a:lnTo>
                      <a:lnTo>
                        <a:pt x="2408" y="922"/>
                      </a:lnTo>
                      <a:lnTo>
                        <a:pt x="2404" y="925"/>
                      </a:lnTo>
                      <a:lnTo>
                        <a:pt x="2400" y="927"/>
                      </a:lnTo>
                      <a:lnTo>
                        <a:pt x="2397" y="929"/>
                      </a:lnTo>
                      <a:lnTo>
                        <a:pt x="2393" y="929"/>
                      </a:lnTo>
                      <a:lnTo>
                        <a:pt x="2392" y="930"/>
                      </a:lnTo>
                      <a:lnTo>
                        <a:pt x="2390" y="932"/>
                      </a:lnTo>
                      <a:lnTo>
                        <a:pt x="2388" y="933"/>
                      </a:lnTo>
                      <a:lnTo>
                        <a:pt x="2386" y="935"/>
                      </a:lnTo>
                      <a:lnTo>
                        <a:pt x="2385" y="937"/>
                      </a:lnTo>
                      <a:lnTo>
                        <a:pt x="2382" y="938"/>
                      </a:lnTo>
                      <a:lnTo>
                        <a:pt x="2377" y="941"/>
                      </a:lnTo>
                      <a:lnTo>
                        <a:pt x="2371" y="945"/>
                      </a:lnTo>
                      <a:lnTo>
                        <a:pt x="2366" y="947"/>
                      </a:lnTo>
                      <a:lnTo>
                        <a:pt x="2363" y="945"/>
                      </a:lnTo>
                      <a:lnTo>
                        <a:pt x="2360" y="940"/>
                      </a:lnTo>
                      <a:lnTo>
                        <a:pt x="2357" y="940"/>
                      </a:lnTo>
                      <a:lnTo>
                        <a:pt x="2352" y="943"/>
                      </a:lnTo>
                      <a:lnTo>
                        <a:pt x="2345" y="947"/>
                      </a:lnTo>
                      <a:lnTo>
                        <a:pt x="2334" y="955"/>
                      </a:lnTo>
                      <a:lnTo>
                        <a:pt x="2321" y="962"/>
                      </a:lnTo>
                      <a:lnTo>
                        <a:pt x="2317" y="963"/>
                      </a:lnTo>
                      <a:lnTo>
                        <a:pt x="2314" y="962"/>
                      </a:lnTo>
                      <a:lnTo>
                        <a:pt x="2311" y="961"/>
                      </a:lnTo>
                      <a:lnTo>
                        <a:pt x="2309" y="959"/>
                      </a:lnTo>
                      <a:lnTo>
                        <a:pt x="2305" y="956"/>
                      </a:lnTo>
                      <a:lnTo>
                        <a:pt x="2305" y="954"/>
                      </a:lnTo>
                      <a:lnTo>
                        <a:pt x="2303" y="952"/>
                      </a:lnTo>
                      <a:lnTo>
                        <a:pt x="2301" y="951"/>
                      </a:lnTo>
                      <a:lnTo>
                        <a:pt x="2300" y="950"/>
                      </a:lnTo>
                      <a:lnTo>
                        <a:pt x="2298" y="950"/>
                      </a:lnTo>
                      <a:lnTo>
                        <a:pt x="2296" y="950"/>
                      </a:lnTo>
                      <a:lnTo>
                        <a:pt x="2294" y="949"/>
                      </a:lnTo>
                      <a:lnTo>
                        <a:pt x="2294" y="948"/>
                      </a:lnTo>
                      <a:lnTo>
                        <a:pt x="2294" y="946"/>
                      </a:lnTo>
                      <a:lnTo>
                        <a:pt x="2294" y="945"/>
                      </a:lnTo>
                      <a:lnTo>
                        <a:pt x="2293" y="944"/>
                      </a:lnTo>
                      <a:lnTo>
                        <a:pt x="2292" y="943"/>
                      </a:lnTo>
                      <a:lnTo>
                        <a:pt x="2291" y="943"/>
                      </a:lnTo>
                      <a:lnTo>
                        <a:pt x="2289" y="941"/>
                      </a:lnTo>
                      <a:lnTo>
                        <a:pt x="2287" y="943"/>
                      </a:lnTo>
                      <a:lnTo>
                        <a:pt x="2285" y="943"/>
                      </a:lnTo>
                      <a:lnTo>
                        <a:pt x="2283" y="943"/>
                      </a:lnTo>
                      <a:lnTo>
                        <a:pt x="2281" y="943"/>
                      </a:lnTo>
                      <a:lnTo>
                        <a:pt x="2280" y="941"/>
                      </a:lnTo>
                      <a:lnTo>
                        <a:pt x="2279" y="940"/>
                      </a:lnTo>
                      <a:lnTo>
                        <a:pt x="2279" y="938"/>
                      </a:lnTo>
                      <a:lnTo>
                        <a:pt x="2279" y="936"/>
                      </a:lnTo>
                      <a:lnTo>
                        <a:pt x="2279" y="934"/>
                      </a:lnTo>
                      <a:lnTo>
                        <a:pt x="2279" y="930"/>
                      </a:lnTo>
                      <a:lnTo>
                        <a:pt x="2278" y="928"/>
                      </a:lnTo>
                      <a:lnTo>
                        <a:pt x="2277" y="925"/>
                      </a:lnTo>
                      <a:lnTo>
                        <a:pt x="2276" y="924"/>
                      </a:lnTo>
                      <a:lnTo>
                        <a:pt x="2274" y="921"/>
                      </a:lnTo>
                      <a:lnTo>
                        <a:pt x="2274" y="917"/>
                      </a:lnTo>
                      <a:lnTo>
                        <a:pt x="2274" y="914"/>
                      </a:lnTo>
                      <a:lnTo>
                        <a:pt x="2274" y="913"/>
                      </a:lnTo>
                      <a:lnTo>
                        <a:pt x="2274" y="909"/>
                      </a:lnTo>
                      <a:lnTo>
                        <a:pt x="2273" y="907"/>
                      </a:lnTo>
                      <a:lnTo>
                        <a:pt x="2272" y="905"/>
                      </a:lnTo>
                      <a:lnTo>
                        <a:pt x="2272" y="904"/>
                      </a:lnTo>
                      <a:lnTo>
                        <a:pt x="2270" y="902"/>
                      </a:lnTo>
                      <a:lnTo>
                        <a:pt x="2269" y="902"/>
                      </a:lnTo>
                      <a:lnTo>
                        <a:pt x="2266" y="902"/>
                      </a:lnTo>
                      <a:lnTo>
                        <a:pt x="2263" y="903"/>
                      </a:lnTo>
                      <a:lnTo>
                        <a:pt x="2260" y="903"/>
                      </a:lnTo>
                      <a:lnTo>
                        <a:pt x="2259" y="902"/>
                      </a:lnTo>
                      <a:lnTo>
                        <a:pt x="2257" y="901"/>
                      </a:lnTo>
                      <a:lnTo>
                        <a:pt x="2257" y="898"/>
                      </a:lnTo>
                      <a:lnTo>
                        <a:pt x="2256" y="895"/>
                      </a:lnTo>
                      <a:lnTo>
                        <a:pt x="2257" y="889"/>
                      </a:lnTo>
                      <a:lnTo>
                        <a:pt x="2260" y="883"/>
                      </a:lnTo>
                      <a:lnTo>
                        <a:pt x="2263" y="878"/>
                      </a:lnTo>
                      <a:lnTo>
                        <a:pt x="2266" y="868"/>
                      </a:lnTo>
                      <a:lnTo>
                        <a:pt x="2268" y="858"/>
                      </a:lnTo>
                      <a:lnTo>
                        <a:pt x="2272" y="849"/>
                      </a:lnTo>
                      <a:lnTo>
                        <a:pt x="2278" y="839"/>
                      </a:lnTo>
                      <a:lnTo>
                        <a:pt x="2282" y="830"/>
                      </a:lnTo>
                      <a:lnTo>
                        <a:pt x="2285" y="820"/>
                      </a:lnTo>
                      <a:lnTo>
                        <a:pt x="2287" y="816"/>
                      </a:lnTo>
                      <a:lnTo>
                        <a:pt x="2287" y="813"/>
                      </a:lnTo>
                      <a:lnTo>
                        <a:pt x="2287" y="810"/>
                      </a:lnTo>
                      <a:lnTo>
                        <a:pt x="2285" y="807"/>
                      </a:lnTo>
                      <a:lnTo>
                        <a:pt x="2285" y="805"/>
                      </a:lnTo>
                      <a:lnTo>
                        <a:pt x="2285" y="789"/>
                      </a:lnTo>
                      <a:lnTo>
                        <a:pt x="2288" y="780"/>
                      </a:lnTo>
                      <a:lnTo>
                        <a:pt x="2290" y="769"/>
                      </a:lnTo>
                      <a:lnTo>
                        <a:pt x="2294" y="759"/>
                      </a:lnTo>
                      <a:lnTo>
                        <a:pt x="2306" y="743"/>
                      </a:lnTo>
                      <a:lnTo>
                        <a:pt x="2314" y="728"/>
                      </a:lnTo>
                      <a:lnTo>
                        <a:pt x="2321" y="716"/>
                      </a:lnTo>
                      <a:lnTo>
                        <a:pt x="2327" y="705"/>
                      </a:lnTo>
                      <a:lnTo>
                        <a:pt x="2332" y="693"/>
                      </a:lnTo>
                      <a:lnTo>
                        <a:pt x="2336" y="688"/>
                      </a:lnTo>
                      <a:lnTo>
                        <a:pt x="2339" y="684"/>
                      </a:lnTo>
                      <a:lnTo>
                        <a:pt x="2343" y="679"/>
                      </a:lnTo>
                      <a:lnTo>
                        <a:pt x="2345" y="675"/>
                      </a:lnTo>
                      <a:lnTo>
                        <a:pt x="2347" y="672"/>
                      </a:lnTo>
                      <a:lnTo>
                        <a:pt x="2349" y="668"/>
                      </a:lnTo>
                      <a:lnTo>
                        <a:pt x="2353" y="666"/>
                      </a:lnTo>
                      <a:lnTo>
                        <a:pt x="2355" y="664"/>
                      </a:lnTo>
                      <a:lnTo>
                        <a:pt x="2357" y="662"/>
                      </a:lnTo>
                      <a:lnTo>
                        <a:pt x="2358" y="660"/>
                      </a:lnTo>
                      <a:lnTo>
                        <a:pt x="2361" y="658"/>
                      </a:lnTo>
                      <a:lnTo>
                        <a:pt x="2364" y="656"/>
                      </a:lnTo>
                      <a:lnTo>
                        <a:pt x="2367" y="654"/>
                      </a:lnTo>
                      <a:lnTo>
                        <a:pt x="2369" y="651"/>
                      </a:lnTo>
                      <a:lnTo>
                        <a:pt x="2377" y="643"/>
                      </a:lnTo>
                      <a:lnTo>
                        <a:pt x="2383" y="635"/>
                      </a:lnTo>
                      <a:lnTo>
                        <a:pt x="2390" y="625"/>
                      </a:lnTo>
                      <a:lnTo>
                        <a:pt x="2391" y="621"/>
                      </a:lnTo>
                      <a:lnTo>
                        <a:pt x="2391" y="617"/>
                      </a:lnTo>
                      <a:lnTo>
                        <a:pt x="2391" y="612"/>
                      </a:lnTo>
                      <a:lnTo>
                        <a:pt x="2392" y="608"/>
                      </a:lnTo>
                      <a:lnTo>
                        <a:pt x="2399" y="595"/>
                      </a:lnTo>
                      <a:lnTo>
                        <a:pt x="2402" y="584"/>
                      </a:lnTo>
                      <a:lnTo>
                        <a:pt x="2407" y="574"/>
                      </a:lnTo>
                      <a:lnTo>
                        <a:pt x="2414" y="566"/>
                      </a:lnTo>
                      <a:lnTo>
                        <a:pt x="2420" y="561"/>
                      </a:lnTo>
                      <a:lnTo>
                        <a:pt x="2425" y="555"/>
                      </a:lnTo>
                      <a:lnTo>
                        <a:pt x="2432" y="546"/>
                      </a:lnTo>
                      <a:lnTo>
                        <a:pt x="2434" y="538"/>
                      </a:lnTo>
                      <a:lnTo>
                        <a:pt x="2437" y="531"/>
                      </a:lnTo>
                      <a:lnTo>
                        <a:pt x="2441" y="524"/>
                      </a:lnTo>
                      <a:lnTo>
                        <a:pt x="2442" y="522"/>
                      </a:lnTo>
                      <a:lnTo>
                        <a:pt x="2443" y="522"/>
                      </a:lnTo>
                      <a:lnTo>
                        <a:pt x="2444" y="522"/>
                      </a:lnTo>
                      <a:lnTo>
                        <a:pt x="2445" y="523"/>
                      </a:lnTo>
                      <a:lnTo>
                        <a:pt x="2447" y="524"/>
                      </a:lnTo>
                      <a:lnTo>
                        <a:pt x="2448" y="524"/>
                      </a:lnTo>
                      <a:lnTo>
                        <a:pt x="2452" y="524"/>
                      </a:lnTo>
                      <a:lnTo>
                        <a:pt x="2454" y="525"/>
                      </a:lnTo>
                      <a:lnTo>
                        <a:pt x="2456" y="526"/>
                      </a:lnTo>
                      <a:lnTo>
                        <a:pt x="2457" y="526"/>
                      </a:lnTo>
                      <a:lnTo>
                        <a:pt x="2459" y="526"/>
                      </a:lnTo>
                      <a:lnTo>
                        <a:pt x="2462" y="525"/>
                      </a:lnTo>
                      <a:lnTo>
                        <a:pt x="2464" y="524"/>
                      </a:lnTo>
                      <a:lnTo>
                        <a:pt x="2467" y="524"/>
                      </a:lnTo>
                      <a:lnTo>
                        <a:pt x="2469" y="523"/>
                      </a:lnTo>
                      <a:lnTo>
                        <a:pt x="2472" y="522"/>
                      </a:lnTo>
                      <a:lnTo>
                        <a:pt x="2476" y="520"/>
                      </a:lnTo>
                      <a:lnTo>
                        <a:pt x="2479" y="516"/>
                      </a:lnTo>
                      <a:lnTo>
                        <a:pt x="2481" y="515"/>
                      </a:lnTo>
                      <a:lnTo>
                        <a:pt x="2485" y="514"/>
                      </a:lnTo>
                      <a:lnTo>
                        <a:pt x="2487" y="512"/>
                      </a:lnTo>
                      <a:lnTo>
                        <a:pt x="2489" y="510"/>
                      </a:lnTo>
                      <a:lnTo>
                        <a:pt x="2491" y="507"/>
                      </a:lnTo>
                      <a:lnTo>
                        <a:pt x="2492" y="503"/>
                      </a:lnTo>
                      <a:lnTo>
                        <a:pt x="2494" y="501"/>
                      </a:lnTo>
                      <a:lnTo>
                        <a:pt x="2496" y="500"/>
                      </a:lnTo>
                      <a:lnTo>
                        <a:pt x="2498" y="500"/>
                      </a:lnTo>
                      <a:lnTo>
                        <a:pt x="2500" y="500"/>
                      </a:lnTo>
                      <a:lnTo>
                        <a:pt x="2501" y="500"/>
                      </a:lnTo>
                      <a:lnTo>
                        <a:pt x="2503" y="500"/>
                      </a:lnTo>
                      <a:lnTo>
                        <a:pt x="2505" y="498"/>
                      </a:lnTo>
                      <a:lnTo>
                        <a:pt x="2507" y="496"/>
                      </a:lnTo>
                      <a:lnTo>
                        <a:pt x="2507" y="493"/>
                      </a:lnTo>
                      <a:lnTo>
                        <a:pt x="2507" y="490"/>
                      </a:lnTo>
                      <a:lnTo>
                        <a:pt x="2507" y="489"/>
                      </a:lnTo>
                      <a:lnTo>
                        <a:pt x="2508" y="487"/>
                      </a:lnTo>
                      <a:lnTo>
                        <a:pt x="2509" y="487"/>
                      </a:lnTo>
                      <a:lnTo>
                        <a:pt x="2511" y="486"/>
                      </a:lnTo>
                      <a:lnTo>
                        <a:pt x="2512" y="486"/>
                      </a:lnTo>
                      <a:lnTo>
                        <a:pt x="2513" y="486"/>
                      </a:lnTo>
                      <a:lnTo>
                        <a:pt x="2514" y="487"/>
                      </a:lnTo>
                      <a:lnTo>
                        <a:pt x="2516" y="487"/>
                      </a:lnTo>
                      <a:lnTo>
                        <a:pt x="2521" y="487"/>
                      </a:lnTo>
                      <a:lnTo>
                        <a:pt x="2527" y="483"/>
                      </a:lnTo>
                      <a:lnTo>
                        <a:pt x="2533" y="480"/>
                      </a:lnTo>
                      <a:lnTo>
                        <a:pt x="2535" y="480"/>
                      </a:lnTo>
                      <a:lnTo>
                        <a:pt x="2536" y="480"/>
                      </a:lnTo>
                      <a:lnTo>
                        <a:pt x="2539" y="479"/>
                      </a:lnTo>
                      <a:lnTo>
                        <a:pt x="2542" y="478"/>
                      </a:lnTo>
                      <a:lnTo>
                        <a:pt x="2543" y="476"/>
                      </a:lnTo>
                      <a:lnTo>
                        <a:pt x="2544" y="474"/>
                      </a:lnTo>
                      <a:lnTo>
                        <a:pt x="2545" y="471"/>
                      </a:lnTo>
                      <a:lnTo>
                        <a:pt x="2546" y="469"/>
                      </a:lnTo>
                      <a:lnTo>
                        <a:pt x="2549" y="469"/>
                      </a:lnTo>
                      <a:lnTo>
                        <a:pt x="2552" y="470"/>
                      </a:lnTo>
                      <a:lnTo>
                        <a:pt x="2554" y="471"/>
                      </a:lnTo>
                      <a:lnTo>
                        <a:pt x="2556" y="472"/>
                      </a:lnTo>
                      <a:lnTo>
                        <a:pt x="2557" y="474"/>
                      </a:lnTo>
                      <a:lnTo>
                        <a:pt x="2560" y="475"/>
                      </a:lnTo>
                      <a:lnTo>
                        <a:pt x="2563" y="474"/>
                      </a:lnTo>
                      <a:lnTo>
                        <a:pt x="2565" y="472"/>
                      </a:lnTo>
                      <a:lnTo>
                        <a:pt x="2567" y="469"/>
                      </a:lnTo>
                      <a:lnTo>
                        <a:pt x="2568" y="467"/>
                      </a:lnTo>
                      <a:lnTo>
                        <a:pt x="2570" y="466"/>
                      </a:lnTo>
                      <a:lnTo>
                        <a:pt x="2571" y="465"/>
                      </a:lnTo>
                      <a:lnTo>
                        <a:pt x="2572" y="464"/>
                      </a:lnTo>
                      <a:lnTo>
                        <a:pt x="2573" y="464"/>
                      </a:lnTo>
                      <a:lnTo>
                        <a:pt x="2574" y="464"/>
                      </a:lnTo>
                      <a:lnTo>
                        <a:pt x="2575" y="465"/>
                      </a:lnTo>
                      <a:lnTo>
                        <a:pt x="2575" y="467"/>
                      </a:lnTo>
                      <a:lnTo>
                        <a:pt x="2575" y="469"/>
                      </a:lnTo>
                      <a:lnTo>
                        <a:pt x="2575" y="471"/>
                      </a:lnTo>
                      <a:lnTo>
                        <a:pt x="2574" y="474"/>
                      </a:lnTo>
                      <a:lnTo>
                        <a:pt x="2574" y="476"/>
                      </a:lnTo>
                      <a:lnTo>
                        <a:pt x="2575" y="478"/>
                      </a:lnTo>
                      <a:lnTo>
                        <a:pt x="2576" y="485"/>
                      </a:lnTo>
                      <a:lnTo>
                        <a:pt x="2578" y="490"/>
                      </a:lnTo>
                      <a:lnTo>
                        <a:pt x="2579" y="498"/>
                      </a:lnTo>
                      <a:lnTo>
                        <a:pt x="2579" y="501"/>
                      </a:lnTo>
                      <a:lnTo>
                        <a:pt x="2577" y="503"/>
                      </a:lnTo>
                      <a:lnTo>
                        <a:pt x="2575" y="507"/>
                      </a:lnTo>
                      <a:lnTo>
                        <a:pt x="2573" y="510"/>
                      </a:lnTo>
                      <a:lnTo>
                        <a:pt x="2571" y="513"/>
                      </a:lnTo>
                      <a:lnTo>
                        <a:pt x="2570" y="515"/>
                      </a:lnTo>
                      <a:lnTo>
                        <a:pt x="2570" y="518"/>
                      </a:lnTo>
                      <a:lnTo>
                        <a:pt x="2571" y="519"/>
                      </a:lnTo>
                      <a:lnTo>
                        <a:pt x="2571" y="520"/>
                      </a:lnTo>
                      <a:lnTo>
                        <a:pt x="2572" y="520"/>
                      </a:lnTo>
                      <a:lnTo>
                        <a:pt x="2573" y="520"/>
                      </a:lnTo>
                      <a:lnTo>
                        <a:pt x="2573" y="522"/>
                      </a:lnTo>
                      <a:lnTo>
                        <a:pt x="2573" y="524"/>
                      </a:lnTo>
                      <a:lnTo>
                        <a:pt x="2574" y="526"/>
                      </a:lnTo>
                      <a:lnTo>
                        <a:pt x="2574" y="529"/>
                      </a:lnTo>
                      <a:lnTo>
                        <a:pt x="2575" y="531"/>
                      </a:lnTo>
                      <a:lnTo>
                        <a:pt x="2576" y="532"/>
                      </a:lnTo>
                      <a:lnTo>
                        <a:pt x="2577" y="532"/>
                      </a:lnTo>
                      <a:lnTo>
                        <a:pt x="2578" y="532"/>
                      </a:lnTo>
                      <a:lnTo>
                        <a:pt x="2581" y="532"/>
                      </a:lnTo>
                      <a:lnTo>
                        <a:pt x="2582" y="533"/>
                      </a:lnTo>
                      <a:lnTo>
                        <a:pt x="2583" y="533"/>
                      </a:lnTo>
                      <a:lnTo>
                        <a:pt x="2584" y="534"/>
                      </a:lnTo>
                      <a:lnTo>
                        <a:pt x="2584" y="535"/>
                      </a:lnTo>
                      <a:lnTo>
                        <a:pt x="2585" y="536"/>
                      </a:lnTo>
                      <a:lnTo>
                        <a:pt x="2586" y="537"/>
                      </a:lnTo>
                      <a:lnTo>
                        <a:pt x="2588" y="536"/>
                      </a:lnTo>
                      <a:lnTo>
                        <a:pt x="2590" y="535"/>
                      </a:lnTo>
                      <a:lnTo>
                        <a:pt x="2593" y="535"/>
                      </a:lnTo>
                      <a:lnTo>
                        <a:pt x="2595" y="535"/>
                      </a:lnTo>
                      <a:lnTo>
                        <a:pt x="2597" y="537"/>
                      </a:lnTo>
                      <a:lnTo>
                        <a:pt x="2597" y="540"/>
                      </a:lnTo>
                      <a:lnTo>
                        <a:pt x="2598" y="542"/>
                      </a:lnTo>
                      <a:lnTo>
                        <a:pt x="2599" y="544"/>
                      </a:lnTo>
                      <a:lnTo>
                        <a:pt x="2600" y="546"/>
                      </a:lnTo>
                      <a:lnTo>
                        <a:pt x="2601" y="548"/>
                      </a:lnTo>
                      <a:lnTo>
                        <a:pt x="2603" y="549"/>
                      </a:lnTo>
                      <a:lnTo>
                        <a:pt x="2603" y="551"/>
                      </a:lnTo>
                      <a:lnTo>
                        <a:pt x="2605" y="551"/>
                      </a:lnTo>
                      <a:lnTo>
                        <a:pt x="2606" y="551"/>
                      </a:lnTo>
                      <a:lnTo>
                        <a:pt x="2608" y="552"/>
                      </a:lnTo>
                      <a:lnTo>
                        <a:pt x="2610" y="553"/>
                      </a:lnTo>
                      <a:lnTo>
                        <a:pt x="2612" y="553"/>
                      </a:lnTo>
                      <a:lnTo>
                        <a:pt x="2614" y="554"/>
                      </a:lnTo>
                      <a:lnTo>
                        <a:pt x="2615" y="556"/>
                      </a:lnTo>
                      <a:lnTo>
                        <a:pt x="2616" y="556"/>
                      </a:lnTo>
                      <a:lnTo>
                        <a:pt x="2617" y="557"/>
                      </a:lnTo>
                      <a:lnTo>
                        <a:pt x="2620" y="557"/>
                      </a:lnTo>
                      <a:lnTo>
                        <a:pt x="2621" y="557"/>
                      </a:lnTo>
                      <a:lnTo>
                        <a:pt x="2623" y="555"/>
                      </a:lnTo>
                      <a:lnTo>
                        <a:pt x="2626" y="553"/>
                      </a:lnTo>
                      <a:lnTo>
                        <a:pt x="2628" y="551"/>
                      </a:lnTo>
                      <a:lnTo>
                        <a:pt x="2631" y="548"/>
                      </a:lnTo>
                      <a:lnTo>
                        <a:pt x="2632" y="546"/>
                      </a:lnTo>
                      <a:lnTo>
                        <a:pt x="2632" y="544"/>
                      </a:lnTo>
                      <a:lnTo>
                        <a:pt x="2632" y="541"/>
                      </a:lnTo>
                      <a:lnTo>
                        <a:pt x="2632" y="538"/>
                      </a:lnTo>
                      <a:lnTo>
                        <a:pt x="2632" y="535"/>
                      </a:lnTo>
                      <a:lnTo>
                        <a:pt x="2633" y="532"/>
                      </a:lnTo>
                      <a:lnTo>
                        <a:pt x="2633" y="531"/>
                      </a:lnTo>
                      <a:lnTo>
                        <a:pt x="2636" y="529"/>
                      </a:lnTo>
                      <a:lnTo>
                        <a:pt x="2637" y="527"/>
                      </a:lnTo>
                      <a:lnTo>
                        <a:pt x="2638" y="526"/>
                      </a:lnTo>
                      <a:lnTo>
                        <a:pt x="2639" y="524"/>
                      </a:lnTo>
                      <a:lnTo>
                        <a:pt x="2641" y="521"/>
                      </a:lnTo>
                      <a:lnTo>
                        <a:pt x="2643" y="518"/>
                      </a:lnTo>
                      <a:lnTo>
                        <a:pt x="2645" y="515"/>
                      </a:lnTo>
                      <a:lnTo>
                        <a:pt x="2648" y="514"/>
                      </a:lnTo>
                      <a:lnTo>
                        <a:pt x="2650" y="513"/>
                      </a:lnTo>
                      <a:lnTo>
                        <a:pt x="2651" y="514"/>
                      </a:lnTo>
                      <a:lnTo>
                        <a:pt x="2653" y="516"/>
                      </a:lnTo>
                      <a:lnTo>
                        <a:pt x="2655" y="519"/>
                      </a:lnTo>
                      <a:lnTo>
                        <a:pt x="2656" y="522"/>
                      </a:lnTo>
                      <a:lnTo>
                        <a:pt x="2659" y="524"/>
                      </a:lnTo>
                      <a:lnTo>
                        <a:pt x="2661" y="525"/>
                      </a:lnTo>
                      <a:lnTo>
                        <a:pt x="2663" y="526"/>
                      </a:lnTo>
                      <a:lnTo>
                        <a:pt x="2665" y="526"/>
                      </a:lnTo>
                      <a:lnTo>
                        <a:pt x="2667" y="526"/>
                      </a:lnTo>
                      <a:lnTo>
                        <a:pt x="2670" y="525"/>
                      </a:lnTo>
                      <a:lnTo>
                        <a:pt x="2672" y="525"/>
                      </a:lnTo>
                      <a:lnTo>
                        <a:pt x="2674" y="526"/>
                      </a:lnTo>
                      <a:lnTo>
                        <a:pt x="2675" y="526"/>
                      </a:lnTo>
                      <a:lnTo>
                        <a:pt x="2675" y="525"/>
                      </a:lnTo>
                      <a:lnTo>
                        <a:pt x="2675" y="523"/>
                      </a:lnTo>
                      <a:lnTo>
                        <a:pt x="2676" y="522"/>
                      </a:lnTo>
                      <a:lnTo>
                        <a:pt x="2676" y="522"/>
                      </a:lnTo>
                      <a:lnTo>
                        <a:pt x="2678" y="521"/>
                      </a:lnTo>
                      <a:lnTo>
                        <a:pt x="2681" y="521"/>
                      </a:lnTo>
                      <a:lnTo>
                        <a:pt x="2682" y="522"/>
                      </a:lnTo>
                      <a:lnTo>
                        <a:pt x="2684" y="523"/>
                      </a:lnTo>
                      <a:lnTo>
                        <a:pt x="2686" y="524"/>
                      </a:lnTo>
                      <a:lnTo>
                        <a:pt x="2686" y="525"/>
                      </a:lnTo>
                      <a:lnTo>
                        <a:pt x="2686" y="525"/>
                      </a:lnTo>
                      <a:lnTo>
                        <a:pt x="2687" y="524"/>
                      </a:lnTo>
                      <a:lnTo>
                        <a:pt x="2688" y="523"/>
                      </a:lnTo>
                      <a:lnTo>
                        <a:pt x="2691" y="522"/>
                      </a:lnTo>
                      <a:lnTo>
                        <a:pt x="2692" y="520"/>
                      </a:lnTo>
                      <a:lnTo>
                        <a:pt x="2692" y="519"/>
                      </a:lnTo>
                      <a:lnTo>
                        <a:pt x="2693" y="518"/>
                      </a:lnTo>
                      <a:lnTo>
                        <a:pt x="2694" y="518"/>
                      </a:lnTo>
                      <a:lnTo>
                        <a:pt x="2695" y="518"/>
                      </a:lnTo>
                      <a:lnTo>
                        <a:pt x="2696" y="515"/>
                      </a:lnTo>
                      <a:lnTo>
                        <a:pt x="2698" y="513"/>
                      </a:lnTo>
                      <a:lnTo>
                        <a:pt x="2701" y="510"/>
                      </a:lnTo>
                      <a:lnTo>
                        <a:pt x="2702" y="508"/>
                      </a:lnTo>
                      <a:lnTo>
                        <a:pt x="2704" y="505"/>
                      </a:lnTo>
                      <a:lnTo>
                        <a:pt x="2706" y="504"/>
                      </a:lnTo>
                      <a:lnTo>
                        <a:pt x="2707" y="504"/>
                      </a:lnTo>
                      <a:lnTo>
                        <a:pt x="2707" y="505"/>
                      </a:lnTo>
                      <a:lnTo>
                        <a:pt x="2708" y="505"/>
                      </a:lnTo>
                      <a:lnTo>
                        <a:pt x="2709" y="505"/>
                      </a:lnTo>
                      <a:lnTo>
                        <a:pt x="2710" y="504"/>
                      </a:lnTo>
                      <a:lnTo>
                        <a:pt x="2712" y="504"/>
                      </a:lnTo>
                      <a:lnTo>
                        <a:pt x="2713" y="503"/>
                      </a:lnTo>
                      <a:lnTo>
                        <a:pt x="2714" y="501"/>
                      </a:lnTo>
                      <a:lnTo>
                        <a:pt x="2714" y="500"/>
                      </a:lnTo>
                      <a:lnTo>
                        <a:pt x="2715" y="500"/>
                      </a:lnTo>
                      <a:lnTo>
                        <a:pt x="2716" y="500"/>
                      </a:lnTo>
                      <a:lnTo>
                        <a:pt x="2718" y="500"/>
                      </a:lnTo>
                      <a:lnTo>
                        <a:pt x="2719" y="500"/>
                      </a:lnTo>
                      <a:lnTo>
                        <a:pt x="2721" y="500"/>
                      </a:lnTo>
                      <a:lnTo>
                        <a:pt x="2723" y="499"/>
                      </a:lnTo>
                      <a:lnTo>
                        <a:pt x="2724" y="498"/>
                      </a:lnTo>
                      <a:lnTo>
                        <a:pt x="2724" y="497"/>
                      </a:lnTo>
                      <a:lnTo>
                        <a:pt x="2724" y="493"/>
                      </a:lnTo>
                      <a:lnTo>
                        <a:pt x="2723" y="491"/>
                      </a:lnTo>
                      <a:lnTo>
                        <a:pt x="2724" y="489"/>
                      </a:lnTo>
                      <a:lnTo>
                        <a:pt x="2725" y="488"/>
                      </a:lnTo>
                      <a:lnTo>
                        <a:pt x="2726" y="487"/>
                      </a:lnTo>
                      <a:lnTo>
                        <a:pt x="2727" y="486"/>
                      </a:lnTo>
                      <a:lnTo>
                        <a:pt x="2729" y="486"/>
                      </a:lnTo>
                      <a:lnTo>
                        <a:pt x="2730" y="485"/>
                      </a:lnTo>
                      <a:lnTo>
                        <a:pt x="2731" y="482"/>
                      </a:lnTo>
                      <a:lnTo>
                        <a:pt x="2732" y="480"/>
                      </a:lnTo>
                      <a:lnTo>
                        <a:pt x="2734" y="477"/>
                      </a:lnTo>
                      <a:lnTo>
                        <a:pt x="2735" y="474"/>
                      </a:lnTo>
                      <a:lnTo>
                        <a:pt x="2736" y="469"/>
                      </a:lnTo>
                      <a:lnTo>
                        <a:pt x="2737" y="465"/>
                      </a:lnTo>
                      <a:lnTo>
                        <a:pt x="2737" y="460"/>
                      </a:lnTo>
                      <a:lnTo>
                        <a:pt x="2739" y="453"/>
                      </a:lnTo>
                      <a:lnTo>
                        <a:pt x="2740" y="444"/>
                      </a:lnTo>
                      <a:lnTo>
                        <a:pt x="2741" y="436"/>
                      </a:lnTo>
                      <a:lnTo>
                        <a:pt x="2740" y="434"/>
                      </a:lnTo>
                      <a:lnTo>
                        <a:pt x="2740" y="432"/>
                      </a:lnTo>
                      <a:lnTo>
                        <a:pt x="2739" y="432"/>
                      </a:lnTo>
                      <a:lnTo>
                        <a:pt x="2737" y="432"/>
                      </a:lnTo>
                      <a:lnTo>
                        <a:pt x="2736" y="432"/>
                      </a:lnTo>
                      <a:lnTo>
                        <a:pt x="2735" y="433"/>
                      </a:lnTo>
                      <a:lnTo>
                        <a:pt x="2734" y="435"/>
                      </a:lnTo>
                      <a:lnTo>
                        <a:pt x="2732" y="436"/>
                      </a:lnTo>
                      <a:lnTo>
                        <a:pt x="2726" y="443"/>
                      </a:lnTo>
                      <a:lnTo>
                        <a:pt x="2725" y="444"/>
                      </a:lnTo>
                      <a:lnTo>
                        <a:pt x="2725" y="445"/>
                      </a:lnTo>
                      <a:lnTo>
                        <a:pt x="2724" y="446"/>
                      </a:lnTo>
                      <a:lnTo>
                        <a:pt x="2724" y="446"/>
                      </a:lnTo>
                      <a:lnTo>
                        <a:pt x="2724" y="445"/>
                      </a:lnTo>
                      <a:lnTo>
                        <a:pt x="2721" y="445"/>
                      </a:lnTo>
                      <a:lnTo>
                        <a:pt x="2720" y="443"/>
                      </a:lnTo>
                      <a:lnTo>
                        <a:pt x="2718" y="441"/>
                      </a:lnTo>
                      <a:lnTo>
                        <a:pt x="2717" y="438"/>
                      </a:lnTo>
                      <a:lnTo>
                        <a:pt x="2715" y="438"/>
                      </a:lnTo>
                      <a:lnTo>
                        <a:pt x="2713" y="438"/>
                      </a:lnTo>
                      <a:lnTo>
                        <a:pt x="2710" y="436"/>
                      </a:lnTo>
                      <a:lnTo>
                        <a:pt x="2708" y="436"/>
                      </a:lnTo>
                      <a:lnTo>
                        <a:pt x="2707" y="437"/>
                      </a:lnTo>
                      <a:lnTo>
                        <a:pt x="2705" y="438"/>
                      </a:lnTo>
                      <a:lnTo>
                        <a:pt x="2704" y="441"/>
                      </a:lnTo>
                      <a:lnTo>
                        <a:pt x="2703" y="442"/>
                      </a:lnTo>
                      <a:lnTo>
                        <a:pt x="2702" y="443"/>
                      </a:lnTo>
                      <a:lnTo>
                        <a:pt x="2699" y="444"/>
                      </a:lnTo>
                      <a:lnTo>
                        <a:pt x="2698" y="445"/>
                      </a:lnTo>
                      <a:lnTo>
                        <a:pt x="2697" y="446"/>
                      </a:lnTo>
                      <a:lnTo>
                        <a:pt x="2696" y="446"/>
                      </a:lnTo>
                      <a:lnTo>
                        <a:pt x="2695" y="445"/>
                      </a:lnTo>
                      <a:lnTo>
                        <a:pt x="2695" y="443"/>
                      </a:lnTo>
                      <a:lnTo>
                        <a:pt x="2694" y="441"/>
                      </a:lnTo>
                      <a:lnTo>
                        <a:pt x="2694" y="438"/>
                      </a:lnTo>
                      <a:lnTo>
                        <a:pt x="2693" y="436"/>
                      </a:lnTo>
                      <a:lnTo>
                        <a:pt x="2692" y="435"/>
                      </a:lnTo>
                      <a:lnTo>
                        <a:pt x="2691" y="433"/>
                      </a:lnTo>
                      <a:lnTo>
                        <a:pt x="2691" y="429"/>
                      </a:lnTo>
                      <a:lnTo>
                        <a:pt x="2689" y="427"/>
                      </a:lnTo>
                      <a:lnTo>
                        <a:pt x="2689" y="424"/>
                      </a:lnTo>
                      <a:lnTo>
                        <a:pt x="2688" y="422"/>
                      </a:lnTo>
                      <a:lnTo>
                        <a:pt x="2688" y="418"/>
                      </a:lnTo>
                      <a:lnTo>
                        <a:pt x="2688" y="416"/>
                      </a:lnTo>
                      <a:lnTo>
                        <a:pt x="2689" y="414"/>
                      </a:lnTo>
                      <a:lnTo>
                        <a:pt x="2689" y="411"/>
                      </a:lnTo>
                      <a:lnTo>
                        <a:pt x="2691" y="407"/>
                      </a:lnTo>
                      <a:lnTo>
                        <a:pt x="2691" y="394"/>
                      </a:lnTo>
                      <a:lnTo>
                        <a:pt x="2691" y="391"/>
                      </a:lnTo>
                      <a:lnTo>
                        <a:pt x="2691" y="388"/>
                      </a:lnTo>
                      <a:lnTo>
                        <a:pt x="2693" y="385"/>
                      </a:lnTo>
                      <a:lnTo>
                        <a:pt x="2694" y="383"/>
                      </a:lnTo>
                      <a:lnTo>
                        <a:pt x="2696" y="381"/>
                      </a:lnTo>
                      <a:lnTo>
                        <a:pt x="2697" y="381"/>
                      </a:lnTo>
                      <a:lnTo>
                        <a:pt x="2698" y="381"/>
                      </a:lnTo>
                      <a:lnTo>
                        <a:pt x="2701" y="381"/>
                      </a:lnTo>
                      <a:lnTo>
                        <a:pt x="2702" y="381"/>
                      </a:lnTo>
                      <a:lnTo>
                        <a:pt x="2704" y="381"/>
                      </a:lnTo>
                      <a:lnTo>
                        <a:pt x="2708" y="381"/>
                      </a:lnTo>
                      <a:lnTo>
                        <a:pt x="2710" y="378"/>
                      </a:lnTo>
                      <a:lnTo>
                        <a:pt x="2713" y="376"/>
                      </a:lnTo>
                      <a:lnTo>
                        <a:pt x="2715" y="374"/>
                      </a:lnTo>
                      <a:lnTo>
                        <a:pt x="2717" y="374"/>
                      </a:lnTo>
                      <a:lnTo>
                        <a:pt x="2719" y="372"/>
                      </a:lnTo>
                      <a:lnTo>
                        <a:pt x="2721" y="371"/>
                      </a:lnTo>
                      <a:lnTo>
                        <a:pt x="2721" y="367"/>
                      </a:lnTo>
                      <a:lnTo>
                        <a:pt x="2724" y="362"/>
                      </a:lnTo>
                      <a:lnTo>
                        <a:pt x="2726" y="360"/>
                      </a:lnTo>
                      <a:lnTo>
                        <a:pt x="2726" y="358"/>
                      </a:lnTo>
                      <a:lnTo>
                        <a:pt x="2727" y="358"/>
                      </a:lnTo>
                      <a:lnTo>
                        <a:pt x="2728" y="357"/>
                      </a:lnTo>
                      <a:lnTo>
                        <a:pt x="2730" y="356"/>
                      </a:lnTo>
                      <a:lnTo>
                        <a:pt x="2732" y="355"/>
                      </a:lnTo>
                      <a:lnTo>
                        <a:pt x="2735" y="352"/>
                      </a:lnTo>
                      <a:lnTo>
                        <a:pt x="2737" y="351"/>
                      </a:lnTo>
                      <a:lnTo>
                        <a:pt x="2742" y="350"/>
                      </a:lnTo>
                      <a:lnTo>
                        <a:pt x="2749" y="352"/>
                      </a:lnTo>
                      <a:lnTo>
                        <a:pt x="2753" y="357"/>
                      </a:lnTo>
                      <a:lnTo>
                        <a:pt x="2759" y="362"/>
                      </a:lnTo>
                      <a:lnTo>
                        <a:pt x="2760" y="363"/>
                      </a:lnTo>
                      <a:lnTo>
                        <a:pt x="2762" y="365"/>
                      </a:lnTo>
                      <a:lnTo>
                        <a:pt x="2764" y="365"/>
                      </a:lnTo>
                      <a:lnTo>
                        <a:pt x="2767" y="363"/>
                      </a:lnTo>
                      <a:lnTo>
                        <a:pt x="2770" y="361"/>
                      </a:lnTo>
                      <a:lnTo>
                        <a:pt x="2772" y="360"/>
                      </a:lnTo>
                      <a:lnTo>
                        <a:pt x="2773" y="358"/>
                      </a:lnTo>
                      <a:lnTo>
                        <a:pt x="2775" y="358"/>
                      </a:lnTo>
                      <a:lnTo>
                        <a:pt x="2778" y="356"/>
                      </a:lnTo>
                      <a:lnTo>
                        <a:pt x="2779" y="354"/>
                      </a:lnTo>
                      <a:lnTo>
                        <a:pt x="2781" y="351"/>
                      </a:lnTo>
                      <a:lnTo>
                        <a:pt x="2781" y="343"/>
                      </a:lnTo>
                      <a:lnTo>
                        <a:pt x="2780" y="341"/>
                      </a:lnTo>
                      <a:lnTo>
                        <a:pt x="2779" y="340"/>
                      </a:lnTo>
                      <a:lnTo>
                        <a:pt x="2778" y="339"/>
                      </a:lnTo>
                      <a:lnTo>
                        <a:pt x="2778" y="339"/>
                      </a:lnTo>
                      <a:lnTo>
                        <a:pt x="2779" y="338"/>
                      </a:lnTo>
                      <a:lnTo>
                        <a:pt x="2779" y="336"/>
                      </a:lnTo>
                      <a:lnTo>
                        <a:pt x="2780" y="334"/>
                      </a:lnTo>
                      <a:lnTo>
                        <a:pt x="2781" y="332"/>
                      </a:lnTo>
                      <a:lnTo>
                        <a:pt x="2781" y="329"/>
                      </a:lnTo>
                      <a:lnTo>
                        <a:pt x="2780" y="329"/>
                      </a:lnTo>
                      <a:lnTo>
                        <a:pt x="2779" y="328"/>
                      </a:lnTo>
                      <a:lnTo>
                        <a:pt x="2779" y="327"/>
                      </a:lnTo>
                      <a:lnTo>
                        <a:pt x="2776" y="324"/>
                      </a:lnTo>
                      <a:lnTo>
                        <a:pt x="2774" y="321"/>
                      </a:lnTo>
                      <a:lnTo>
                        <a:pt x="2772" y="318"/>
                      </a:lnTo>
                      <a:lnTo>
                        <a:pt x="2772" y="316"/>
                      </a:lnTo>
                      <a:lnTo>
                        <a:pt x="2770" y="312"/>
                      </a:lnTo>
                      <a:lnTo>
                        <a:pt x="2770" y="309"/>
                      </a:lnTo>
                      <a:lnTo>
                        <a:pt x="2768" y="307"/>
                      </a:lnTo>
                      <a:lnTo>
                        <a:pt x="2767" y="305"/>
                      </a:lnTo>
                      <a:lnTo>
                        <a:pt x="2765" y="303"/>
                      </a:lnTo>
                      <a:lnTo>
                        <a:pt x="2764" y="303"/>
                      </a:lnTo>
                      <a:lnTo>
                        <a:pt x="2763" y="303"/>
                      </a:lnTo>
                      <a:lnTo>
                        <a:pt x="2762" y="302"/>
                      </a:lnTo>
                      <a:lnTo>
                        <a:pt x="2761" y="301"/>
                      </a:lnTo>
                      <a:lnTo>
                        <a:pt x="2761" y="298"/>
                      </a:lnTo>
                      <a:lnTo>
                        <a:pt x="2760" y="296"/>
                      </a:lnTo>
                      <a:lnTo>
                        <a:pt x="2760" y="295"/>
                      </a:lnTo>
                      <a:lnTo>
                        <a:pt x="2761" y="293"/>
                      </a:lnTo>
                      <a:lnTo>
                        <a:pt x="2762" y="291"/>
                      </a:lnTo>
                      <a:lnTo>
                        <a:pt x="2763" y="290"/>
                      </a:lnTo>
                      <a:lnTo>
                        <a:pt x="2765" y="285"/>
                      </a:lnTo>
                      <a:lnTo>
                        <a:pt x="2768" y="282"/>
                      </a:lnTo>
                      <a:lnTo>
                        <a:pt x="2770" y="279"/>
                      </a:lnTo>
                      <a:lnTo>
                        <a:pt x="2770" y="275"/>
                      </a:lnTo>
                      <a:lnTo>
                        <a:pt x="2769" y="274"/>
                      </a:lnTo>
                      <a:lnTo>
                        <a:pt x="2768" y="272"/>
                      </a:lnTo>
                      <a:lnTo>
                        <a:pt x="2767" y="271"/>
                      </a:lnTo>
                      <a:lnTo>
                        <a:pt x="2765" y="270"/>
                      </a:lnTo>
                      <a:lnTo>
                        <a:pt x="2765" y="268"/>
                      </a:lnTo>
                      <a:lnTo>
                        <a:pt x="2825" y="219"/>
                      </a:lnTo>
                      <a:lnTo>
                        <a:pt x="2882" y="172"/>
                      </a:lnTo>
                      <a:lnTo>
                        <a:pt x="2936" y="127"/>
                      </a:lnTo>
                      <a:lnTo>
                        <a:pt x="2989" y="86"/>
                      </a:lnTo>
                      <a:lnTo>
                        <a:pt x="3042" y="51"/>
                      </a:lnTo>
                      <a:lnTo>
                        <a:pt x="3055" y="43"/>
                      </a:lnTo>
                      <a:lnTo>
                        <a:pt x="3068" y="35"/>
                      </a:lnTo>
                      <a:close/>
                      <a:moveTo>
                        <a:pt x="2655" y="29"/>
                      </a:moveTo>
                      <a:lnTo>
                        <a:pt x="2656" y="30"/>
                      </a:lnTo>
                      <a:lnTo>
                        <a:pt x="2658" y="31"/>
                      </a:lnTo>
                      <a:lnTo>
                        <a:pt x="2659" y="34"/>
                      </a:lnTo>
                      <a:lnTo>
                        <a:pt x="2659" y="36"/>
                      </a:lnTo>
                      <a:lnTo>
                        <a:pt x="2659" y="40"/>
                      </a:lnTo>
                      <a:lnTo>
                        <a:pt x="2658" y="42"/>
                      </a:lnTo>
                      <a:lnTo>
                        <a:pt x="2658" y="44"/>
                      </a:lnTo>
                      <a:lnTo>
                        <a:pt x="2658" y="45"/>
                      </a:lnTo>
                      <a:lnTo>
                        <a:pt x="2656" y="47"/>
                      </a:lnTo>
                      <a:lnTo>
                        <a:pt x="2656" y="49"/>
                      </a:lnTo>
                      <a:lnTo>
                        <a:pt x="2655" y="50"/>
                      </a:lnTo>
                      <a:lnTo>
                        <a:pt x="2654" y="50"/>
                      </a:lnTo>
                      <a:lnTo>
                        <a:pt x="2653" y="49"/>
                      </a:lnTo>
                      <a:lnTo>
                        <a:pt x="2652" y="44"/>
                      </a:lnTo>
                      <a:lnTo>
                        <a:pt x="2652" y="40"/>
                      </a:lnTo>
                      <a:lnTo>
                        <a:pt x="2652" y="36"/>
                      </a:lnTo>
                      <a:lnTo>
                        <a:pt x="2653" y="33"/>
                      </a:lnTo>
                      <a:lnTo>
                        <a:pt x="2653" y="31"/>
                      </a:lnTo>
                      <a:lnTo>
                        <a:pt x="2654" y="30"/>
                      </a:lnTo>
                      <a:lnTo>
                        <a:pt x="2654" y="29"/>
                      </a:lnTo>
                      <a:lnTo>
                        <a:pt x="2655" y="29"/>
                      </a:lnTo>
                      <a:close/>
                      <a:moveTo>
                        <a:pt x="1333" y="18"/>
                      </a:moveTo>
                      <a:lnTo>
                        <a:pt x="1335" y="18"/>
                      </a:lnTo>
                      <a:lnTo>
                        <a:pt x="1338" y="19"/>
                      </a:lnTo>
                      <a:lnTo>
                        <a:pt x="1339" y="21"/>
                      </a:lnTo>
                      <a:lnTo>
                        <a:pt x="1340" y="22"/>
                      </a:lnTo>
                      <a:lnTo>
                        <a:pt x="1340" y="24"/>
                      </a:lnTo>
                      <a:lnTo>
                        <a:pt x="1341" y="31"/>
                      </a:lnTo>
                      <a:lnTo>
                        <a:pt x="1345" y="36"/>
                      </a:lnTo>
                      <a:lnTo>
                        <a:pt x="1350" y="42"/>
                      </a:lnTo>
                      <a:lnTo>
                        <a:pt x="1351" y="47"/>
                      </a:lnTo>
                      <a:lnTo>
                        <a:pt x="1350" y="53"/>
                      </a:lnTo>
                      <a:lnTo>
                        <a:pt x="1343" y="57"/>
                      </a:lnTo>
                      <a:lnTo>
                        <a:pt x="1334" y="61"/>
                      </a:lnTo>
                      <a:lnTo>
                        <a:pt x="1328" y="61"/>
                      </a:lnTo>
                      <a:lnTo>
                        <a:pt x="1324" y="57"/>
                      </a:lnTo>
                      <a:lnTo>
                        <a:pt x="1324" y="52"/>
                      </a:lnTo>
                      <a:lnTo>
                        <a:pt x="1326" y="46"/>
                      </a:lnTo>
                      <a:lnTo>
                        <a:pt x="1328" y="40"/>
                      </a:lnTo>
                      <a:lnTo>
                        <a:pt x="1330" y="34"/>
                      </a:lnTo>
                      <a:lnTo>
                        <a:pt x="1330" y="30"/>
                      </a:lnTo>
                      <a:lnTo>
                        <a:pt x="1330" y="29"/>
                      </a:lnTo>
                      <a:lnTo>
                        <a:pt x="1330" y="28"/>
                      </a:lnTo>
                      <a:lnTo>
                        <a:pt x="1329" y="25"/>
                      </a:lnTo>
                      <a:lnTo>
                        <a:pt x="1328" y="23"/>
                      </a:lnTo>
                      <a:lnTo>
                        <a:pt x="1328" y="21"/>
                      </a:lnTo>
                      <a:lnTo>
                        <a:pt x="1329" y="20"/>
                      </a:lnTo>
                      <a:lnTo>
                        <a:pt x="1330" y="19"/>
                      </a:lnTo>
                      <a:lnTo>
                        <a:pt x="1333" y="18"/>
                      </a:lnTo>
                      <a:close/>
                      <a:moveTo>
                        <a:pt x="2768" y="10"/>
                      </a:moveTo>
                      <a:lnTo>
                        <a:pt x="2768" y="10"/>
                      </a:lnTo>
                      <a:lnTo>
                        <a:pt x="2768" y="11"/>
                      </a:lnTo>
                      <a:lnTo>
                        <a:pt x="2768" y="13"/>
                      </a:lnTo>
                      <a:lnTo>
                        <a:pt x="2768" y="16"/>
                      </a:lnTo>
                      <a:lnTo>
                        <a:pt x="2769" y="17"/>
                      </a:lnTo>
                      <a:lnTo>
                        <a:pt x="2769" y="18"/>
                      </a:lnTo>
                      <a:lnTo>
                        <a:pt x="2770" y="19"/>
                      </a:lnTo>
                      <a:lnTo>
                        <a:pt x="2770" y="20"/>
                      </a:lnTo>
                      <a:lnTo>
                        <a:pt x="2771" y="22"/>
                      </a:lnTo>
                      <a:lnTo>
                        <a:pt x="2772" y="24"/>
                      </a:lnTo>
                      <a:lnTo>
                        <a:pt x="2772" y="27"/>
                      </a:lnTo>
                      <a:lnTo>
                        <a:pt x="2772" y="29"/>
                      </a:lnTo>
                      <a:lnTo>
                        <a:pt x="2773" y="30"/>
                      </a:lnTo>
                      <a:lnTo>
                        <a:pt x="2775" y="30"/>
                      </a:lnTo>
                      <a:lnTo>
                        <a:pt x="2776" y="29"/>
                      </a:lnTo>
                      <a:lnTo>
                        <a:pt x="2776" y="27"/>
                      </a:lnTo>
                      <a:lnTo>
                        <a:pt x="2778" y="24"/>
                      </a:lnTo>
                      <a:lnTo>
                        <a:pt x="2778" y="22"/>
                      </a:lnTo>
                      <a:lnTo>
                        <a:pt x="2776" y="21"/>
                      </a:lnTo>
                      <a:lnTo>
                        <a:pt x="2775" y="20"/>
                      </a:lnTo>
                      <a:lnTo>
                        <a:pt x="2774" y="18"/>
                      </a:lnTo>
                      <a:lnTo>
                        <a:pt x="2774" y="17"/>
                      </a:lnTo>
                      <a:lnTo>
                        <a:pt x="2774" y="16"/>
                      </a:lnTo>
                      <a:lnTo>
                        <a:pt x="2773" y="14"/>
                      </a:lnTo>
                      <a:lnTo>
                        <a:pt x="2772" y="13"/>
                      </a:lnTo>
                      <a:lnTo>
                        <a:pt x="2771" y="13"/>
                      </a:lnTo>
                      <a:lnTo>
                        <a:pt x="2770" y="12"/>
                      </a:lnTo>
                      <a:lnTo>
                        <a:pt x="2769" y="11"/>
                      </a:lnTo>
                      <a:lnTo>
                        <a:pt x="2769" y="11"/>
                      </a:lnTo>
                      <a:lnTo>
                        <a:pt x="2768" y="10"/>
                      </a:lnTo>
                      <a:close/>
                      <a:moveTo>
                        <a:pt x="357" y="2"/>
                      </a:moveTo>
                      <a:lnTo>
                        <a:pt x="359" y="2"/>
                      </a:lnTo>
                      <a:lnTo>
                        <a:pt x="361" y="5"/>
                      </a:lnTo>
                      <a:lnTo>
                        <a:pt x="367" y="17"/>
                      </a:lnTo>
                      <a:lnTo>
                        <a:pt x="368" y="18"/>
                      </a:lnTo>
                      <a:lnTo>
                        <a:pt x="369" y="19"/>
                      </a:lnTo>
                      <a:lnTo>
                        <a:pt x="370" y="20"/>
                      </a:lnTo>
                      <a:lnTo>
                        <a:pt x="371" y="21"/>
                      </a:lnTo>
                      <a:lnTo>
                        <a:pt x="371" y="23"/>
                      </a:lnTo>
                      <a:lnTo>
                        <a:pt x="371" y="27"/>
                      </a:lnTo>
                      <a:lnTo>
                        <a:pt x="370" y="29"/>
                      </a:lnTo>
                      <a:lnTo>
                        <a:pt x="369" y="30"/>
                      </a:lnTo>
                      <a:lnTo>
                        <a:pt x="368" y="30"/>
                      </a:lnTo>
                      <a:lnTo>
                        <a:pt x="367" y="30"/>
                      </a:lnTo>
                      <a:lnTo>
                        <a:pt x="366" y="29"/>
                      </a:lnTo>
                      <a:lnTo>
                        <a:pt x="364" y="28"/>
                      </a:lnTo>
                      <a:lnTo>
                        <a:pt x="362" y="27"/>
                      </a:lnTo>
                      <a:lnTo>
                        <a:pt x="361" y="24"/>
                      </a:lnTo>
                      <a:lnTo>
                        <a:pt x="361" y="23"/>
                      </a:lnTo>
                      <a:lnTo>
                        <a:pt x="360" y="22"/>
                      </a:lnTo>
                      <a:lnTo>
                        <a:pt x="359" y="21"/>
                      </a:lnTo>
                      <a:lnTo>
                        <a:pt x="359" y="21"/>
                      </a:lnTo>
                      <a:lnTo>
                        <a:pt x="357" y="21"/>
                      </a:lnTo>
                      <a:lnTo>
                        <a:pt x="356" y="20"/>
                      </a:lnTo>
                      <a:lnTo>
                        <a:pt x="355" y="19"/>
                      </a:lnTo>
                      <a:lnTo>
                        <a:pt x="353" y="17"/>
                      </a:lnTo>
                      <a:lnTo>
                        <a:pt x="353" y="11"/>
                      </a:lnTo>
                      <a:lnTo>
                        <a:pt x="355" y="7"/>
                      </a:lnTo>
                      <a:lnTo>
                        <a:pt x="356" y="3"/>
                      </a:lnTo>
                      <a:lnTo>
                        <a:pt x="357" y="2"/>
                      </a:lnTo>
                      <a:close/>
                      <a:moveTo>
                        <a:pt x="183" y="0"/>
                      </a:moveTo>
                      <a:lnTo>
                        <a:pt x="183" y="0"/>
                      </a:lnTo>
                      <a:lnTo>
                        <a:pt x="184" y="1"/>
                      </a:lnTo>
                      <a:lnTo>
                        <a:pt x="184" y="3"/>
                      </a:lnTo>
                      <a:lnTo>
                        <a:pt x="183" y="6"/>
                      </a:lnTo>
                      <a:lnTo>
                        <a:pt x="183" y="7"/>
                      </a:lnTo>
                      <a:lnTo>
                        <a:pt x="182" y="9"/>
                      </a:lnTo>
                      <a:lnTo>
                        <a:pt x="181" y="10"/>
                      </a:lnTo>
                      <a:lnTo>
                        <a:pt x="181" y="17"/>
                      </a:lnTo>
                      <a:lnTo>
                        <a:pt x="183" y="23"/>
                      </a:lnTo>
                      <a:lnTo>
                        <a:pt x="181" y="29"/>
                      </a:lnTo>
                      <a:lnTo>
                        <a:pt x="179" y="31"/>
                      </a:lnTo>
                      <a:lnTo>
                        <a:pt x="177" y="33"/>
                      </a:lnTo>
                      <a:lnTo>
                        <a:pt x="175" y="34"/>
                      </a:lnTo>
                      <a:lnTo>
                        <a:pt x="173" y="36"/>
                      </a:lnTo>
                      <a:lnTo>
                        <a:pt x="171" y="38"/>
                      </a:lnTo>
                      <a:lnTo>
                        <a:pt x="170" y="41"/>
                      </a:lnTo>
                      <a:lnTo>
                        <a:pt x="167" y="42"/>
                      </a:lnTo>
                      <a:lnTo>
                        <a:pt x="166" y="42"/>
                      </a:lnTo>
                      <a:lnTo>
                        <a:pt x="166" y="43"/>
                      </a:lnTo>
                      <a:lnTo>
                        <a:pt x="165" y="43"/>
                      </a:lnTo>
                      <a:lnTo>
                        <a:pt x="164" y="43"/>
                      </a:lnTo>
                      <a:lnTo>
                        <a:pt x="162" y="42"/>
                      </a:lnTo>
                      <a:lnTo>
                        <a:pt x="160" y="42"/>
                      </a:lnTo>
                      <a:lnTo>
                        <a:pt x="159" y="41"/>
                      </a:lnTo>
                      <a:lnTo>
                        <a:pt x="157" y="39"/>
                      </a:lnTo>
                      <a:lnTo>
                        <a:pt x="159" y="34"/>
                      </a:lnTo>
                      <a:lnTo>
                        <a:pt x="160" y="31"/>
                      </a:lnTo>
                      <a:lnTo>
                        <a:pt x="162" y="29"/>
                      </a:lnTo>
                      <a:lnTo>
                        <a:pt x="164" y="27"/>
                      </a:lnTo>
                      <a:lnTo>
                        <a:pt x="165" y="24"/>
                      </a:lnTo>
                      <a:lnTo>
                        <a:pt x="168" y="22"/>
                      </a:lnTo>
                      <a:lnTo>
                        <a:pt x="171" y="21"/>
                      </a:lnTo>
                      <a:lnTo>
                        <a:pt x="172" y="18"/>
                      </a:lnTo>
                      <a:lnTo>
                        <a:pt x="174" y="16"/>
                      </a:lnTo>
                      <a:lnTo>
                        <a:pt x="174" y="11"/>
                      </a:lnTo>
                      <a:lnTo>
                        <a:pt x="174" y="8"/>
                      </a:lnTo>
                      <a:lnTo>
                        <a:pt x="176" y="5"/>
                      </a:lnTo>
                      <a:lnTo>
                        <a:pt x="178" y="1"/>
                      </a:lnTo>
                      <a:lnTo>
                        <a:pt x="181" y="0"/>
                      </a:lnTo>
                      <a:lnTo>
                        <a:pt x="18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6" name="Freeform 33"/>
                <p:cNvSpPr>
                  <a:spLocks noEditPoints="1"/>
                </p:cNvSpPr>
                <p:nvPr/>
              </p:nvSpPr>
              <p:spPr bwMode="auto">
                <a:xfrm>
                  <a:off x="5569" y="806"/>
                  <a:ext cx="391" cy="258"/>
                </a:xfrm>
                <a:custGeom>
                  <a:avLst/>
                  <a:gdLst>
                    <a:gd name="T0" fmla="*/ 2478 w 2739"/>
                    <a:gd name="T1" fmla="*/ 300 h 1807"/>
                    <a:gd name="T2" fmla="*/ 2447 w 2739"/>
                    <a:gd name="T3" fmla="*/ 417 h 1807"/>
                    <a:gd name="T4" fmla="*/ 2459 w 2739"/>
                    <a:gd name="T5" fmla="*/ 309 h 1807"/>
                    <a:gd name="T6" fmla="*/ 2439 w 2739"/>
                    <a:gd name="T7" fmla="*/ 235 h 1807"/>
                    <a:gd name="T8" fmla="*/ 2458 w 2739"/>
                    <a:gd name="T9" fmla="*/ 180 h 1807"/>
                    <a:gd name="T10" fmla="*/ 2704 w 2739"/>
                    <a:gd name="T11" fmla="*/ 125 h 1807"/>
                    <a:gd name="T12" fmla="*/ 703 w 2739"/>
                    <a:gd name="T13" fmla="*/ 154 h 1807"/>
                    <a:gd name="T14" fmla="*/ 2734 w 2739"/>
                    <a:gd name="T15" fmla="*/ 120 h 1807"/>
                    <a:gd name="T16" fmla="*/ 1551 w 2739"/>
                    <a:gd name="T17" fmla="*/ 70 h 1807"/>
                    <a:gd name="T18" fmla="*/ 6 w 2739"/>
                    <a:gd name="T19" fmla="*/ 67 h 1807"/>
                    <a:gd name="T20" fmla="*/ 95 w 2739"/>
                    <a:gd name="T21" fmla="*/ 1 h 1807"/>
                    <a:gd name="T22" fmla="*/ 1088 w 2739"/>
                    <a:gd name="T23" fmla="*/ 558 h 1807"/>
                    <a:gd name="T24" fmla="*/ 1155 w 2739"/>
                    <a:gd name="T25" fmla="*/ 617 h 1807"/>
                    <a:gd name="T26" fmla="*/ 1233 w 2739"/>
                    <a:gd name="T27" fmla="*/ 604 h 1807"/>
                    <a:gd name="T28" fmla="*/ 1304 w 2739"/>
                    <a:gd name="T29" fmla="*/ 617 h 1807"/>
                    <a:gd name="T30" fmla="*/ 1383 w 2739"/>
                    <a:gd name="T31" fmla="*/ 650 h 1807"/>
                    <a:gd name="T32" fmla="*/ 1459 w 2739"/>
                    <a:gd name="T33" fmla="*/ 709 h 1807"/>
                    <a:gd name="T34" fmla="*/ 1379 w 2739"/>
                    <a:gd name="T35" fmla="*/ 842 h 1807"/>
                    <a:gd name="T36" fmla="*/ 1298 w 2739"/>
                    <a:gd name="T37" fmla="*/ 1027 h 1807"/>
                    <a:gd name="T38" fmla="*/ 1116 w 2739"/>
                    <a:gd name="T39" fmla="*/ 944 h 1807"/>
                    <a:gd name="T40" fmla="*/ 977 w 2739"/>
                    <a:gd name="T41" fmla="*/ 1044 h 1807"/>
                    <a:gd name="T42" fmla="*/ 1100 w 2739"/>
                    <a:gd name="T43" fmla="*/ 1137 h 1807"/>
                    <a:gd name="T44" fmla="*/ 1163 w 2739"/>
                    <a:gd name="T45" fmla="*/ 1180 h 1807"/>
                    <a:gd name="T46" fmla="*/ 1297 w 2739"/>
                    <a:gd name="T47" fmla="*/ 1268 h 1807"/>
                    <a:gd name="T48" fmla="*/ 1464 w 2739"/>
                    <a:gd name="T49" fmla="*/ 1220 h 1807"/>
                    <a:gd name="T50" fmla="*/ 1482 w 2739"/>
                    <a:gd name="T51" fmla="*/ 1227 h 1807"/>
                    <a:gd name="T52" fmla="*/ 1592 w 2739"/>
                    <a:gd name="T53" fmla="*/ 1228 h 1807"/>
                    <a:gd name="T54" fmla="*/ 1658 w 2739"/>
                    <a:gd name="T55" fmla="*/ 1262 h 1807"/>
                    <a:gd name="T56" fmla="*/ 1771 w 2739"/>
                    <a:gd name="T57" fmla="*/ 1338 h 1807"/>
                    <a:gd name="T58" fmla="*/ 1789 w 2739"/>
                    <a:gd name="T59" fmla="*/ 1345 h 1807"/>
                    <a:gd name="T60" fmla="*/ 1856 w 2739"/>
                    <a:gd name="T61" fmla="*/ 1357 h 1807"/>
                    <a:gd name="T62" fmla="*/ 1902 w 2739"/>
                    <a:gd name="T63" fmla="*/ 1452 h 1807"/>
                    <a:gd name="T64" fmla="*/ 1814 w 2739"/>
                    <a:gd name="T65" fmla="*/ 1560 h 1807"/>
                    <a:gd name="T66" fmla="*/ 1728 w 2739"/>
                    <a:gd name="T67" fmla="*/ 1623 h 1807"/>
                    <a:gd name="T68" fmla="*/ 1618 w 2739"/>
                    <a:gd name="T69" fmla="*/ 1677 h 1807"/>
                    <a:gd name="T70" fmla="*/ 1574 w 2739"/>
                    <a:gd name="T71" fmla="*/ 1731 h 1807"/>
                    <a:gd name="T72" fmla="*/ 1537 w 2739"/>
                    <a:gd name="T73" fmla="*/ 1763 h 1807"/>
                    <a:gd name="T74" fmla="*/ 1506 w 2739"/>
                    <a:gd name="T75" fmla="*/ 1806 h 1807"/>
                    <a:gd name="T76" fmla="*/ 1453 w 2739"/>
                    <a:gd name="T77" fmla="*/ 1774 h 1807"/>
                    <a:gd name="T78" fmla="*/ 1446 w 2739"/>
                    <a:gd name="T79" fmla="*/ 1729 h 1807"/>
                    <a:gd name="T80" fmla="*/ 1446 w 2739"/>
                    <a:gd name="T81" fmla="*/ 1648 h 1807"/>
                    <a:gd name="T82" fmla="*/ 1450 w 2739"/>
                    <a:gd name="T83" fmla="*/ 1571 h 1807"/>
                    <a:gd name="T84" fmla="*/ 1323 w 2739"/>
                    <a:gd name="T85" fmla="*/ 1492 h 1807"/>
                    <a:gd name="T86" fmla="*/ 1278 w 2739"/>
                    <a:gd name="T87" fmla="*/ 1412 h 1807"/>
                    <a:gd name="T88" fmla="*/ 1328 w 2739"/>
                    <a:gd name="T89" fmla="*/ 1354 h 1807"/>
                    <a:gd name="T90" fmla="*/ 1260 w 2739"/>
                    <a:gd name="T91" fmla="*/ 1293 h 1807"/>
                    <a:gd name="T92" fmla="*/ 1080 w 2739"/>
                    <a:gd name="T93" fmla="*/ 1186 h 1807"/>
                    <a:gd name="T94" fmla="*/ 798 w 2739"/>
                    <a:gd name="T95" fmla="*/ 1021 h 1807"/>
                    <a:gd name="T96" fmla="*/ 741 w 2739"/>
                    <a:gd name="T97" fmla="*/ 992 h 1807"/>
                    <a:gd name="T98" fmla="*/ 692 w 2739"/>
                    <a:gd name="T99" fmla="*/ 967 h 1807"/>
                    <a:gd name="T100" fmla="*/ 490 w 2739"/>
                    <a:gd name="T101" fmla="*/ 606 h 1807"/>
                    <a:gd name="T102" fmla="*/ 433 w 2739"/>
                    <a:gd name="T103" fmla="*/ 371 h 1807"/>
                    <a:gd name="T104" fmla="*/ 393 w 2739"/>
                    <a:gd name="T105" fmla="*/ 286 h 1807"/>
                    <a:gd name="T106" fmla="*/ 351 w 2739"/>
                    <a:gd name="T107" fmla="*/ 190 h 1807"/>
                    <a:gd name="T108" fmla="*/ 289 w 2739"/>
                    <a:gd name="T109" fmla="*/ 116 h 1807"/>
                    <a:gd name="T110" fmla="*/ 199 w 2739"/>
                    <a:gd name="T111" fmla="*/ 136 h 1807"/>
                    <a:gd name="T112" fmla="*/ 177 w 2739"/>
                    <a:gd name="T113" fmla="*/ 98 h 1807"/>
                    <a:gd name="T114" fmla="*/ 134 w 2739"/>
                    <a:gd name="T115" fmla="*/ 205 h 1807"/>
                    <a:gd name="T116" fmla="*/ 102 w 2739"/>
                    <a:gd name="T117" fmla="*/ 222 h 1807"/>
                    <a:gd name="T118" fmla="*/ 80 w 2739"/>
                    <a:gd name="T119" fmla="*/ 182 h 1807"/>
                    <a:gd name="T120" fmla="*/ 39 w 2739"/>
                    <a:gd name="T121" fmla="*/ 137 h 1807"/>
                    <a:gd name="T122" fmla="*/ 54 w 2739"/>
                    <a:gd name="T123" fmla="*/ 57 h 1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39" h="1807">
                      <a:moveTo>
                        <a:pt x="2459" y="188"/>
                      </a:moveTo>
                      <a:lnTo>
                        <a:pt x="2460" y="189"/>
                      </a:lnTo>
                      <a:lnTo>
                        <a:pt x="2461" y="191"/>
                      </a:lnTo>
                      <a:lnTo>
                        <a:pt x="2461" y="196"/>
                      </a:lnTo>
                      <a:lnTo>
                        <a:pt x="2458" y="202"/>
                      </a:lnTo>
                      <a:lnTo>
                        <a:pt x="2456" y="209"/>
                      </a:lnTo>
                      <a:lnTo>
                        <a:pt x="2455" y="215"/>
                      </a:lnTo>
                      <a:lnTo>
                        <a:pt x="2457" y="220"/>
                      </a:lnTo>
                      <a:lnTo>
                        <a:pt x="2459" y="221"/>
                      </a:lnTo>
                      <a:lnTo>
                        <a:pt x="2460" y="221"/>
                      </a:lnTo>
                      <a:lnTo>
                        <a:pt x="2463" y="220"/>
                      </a:lnTo>
                      <a:lnTo>
                        <a:pt x="2464" y="220"/>
                      </a:lnTo>
                      <a:lnTo>
                        <a:pt x="2466" y="220"/>
                      </a:lnTo>
                      <a:lnTo>
                        <a:pt x="2468" y="221"/>
                      </a:lnTo>
                      <a:lnTo>
                        <a:pt x="2470" y="222"/>
                      </a:lnTo>
                      <a:lnTo>
                        <a:pt x="2471" y="223"/>
                      </a:lnTo>
                      <a:lnTo>
                        <a:pt x="2472" y="224"/>
                      </a:lnTo>
                      <a:lnTo>
                        <a:pt x="2472" y="226"/>
                      </a:lnTo>
                      <a:lnTo>
                        <a:pt x="2474" y="229"/>
                      </a:lnTo>
                      <a:lnTo>
                        <a:pt x="2474" y="232"/>
                      </a:lnTo>
                      <a:lnTo>
                        <a:pt x="2472" y="234"/>
                      </a:lnTo>
                      <a:lnTo>
                        <a:pt x="2471" y="237"/>
                      </a:lnTo>
                      <a:lnTo>
                        <a:pt x="2470" y="240"/>
                      </a:lnTo>
                      <a:lnTo>
                        <a:pt x="2469" y="244"/>
                      </a:lnTo>
                      <a:lnTo>
                        <a:pt x="2468" y="247"/>
                      </a:lnTo>
                      <a:lnTo>
                        <a:pt x="2467" y="252"/>
                      </a:lnTo>
                      <a:lnTo>
                        <a:pt x="2466" y="256"/>
                      </a:lnTo>
                      <a:lnTo>
                        <a:pt x="2466" y="258"/>
                      </a:lnTo>
                      <a:lnTo>
                        <a:pt x="2465" y="261"/>
                      </a:lnTo>
                      <a:lnTo>
                        <a:pt x="2465" y="263"/>
                      </a:lnTo>
                      <a:lnTo>
                        <a:pt x="2466" y="265"/>
                      </a:lnTo>
                      <a:lnTo>
                        <a:pt x="2468" y="266"/>
                      </a:lnTo>
                      <a:lnTo>
                        <a:pt x="2470" y="267"/>
                      </a:lnTo>
                      <a:lnTo>
                        <a:pt x="2472" y="269"/>
                      </a:lnTo>
                      <a:lnTo>
                        <a:pt x="2472" y="270"/>
                      </a:lnTo>
                      <a:lnTo>
                        <a:pt x="2472" y="272"/>
                      </a:lnTo>
                      <a:lnTo>
                        <a:pt x="2474" y="274"/>
                      </a:lnTo>
                      <a:lnTo>
                        <a:pt x="2474" y="277"/>
                      </a:lnTo>
                      <a:lnTo>
                        <a:pt x="2474" y="280"/>
                      </a:lnTo>
                      <a:lnTo>
                        <a:pt x="2475" y="283"/>
                      </a:lnTo>
                      <a:lnTo>
                        <a:pt x="2475" y="284"/>
                      </a:lnTo>
                      <a:lnTo>
                        <a:pt x="2476" y="286"/>
                      </a:lnTo>
                      <a:lnTo>
                        <a:pt x="2476" y="287"/>
                      </a:lnTo>
                      <a:lnTo>
                        <a:pt x="2476" y="289"/>
                      </a:lnTo>
                      <a:lnTo>
                        <a:pt x="2477" y="291"/>
                      </a:lnTo>
                      <a:lnTo>
                        <a:pt x="2477" y="295"/>
                      </a:lnTo>
                      <a:lnTo>
                        <a:pt x="2477" y="297"/>
                      </a:lnTo>
                      <a:lnTo>
                        <a:pt x="2477" y="299"/>
                      </a:lnTo>
                      <a:lnTo>
                        <a:pt x="2478" y="300"/>
                      </a:lnTo>
                      <a:lnTo>
                        <a:pt x="2479" y="302"/>
                      </a:lnTo>
                      <a:lnTo>
                        <a:pt x="2480" y="305"/>
                      </a:lnTo>
                      <a:lnTo>
                        <a:pt x="2481" y="307"/>
                      </a:lnTo>
                      <a:lnTo>
                        <a:pt x="2482" y="308"/>
                      </a:lnTo>
                      <a:lnTo>
                        <a:pt x="2482" y="309"/>
                      </a:lnTo>
                      <a:lnTo>
                        <a:pt x="2483" y="313"/>
                      </a:lnTo>
                      <a:lnTo>
                        <a:pt x="2485" y="318"/>
                      </a:lnTo>
                      <a:lnTo>
                        <a:pt x="2487" y="322"/>
                      </a:lnTo>
                      <a:lnTo>
                        <a:pt x="2489" y="331"/>
                      </a:lnTo>
                      <a:lnTo>
                        <a:pt x="2491" y="341"/>
                      </a:lnTo>
                      <a:lnTo>
                        <a:pt x="2493" y="344"/>
                      </a:lnTo>
                      <a:lnTo>
                        <a:pt x="2494" y="347"/>
                      </a:lnTo>
                      <a:lnTo>
                        <a:pt x="2497" y="352"/>
                      </a:lnTo>
                      <a:lnTo>
                        <a:pt x="2500" y="358"/>
                      </a:lnTo>
                      <a:lnTo>
                        <a:pt x="2500" y="366"/>
                      </a:lnTo>
                      <a:lnTo>
                        <a:pt x="2499" y="376"/>
                      </a:lnTo>
                      <a:lnTo>
                        <a:pt x="2497" y="382"/>
                      </a:lnTo>
                      <a:lnTo>
                        <a:pt x="2496" y="387"/>
                      </a:lnTo>
                      <a:lnTo>
                        <a:pt x="2494" y="394"/>
                      </a:lnTo>
                      <a:lnTo>
                        <a:pt x="2494" y="397"/>
                      </a:lnTo>
                      <a:lnTo>
                        <a:pt x="2494" y="399"/>
                      </a:lnTo>
                      <a:lnTo>
                        <a:pt x="2493" y="400"/>
                      </a:lnTo>
                      <a:lnTo>
                        <a:pt x="2492" y="401"/>
                      </a:lnTo>
                      <a:lnTo>
                        <a:pt x="2491" y="403"/>
                      </a:lnTo>
                      <a:lnTo>
                        <a:pt x="2489" y="405"/>
                      </a:lnTo>
                      <a:lnTo>
                        <a:pt x="2488" y="405"/>
                      </a:lnTo>
                      <a:lnTo>
                        <a:pt x="2487" y="404"/>
                      </a:lnTo>
                      <a:lnTo>
                        <a:pt x="2486" y="403"/>
                      </a:lnTo>
                      <a:lnTo>
                        <a:pt x="2485" y="400"/>
                      </a:lnTo>
                      <a:lnTo>
                        <a:pt x="2480" y="400"/>
                      </a:lnTo>
                      <a:lnTo>
                        <a:pt x="2480" y="401"/>
                      </a:lnTo>
                      <a:lnTo>
                        <a:pt x="2480" y="401"/>
                      </a:lnTo>
                      <a:lnTo>
                        <a:pt x="2479" y="403"/>
                      </a:lnTo>
                      <a:lnTo>
                        <a:pt x="2478" y="403"/>
                      </a:lnTo>
                      <a:lnTo>
                        <a:pt x="2477" y="405"/>
                      </a:lnTo>
                      <a:lnTo>
                        <a:pt x="2474" y="405"/>
                      </a:lnTo>
                      <a:lnTo>
                        <a:pt x="2471" y="405"/>
                      </a:lnTo>
                      <a:lnTo>
                        <a:pt x="2470" y="405"/>
                      </a:lnTo>
                      <a:lnTo>
                        <a:pt x="2467" y="406"/>
                      </a:lnTo>
                      <a:lnTo>
                        <a:pt x="2465" y="407"/>
                      </a:lnTo>
                      <a:lnTo>
                        <a:pt x="2463" y="409"/>
                      </a:lnTo>
                      <a:lnTo>
                        <a:pt x="2461" y="411"/>
                      </a:lnTo>
                      <a:lnTo>
                        <a:pt x="2459" y="414"/>
                      </a:lnTo>
                      <a:lnTo>
                        <a:pt x="2457" y="415"/>
                      </a:lnTo>
                      <a:lnTo>
                        <a:pt x="2455" y="416"/>
                      </a:lnTo>
                      <a:lnTo>
                        <a:pt x="2453" y="417"/>
                      </a:lnTo>
                      <a:lnTo>
                        <a:pt x="2450" y="418"/>
                      </a:lnTo>
                      <a:lnTo>
                        <a:pt x="2448" y="418"/>
                      </a:lnTo>
                      <a:lnTo>
                        <a:pt x="2447" y="417"/>
                      </a:lnTo>
                      <a:lnTo>
                        <a:pt x="2445" y="412"/>
                      </a:lnTo>
                      <a:lnTo>
                        <a:pt x="2447" y="407"/>
                      </a:lnTo>
                      <a:lnTo>
                        <a:pt x="2450" y="403"/>
                      </a:lnTo>
                      <a:lnTo>
                        <a:pt x="2455" y="398"/>
                      </a:lnTo>
                      <a:lnTo>
                        <a:pt x="2457" y="396"/>
                      </a:lnTo>
                      <a:lnTo>
                        <a:pt x="2459" y="393"/>
                      </a:lnTo>
                      <a:lnTo>
                        <a:pt x="2463" y="387"/>
                      </a:lnTo>
                      <a:lnTo>
                        <a:pt x="2464" y="382"/>
                      </a:lnTo>
                      <a:lnTo>
                        <a:pt x="2461" y="376"/>
                      </a:lnTo>
                      <a:lnTo>
                        <a:pt x="2461" y="376"/>
                      </a:lnTo>
                      <a:lnTo>
                        <a:pt x="2460" y="377"/>
                      </a:lnTo>
                      <a:lnTo>
                        <a:pt x="2459" y="377"/>
                      </a:lnTo>
                      <a:lnTo>
                        <a:pt x="2458" y="377"/>
                      </a:lnTo>
                      <a:lnTo>
                        <a:pt x="2457" y="376"/>
                      </a:lnTo>
                      <a:lnTo>
                        <a:pt x="2457" y="369"/>
                      </a:lnTo>
                      <a:lnTo>
                        <a:pt x="2456" y="367"/>
                      </a:lnTo>
                      <a:lnTo>
                        <a:pt x="2455" y="366"/>
                      </a:lnTo>
                      <a:lnTo>
                        <a:pt x="2455" y="364"/>
                      </a:lnTo>
                      <a:lnTo>
                        <a:pt x="2455" y="363"/>
                      </a:lnTo>
                      <a:lnTo>
                        <a:pt x="2455" y="360"/>
                      </a:lnTo>
                      <a:lnTo>
                        <a:pt x="2455" y="356"/>
                      </a:lnTo>
                      <a:lnTo>
                        <a:pt x="2455" y="354"/>
                      </a:lnTo>
                      <a:lnTo>
                        <a:pt x="2454" y="351"/>
                      </a:lnTo>
                      <a:lnTo>
                        <a:pt x="2453" y="347"/>
                      </a:lnTo>
                      <a:lnTo>
                        <a:pt x="2452" y="343"/>
                      </a:lnTo>
                      <a:lnTo>
                        <a:pt x="2452" y="339"/>
                      </a:lnTo>
                      <a:lnTo>
                        <a:pt x="2452" y="334"/>
                      </a:lnTo>
                      <a:lnTo>
                        <a:pt x="2452" y="333"/>
                      </a:lnTo>
                      <a:lnTo>
                        <a:pt x="2453" y="335"/>
                      </a:lnTo>
                      <a:lnTo>
                        <a:pt x="2454" y="336"/>
                      </a:lnTo>
                      <a:lnTo>
                        <a:pt x="2456" y="339"/>
                      </a:lnTo>
                      <a:lnTo>
                        <a:pt x="2457" y="341"/>
                      </a:lnTo>
                      <a:lnTo>
                        <a:pt x="2458" y="343"/>
                      </a:lnTo>
                      <a:lnTo>
                        <a:pt x="2460" y="343"/>
                      </a:lnTo>
                      <a:lnTo>
                        <a:pt x="2461" y="343"/>
                      </a:lnTo>
                      <a:lnTo>
                        <a:pt x="2463" y="340"/>
                      </a:lnTo>
                      <a:lnTo>
                        <a:pt x="2463" y="336"/>
                      </a:lnTo>
                      <a:lnTo>
                        <a:pt x="2463" y="333"/>
                      </a:lnTo>
                      <a:lnTo>
                        <a:pt x="2461" y="330"/>
                      </a:lnTo>
                      <a:lnTo>
                        <a:pt x="2461" y="327"/>
                      </a:lnTo>
                      <a:lnTo>
                        <a:pt x="2463" y="324"/>
                      </a:lnTo>
                      <a:lnTo>
                        <a:pt x="2463" y="323"/>
                      </a:lnTo>
                      <a:lnTo>
                        <a:pt x="2463" y="322"/>
                      </a:lnTo>
                      <a:lnTo>
                        <a:pt x="2463" y="320"/>
                      </a:lnTo>
                      <a:lnTo>
                        <a:pt x="2461" y="318"/>
                      </a:lnTo>
                      <a:lnTo>
                        <a:pt x="2461" y="317"/>
                      </a:lnTo>
                      <a:lnTo>
                        <a:pt x="2461" y="314"/>
                      </a:lnTo>
                      <a:lnTo>
                        <a:pt x="2460" y="312"/>
                      </a:lnTo>
                      <a:lnTo>
                        <a:pt x="2459" y="309"/>
                      </a:lnTo>
                      <a:lnTo>
                        <a:pt x="2459" y="308"/>
                      </a:lnTo>
                      <a:lnTo>
                        <a:pt x="2459" y="306"/>
                      </a:lnTo>
                      <a:lnTo>
                        <a:pt x="2459" y="303"/>
                      </a:lnTo>
                      <a:lnTo>
                        <a:pt x="2459" y="301"/>
                      </a:lnTo>
                      <a:lnTo>
                        <a:pt x="2459" y="299"/>
                      </a:lnTo>
                      <a:lnTo>
                        <a:pt x="2458" y="298"/>
                      </a:lnTo>
                      <a:lnTo>
                        <a:pt x="2457" y="298"/>
                      </a:lnTo>
                      <a:lnTo>
                        <a:pt x="2455" y="298"/>
                      </a:lnTo>
                      <a:lnTo>
                        <a:pt x="2455" y="299"/>
                      </a:lnTo>
                      <a:lnTo>
                        <a:pt x="2454" y="299"/>
                      </a:lnTo>
                      <a:lnTo>
                        <a:pt x="2452" y="300"/>
                      </a:lnTo>
                      <a:lnTo>
                        <a:pt x="2450" y="301"/>
                      </a:lnTo>
                      <a:lnTo>
                        <a:pt x="2449" y="300"/>
                      </a:lnTo>
                      <a:lnTo>
                        <a:pt x="2447" y="298"/>
                      </a:lnTo>
                      <a:lnTo>
                        <a:pt x="2447" y="296"/>
                      </a:lnTo>
                      <a:lnTo>
                        <a:pt x="2447" y="294"/>
                      </a:lnTo>
                      <a:lnTo>
                        <a:pt x="2448" y="291"/>
                      </a:lnTo>
                      <a:lnTo>
                        <a:pt x="2449" y="290"/>
                      </a:lnTo>
                      <a:lnTo>
                        <a:pt x="2449" y="288"/>
                      </a:lnTo>
                      <a:lnTo>
                        <a:pt x="2452" y="285"/>
                      </a:lnTo>
                      <a:lnTo>
                        <a:pt x="2450" y="283"/>
                      </a:lnTo>
                      <a:lnTo>
                        <a:pt x="2450" y="281"/>
                      </a:lnTo>
                      <a:lnTo>
                        <a:pt x="2449" y="279"/>
                      </a:lnTo>
                      <a:lnTo>
                        <a:pt x="2449" y="276"/>
                      </a:lnTo>
                      <a:lnTo>
                        <a:pt x="2448" y="274"/>
                      </a:lnTo>
                      <a:lnTo>
                        <a:pt x="2448" y="272"/>
                      </a:lnTo>
                      <a:lnTo>
                        <a:pt x="2447" y="272"/>
                      </a:lnTo>
                      <a:lnTo>
                        <a:pt x="2446" y="272"/>
                      </a:lnTo>
                      <a:lnTo>
                        <a:pt x="2445" y="270"/>
                      </a:lnTo>
                      <a:lnTo>
                        <a:pt x="2444" y="270"/>
                      </a:lnTo>
                      <a:lnTo>
                        <a:pt x="2444" y="269"/>
                      </a:lnTo>
                      <a:lnTo>
                        <a:pt x="2443" y="267"/>
                      </a:lnTo>
                      <a:lnTo>
                        <a:pt x="2443" y="265"/>
                      </a:lnTo>
                      <a:lnTo>
                        <a:pt x="2443" y="262"/>
                      </a:lnTo>
                      <a:lnTo>
                        <a:pt x="2444" y="259"/>
                      </a:lnTo>
                      <a:lnTo>
                        <a:pt x="2445" y="257"/>
                      </a:lnTo>
                      <a:lnTo>
                        <a:pt x="2445" y="256"/>
                      </a:lnTo>
                      <a:lnTo>
                        <a:pt x="2443" y="254"/>
                      </a:lnTo>
                      <a:lnTo>
                        <a:pt x="2442" y="254"/>
                      </a:lnTo>
                      <a:lnTo>
                        <a:pt x="2441" y="254"/>
                      </a:lnTo>
                      <a:lnTo>
                        <a:pt x="2439" y="252"/>
                      </a:lnTo>
                      <a:lnTo>
                        <a:pt x="2438" y="249"/>
                      </a:lnTo>
                      <a:lnTo>
                        <a:pt x="2438" y="246"/>
                      </a:lnTo>
                      <a:lnTo>
                        <a:pt x="2438" y="244"/>
                      </a:lnTo>
                      <a:lnTo>
                        <a:pt x="2439" y="242"/>
                      </a:lnTo>
                      <a:lnTo>
                        <a:pt x="2441" y="240"/>
                      </a:lnTo>
                      <a:lnTo>
                        <a:pt x="2441" y="237"/>
                      </a:lnTo>
                      <a:lnTo>
                        <a:pt x="2441" y="236"/>
                      </a:lnTo>
                      <a:lnTo>
                        <a:pt x="2439" y="235"/>
                      </a:lnTo>
                      <a:lnTo>
                        <a:pt x="2438" y="233"/>
                      </a:lnTo>
                      <a:lnTo>
                        <a:pt x="2438" y="232"/>
                      </a:lnTo>
                      <a:lnTo>
                        <a:pt x="2439" y="229"/>
                      </a:lnTo>
                      <a:lnTo>
                        <a:pt x="2439" y="226"/>
                      </a:lnTo>
                      <a:lnTo>
                        <a:pt x="2441" y="224"/>
                      </a:lnTo>
                      <a:lnTo>
                        <a:pt x="2441" y="222"/>
                      </a:lnTo>
                      <a:lnTo>
                        <a:pt x="2441" y="219"/>
                      </a:lnTo>
                      <a:lnTo>
                        <a:pt x="2442" y="215"/>
                      </a:lnTo>
                      <a:lnTo>
                        <a:pt x="2443" y="211"/>
                      </a:lnTo>
                      <a:lnTo>
                        <a:pt x="2443" y="207"/>
                      </a:lnTo>
                      <a:lnTo>
                        <a:pt x="2443" y="201"/>
                      </a:lnTo>
                      <a:lnTo>
                        <a:pt x="2445" y="194"/>
                      </a:lnTo>
                      <a:lnTo>
                        <a:pt x="2447" y="189"/>
                      </a:lnTo>
                      <a:lnTo>
                        <a:pt x="2448" y="191"/>
                      </a:lnTo>
                      <a:lnTo>
                        <a:pt x="2450" y="193"/>
                      </a:lnTo>
                      <a:lnTo>
                        <a:pt x="2452" y="193"/>
                      </a:lnTo>
                      <a:lnTo>
                        <a:pt x="2453" y="192"/>
                      </a:lnTo>
                      <a:lnTo>
                        <a:pt x="2455" y="191"/>
                      </a:lnTo>
                      <a:lnTo>
                        <a:pt x="2456" y="190"/>
                      </a:lnTo>
                      <a:lnTo>
                        <a:pt x="2457" y="189"/>
                      </a:lnTo>
                      <a:lnTo>
                        <a:pt x="2458" y="188"/>
                      </a:lnTo>
                      <a:lnTo>
                        <a:pt x="2459" y="188"/>
                      </a:lnTo>
                      <a:close/>
                      <a:moveTo>
                        <a:pt x="1310" y="180"/>
                      </a:moveTo>
                      <a:lnTo>
                        <a:pt x="1312" y="181"/>
                      </a:lnTo>
                      <a:lnTo>
                        <a:pt x="1313" y="182"/>
                      </a:lnTo>
                      <a:lnTo>
                        <a:pt x="1313" y="185"/>
                      </a:lnTo>
                      <a:lnTo>
                        <a:pt x="1314" y="187"/>
                      </a:lnTo>
                      <a:lnTo>
                        <a:pt x="1313" y="188"/>
                      </a:lnTo>
                      <a:lnTo>
                        <a:pt x="1312" y="188"/>
                      </a:lnTo>
                      <a:lnTo>
                        <a:pt x="1310" y="188"/>
                      </a:lnTo>
                      <a:lnTo>
                        <a:pt x="1308" y="187"/>
                      </a:lnTo>
                      <a:lnTo>
                        <a:pt x="1307" y="185"/>
                      </a:lnTo>
                      <a:lnTo>
                        <a:pt x="1307" y="182"/>
                      </a:lnTo>
                      <a:lnTo>
                        <a:pt x="1308" y="181"/>
                      </a:lnTo>
                      <a:lnTo>
                        <a:pt x="1310" y="180"/>
                      </a:lnTo>
                      <a:close/>
                      <a:moveTo>
                        <a:pt x="2459" y="171"/>
                      </a:moveTo>
                      <a:lnTo>
                        <a:pt x="2460" y="171"/>
                      </a:lnTo>
                      <a:lnTo>
                        <a:pt x="2461" y="171"/>
                      </a:lnTo>
                      <a:lnTo>
                        <a:pt x="2461" y="172"/>
                      </a:lnTo>
                      <a:lnTo>
                        <a:pt x="2463" y="175"/>
                      </a:lnTo>
                      <a:lnTo>
                        <a:pt x="2464" y="177"/>
                      </a:lnTo>
                      <a:lnTo>
                        <a:pt x="2464" y="179"/>
                      </a:lnTo>
                      <a:lnTo>
                        <a:pt x="2463" y="181"/>
                      </a:lnTo>
                      <a:lnTo>
                        <a:pt x="2461" y="182"/>
                      </a:lnTo>
                      <a:lnTo>
                        <a:pt x="2461" y="185"/>
                      </a:lnTo>
                      <a:lnTo>
                        <a:pt x="2460" y="185"/>
                      </a:lnTo>
                      <a:lnTo>
                        <a:pt x="2460" y="183"/>
                      </a:lnTo>
                      <a:lnTo>
                        <a:pt x="2458" y="182"/>
                      </a:lnTo>
                      <a:lnTo>
                        <a:pt x="2458" y="180"/>
                      </a:lnTo>
                      <a:lnTo>
                        <a:pt x="2457" y="178"/>
                      </a:lnTo>
                      <a:lnTo>
                        <a:pt x="2457" y="175"/>
                      </a:lnTo>
                      <a:lnTo>
                        <a:pt x="2457" y="172"/>
                      </a:lnTo>
                      <a:lnTo>
                        <a:pt x="2458" y="171"/>
                      </a:lnTo>
                      <a:lnTo>
                        <a:pt x="2459" y="171"/>
                      </a:lnTo>
                      <a:close/>
                      <a:moveTo>
                        <a:pt x="39" y="155"/>
                      </a:moveTo>
                      <a:lnTo>
                        <a:pt x="42" y="155"/>
                      </a:lnTo>
                      <a:lnTo>
                        <a:pt x="43" y="156"/>
                      </a:lnTo>
                      <a:lnTo>
                        <a:pt x="44" y="158"/>
                      </a:lnTo>
                      <a:lnTo>
                        <a:pt x="43" y="161"/>
                      </a:lnTo>
                      <a:lnTo>
                        <a:pt x="42" y="164"/>
                      </a:lnTo>
                      <a:lnTo>
                        <a:pt x="41" y="167"/>
                      </a:lnTo>
                      <a:lnTo>
                        <a:pt x="39" y="169"/>
                      </a:lnTo>
                      <a:lnTo>
                        <a:pt x="38" y="171"/>
                      </a:lnTo>
                      <a:lnTo>
                        <a:pt x="37" y="174"/>
                      </a:lnTo>
                      <a:lnTo>
                        <a:pt x="36" y="174"/>
                      </a:lnTo>
                      <a:lnTo>
                        <a:pt x="36" y="174"/>
                      </a:lnTo>
                      <a:lnTo>
                        <a:pt x="35" y="172"/>
                      </a:lnTo>
                      <a:lnTo>
                        <a:pt x="34" y="170"/>
                      </a:lnTo>
                      <a:lnTo>
                        <a:pt x="34" y="168"/>
                      </a:lnTo>
                      <a:lnTo>
                        <a:pt x="33" y="167"/>
                      </a:lnTo>
                      <a:lnTo>
                        <a:pt x="32" y="166"/>
                      </a:lnTo>
                      <a:lnTo>
                        <a:pt x="31" y="165"/>
                      </a:lnTo>
                      <a:lnTo>
                        <a:pt x="31" y="161"/>
                      </a:lnTo>
                      <a:lnTo>
                        <a:pt x="31" y="159"/>
                      </a:lnTo>
                      <a:lnTo>
                        <a:pt x="32" y="157"/>
                      </a:lnTo>
                      <a:lnTo>
                        <a:pt x="34" y="156"/>
                      </a:lnTo>
                      <a:lnTo>
                        <a:pt x="37" y="155"/>
                      </a:lnTo>
                      <a:lnTo>
                        <a:pt x="39" y="155"/>
                      </a:lnTo>
                      <a:close/>
                      <a:moveTo>
                        <a:pt x="2476" y="134"/>
                      </a:moveTo>
                      <a:lnTo>
                        <a:pt x="2477" y="134"/>
                      </a:lnTo>
                      <a:lnTo>
                        <a:pt x="2479" y="134"/>
                      </a:lnTo>
                      <a:lnTo>
                        <a:pt x="2481" y="134"/>
                      </a:lnTo>
                      <a:lnTo>
                        <a:pt x="2482" y="135"/>
                      </a:lnTo>
                      <a:lnTo>
                        <a:pt x="2482" y="137"/>
                      </a:lnTo>
                      <a:lnTo>
                        <a:pt x="2482" y="139"/>
                      </a:lnTo>
                      <a:lnTo>
                        <a:pt x="2481" y="143"/>
                      </a:lnTo>
                      <a:lnTo>
                        <a:pt x="2480" y="146"/>
                      </a:lnTo>
                      <a:lnTo>
                        <a:pt x="2479" y="148"/>
                      </a:lnTo>
                      <a:lnTo>
                        <a:pt x="2478" y="150"/>
                      </a:lnTo>
                      <a:lnTo>
                        <a:pt x="2477" y="150"/>
                      </a:lnTo>
                      <a:lnTo>
                        <a:pt x="2477" y="148"/>
                      </a:lnTo>
                      <a:lnTo>
                        <a:pt x="2476" y="146"/>
                      </a:lnTo>
                      <a:lnTo>
                        <a:pt x="2475" y="143"/>
                      </a:lnTo>
                      <a:lnTo>
                        <a:pt x="2475" y="139"/>
                      </a:lnTo>
                      <a:lnTo>
                        <a:pt x="2475" y="136"/>
                      </a:lnTo>
                      <a:lnTo>
                        <a:pt x="2475" y="134"/>
                      </a:lnTo>
                      <a:lnTo>
                        <a:pt x="2476" y="134"/>
                      </a:lnTo>
                      <a:close/>
                      <a:moveTo>
                        <a:pt x="2704" y="125"/>
                      </a:moveTo>
                      <a:lnTo>
                        <a:pt x="2701" y="126"/>
                      </a:lnTo>
                      <a:lnTo>
                        <a:pt x="2701" y="129"/>
                      </a:lnTo>
                      <a:lnTo>
                        <a:pt x="2703" y="135"/>
                      </a:lnTo>
                      <a:lnTo>
                        <a:pt x="2704" y="141"/>
                      </a:lnTo>
                      <a:lnTo>
                        <a:pt x="2704" y="145"/>
                      </a:lnTo>
                      <a:lnTo>
                        <a:pt x="2706" y="149"/>
                      </a:lnTo>
                      <a:lnTo>
                        <a:pt x="2708" y="154"/>
                      </a:lnTo>
                      <a:lnTo>
                        <a:pt x="2708" y="158"/>
                      </a:lnTo>
                      <a:lnTo>
                        <a:pt x="2709" y="161"/>
                      </a:lnTo>
                      <a:lnTo>
                        <a:pt x="2709" y="165"/>
                      </a:lnTo>
                      <a:lnTo>
                        <a:pt x="2709" y="168"/>
                      </a:lnTo>
                      <a:lnTo>
                        <a:pt x="2710" y="171"/>
                      </a:lnTo>
                      <a:lnTo>
                        <a:pt x="2711" y="172"/>
                      </a:lnTo>
                      <a:lnTo>
                        <a:pt x="2714" y="174"/>
                      </a:lnTo>
                      <a:lnTo>
                        <a:pt x="2715" y="172"/>
                      </a:lnTo>
                      <a:lnTo>
                        <a:pt x="2716" y="171"/>
                      </a:lnTo>
                      <a:lnTo>
                        <a:pt x="2717" y="170"/>
                      </a:lnTo>
                      <a:lnTo>
                        <a:pt x="2717" y="169"/>
                      </a:lnTo>
                      <a:lnTo>
                        <a:pt x="2717" y="167"/>
                      </a:lnTo>
                      <a:lnTo>
                        <a:pt x="2717" y="165"/>
                      </a:lnTo>
                      <a:lnTo>
                        <a:pt x="2718" y="163"/>
                      </a:lnTo>
                      <a:lnTo>
                        <a:pt x="2719" y="160"/>
                      </a:lnTo>
                      <a:lnTo>
                        <a:pt x="2719" y="154"/>
                      </a:lnTo>
                      <a:lnTo>
                        <a:pt x="2720" y="152"/>
                      </a:lnTo>
                      <a:lnTo>
                        <a:pt x="2720" y="149"/>
                      </a:lnTo>
                      <a:lnTo>
                        <a:pt x="2720" y="147"/>
                      </a:lnTo>
                      <a:lnTo>
                        <a:pt x="2719" y="145"/>
                      </a:lnTo>
                      <a:lnTo>
                        <a:pt x="2719" y="143"/>
                      </a:lnTo>
                      <a:lnTo>
                        <a:pt x="2718" y="142"/>
                      </a:lnTo>
                      <a:lnTo>
                        <a:pt x="2716" y="141"/>
                      </a:lnTo>
                      <a:lnTo>
                        <a:pt x="2715" y="138"/>
                      </a:lnTo>
                      <a:lnTo>
                        <a:pt x="2712" y="136"/>
                      </a:lnTo>
                      <a:lnTo>
                        <a:pt x="2712" y="134"/>
                      </a:lnTo>
                      <a:lnTo>
                        <a:pt x="2712" y="132"/>
                      </a:lnTo>
                      <a:lnTo>
                        <a:pt x="2711" y="129"/>
                      </a:lnTo>
                      <a:lnTo>
                        <a:pt x="2710" y="127"/>
                      </a:lnTo>
                      <a:lnTo>
                        <a:pt x="2708" y="127"/>
                      </a:lnTo>
                      <a:lnTo>
                        <a:pt x="2706" y="126"/>
                      </a:lnTo>
                      <a:lnTo>
                        <a:pt x="2704" y="125"/>
                      </a:lnTo>
                      <a:close/>
                      <a:moveTo>
                        <a:pt x="731" y="113"/>
                      </a:moveTo>
                      <a:lnTo>
                        <a:pt x="729" y="113"/>
                      </a:lnTo>
                      <a:lnTo>
                        <a:pt x="728" y="115"/>
                      </a:lnTo>
                      <a:lnTo>
                        <a:pt x="725" y="118"/>
                      </a:lnTo>
                      <a:lnTo>
                        <a:pt x="719" y="127"/>
                      </a:lnTo>
                      <a:lnTo>
                        <a:pt x="712" y="134"/>
                      </a:lnTo>
                      <a:lnTo>
                        <a:pt x="707" y="141"/>
                      </a:lnTo>
                      <a:lnTo>
                        <a:pt x="703" y="149"/>
                      </a:lnTo>
                      <a:lnTo>
                        <a:pt x="703" y="153"/>
                      </a:lnTo>
                      <a:lnTo>
                        <a:pt x="703" y="154"/>
                      </a:lnTo>
                      <a:lnTo>
                        <a:pt x="703" y="155"/>
                      </a:lnTo>
                      <a:lnTo>
                        <a:pt x="704" y="155"/>
                      </a:lnTo>
                      <a:lnTo>
                        <a:pt x="706" y="154"/>
                      </a:lnTo>
                      <a:lnTo>
                        <a:pt x="707" y="153"/>
                      </a:lnTo>
                      <a:lnTo>
                        <a:pt x="708" y="152"/>
                      </a:lnTo>
                      <a:lnTo>
                        <a:pt x="709" y="149"/>
                      </a:lnTo>
                      <a:lnTo>
                        <a:pt x="710" y="148"/>
                      </a:lnTo>
                      <a:lnTo>
                        <a:pt x="711" y="146"/>
                      </a:lnTo>
                      <a:lnTo>
                        <a:pt x="712" y="145"/>
                      </a:lnTo>
                      <a:lnTo>
                        <a:pt x="717" y="142"/>
                      </a:lnTo>
                      <a:lnTo>
                        <a:pt x="722" y="139"/>
                      </a:lnTo>
                      <a:lnTo>
                        <a:pt x="728" y="139"/>
                      </a:lnTo>
                      <a:lnTo>
                        <a:pt x="733" y="137"/>
                      </a:lnTo>
                      <a:lnTo>
                        <a:pt x="736" y="134"/>
                      </a:lnTo>
                      <a:lnTo>
                        <a:pt x="737" y="131"/>
                      </a:lnTo>
                      <a:lnTo>
                        <a:pt x="739" y="127"/>
                      </a:lnTo>
                      <a:lnTo>
                        <a:pt x="739" y="124"/>
                      </a:lnTo>
                      <a:lnTo>
                        <a:pt x="737" y="121"/>
                      </a:lnTo>
                      <a:lnTo>
                        <a:pt x="736" y="117"/>
                      </a:lnTo>
                      <a:lnTo>
                        <a:pt x="735" y="115"/>
                      </a:lnTo>
                      <a:lnTo>
                        <a:pt x="733" y="113"/>
                      </a:lnTo>
                      <a:lnTo>
                        <a:pt x="731" y="113"/>
                      </a:lnTo>
                      <a:close/>
                      <a:moveTo>
                        <a:pt x="2728" y="103"/>
                      </a:moveTo>
                      <a:lnTo>
                        <a:pt x="2727" y="104"/>
                      </a:lnTo>
                      <a:lnTo>
                        <a:pt x="2726" y="105"/>
                      </a:lnTo>
                      <a:lnTo>
                        <a:pt x="2726" y="118"/>
                      </a:lnTo>
                      <a:lnTo>
                        <a:pt x="2726" y="121"/>
                      </a:lnTo>
                      <a:lnTo>
                        <a:pt x="2726" y="123"/>
                      </a:lnTo>
                      <a:lnTo>
                        <a:pt x="2727" y="125"/>
                      </a:lnTo>
                      <a:lnTo>
                        <a:pt x="2728" y="127"/>
                      </a:lnTo>
                      <a:lnTo>
                        <a:pt x="2728" y="131"/>
                      </a:lnTo>
                      <a:lnTo>
                        <a:pt x="2729" y="133"/>
                      </a:lnTo>
                      <a:lnTo>
                        <a:pt x="2731" y="135"/>
                      </a:lnTo>
                      <a:lnTo>
                        <a:pt x="2732" y="138"/>
                      </a:lnTo>
                      <a:lnTo>
                        <a:pt x="2733" y="142"/>
                      </a:lnTo>
                      <a:lnTo>
                        <a:pt x="2734" y="144"/>
                      </a:lnTo>
                      <a:lnTo>
                        <a:pt x="2736" y="146"/>
                      </a:lnTo>
                      <a:lnTo>
                        <a:pt x="2737" y="149"/>
                      </a:lnTo>
                      <a:lnTo>
                        <a:pt x="2737" y="149"/>
                      </a:lnTo>
                      <a:lnTo>
                        <a:pt x="2737" y="148"/>
                      </a:lnTo>
                      <a:lnTo>
                        <a:pt x="2738" y="147"/>
                      </a:lnTo>
                      <a:lnTo>
                        <a:pt x="2739" y="147"/>
                      </a:lnTo>
                      <a:lnTo>
                        <a:pt x="2739" y="143"/>
                      </a:lnTo>
                      <a:lnTo>
                        <a:pt x="2738" y="138"/>
                      </a:lnTo>
                      <a:lnTo>
                        <a:pt x="2737" y="134"/>
                      </a:lnTo>
                      <a:lnTo>
                        <a:pt x="2736" y="129"/>
                      </a:lnTo>
                      <a:lnTo>
                        <a:pt x="2734" y="125"/>
                      </a:lnTo>
                      <a:lnTo>
                        <a:pt x="2734" y="121"/>
                      </a:lnTo>
                      <a:lnTo>
                        <a:pt x="2734" y="120"/>
                      </a:lnTo>
                      <a:lnTo>
                        <a:pt x="2733" y="116"/>
                      </a:lnTo>
                      <a:lnTo>
                        <a:pt x="2732" y="114"/>
                      </a:lnTo>
                      <a:lnTo>
                        <a:pt x="2731" y="111"/>
                      </a:lnTo>
                      <a:lnTo>
                        <a:pt x="2730" y="109"/>
                      </a:lnTo>
                      <a:lnTo>
                        <a:pt x="2729" y="106"/>
                      </a:lnTo>
                      <a:lnTo>
                        <a:pt x="2728" y="104"/>
                      </a:lnTo>
                      <a:lnTo>
                        <a:pt x="2728" y="103"/>
                      </a:lnTo>
                      <a:close/>
                      <a:moveTo>
                        <a:pt x="1306" y="87"/>
                      </a:moveTo>
                      <a:lnTo>
                        <a:pt x="1308" y="89"/>
                      </a:lnTo>
                      <a:lnTo>
                        <a:pt x="1309" y="91"/>
                      </a:lnTo>
                      <a:lnTo>
                        <a:pt x="1309" y="93"/>
                      </a:lnTo>
                      <a:lnTo>
                        <a:pt x="1308" y="95"/>
                      </a:lnTo>
                      <a:lnTo>
                        <a:pt x="1307" y="98"/>
                      </a:lnTo>
                      <a:lnTo>
                        <a:pt x="1304" y="99"/>
                      </a:lnTo>
                      <a:lnTo>
                        <a:pt x="1302" y="101"/>
                      </a:lnTo>
                      <a:lnTo>
                        <a:pt x="1300" y="102"/>
                      </a:lnTo>
                      <a:lnTo>
                        <a:pt x="1299" y="103"/>
                      </a:lnTo>
                      <a:lnTo>
                        <a:pt x="1292" y="112"/>
                      </a:lnTo>
                      <a:lnTo>
                        <a:pt x="1287" y="122"/>
                      </a:lnTo>
                      <a:lnTo>
                        <a:pt x="1285" y="131"/>
                      </a:lnTo>
                      <a:lnTo>
                        <a:pt x="1282" y="131"/>
                      </a:lnTo>
                      <a:lnTo>
                        <a:pt x="1282" y="126"/>
                      </a:lnTo>
                      <a:lnTo>
                        <a:pt x="1283" y="120"/>
                      </a:lnTo>
                      <a:lnTo>
                        <a:pt x="1285" y="114"/>
                      </a:lnTo>
                      <a:lnTo>
                        <a:pt x="1287" y="109"/>
                      </a:lnTo>
                      <a:lnTo>
                        <a:pt x="1287" y="105"/>
                      </a:lnTo>
                      <a:lnTo>
                        <a:pt x="1289" y="104"/>
                      </a:lnTo>
                      <a:lnTo>
                        <a:pt x="1290" y="102"/>
                      </a:lnTo>
                      <a:lnTo>
                        <a:pt x="1293" y="101"/>
                      </a:lnTo>
                      <a:lnTo>
                        <a:pt x="1296" y="101"/>
                      </a:lnTo>
                      <a:lnTo>
                        <a:pt x="1297" y="100"/>
                      </a:lnTo>
                      <a:lnTo>
                        <a:pt x="1299" y="99"/>
                      </a:lnTo>
                      <a:lnTo>
                        <a:pt x="1300" y="96"/>
                      </a:lnTo>
                      <a:lnTo>
                        <a:pt x="1300" y="94"/>
                      </a:lnTo>
                      <a:lnTo>
                        <a:pt x="1300" y="92"/>
                      </a:lnTo>
                      <a:lnTo>
                        <a:pt x="1300" y="91"/>
                      </a:lnTo>
                      <a:lnTo>
                        <a:pt x="1299" y="90"/>
                      </a:lnTo>
                      <a:lnTo>
                        <a:pt x="1300" y="89"/>
                      </a:lnTo>
                      <a:lnTo>
                        <a:pt x="1301" y="88"/>
                      </a:lnTo>
                      <a:lnTo>
                        <a:pt x="1302" y="88"/>
                      </a:lnTo>
                      <a:lnTo>
                        <a:pt x="1306" y="87"/>
                      </a:lnTo>
                      <a:close/>
                      <a:moveTo>
                        <a:pt x="1540" y="69"/>
                      </a:moveTo>
                      <a:lnTo>
                        <a:pt x="1540" y="69"/>
                      </a:lnTo>
                      <a:lnTo>
                        <a:pt x="1541" y="69"/>
                      </a:lnTo>
                      <a:lnTo>
                        <a:pt x="1541" y="69"/>
                      </a:lnTo>
                      <a:lnTo>
                        <a:pt x="1542" y="69"/>
                      </a:lnTo>
                      <a:lnTo>
                        <a:pt x="1544" y="69"/>
                      </a:lnTo>
                      <a:lnTo>
                        <a:pt x="1547" y="70"/>
                      </a:lnTo>
                      <a:lnTo>
                        <a:pt x="1551" y="70"/>
                      </a:lnTo>
                      <a:lnTo>
                        <a:pt x="1555" y="71"/>
                      </a:lnTo>
                      <a:lnTo>
                        <a:pt x="1555" y="72"/>
                      </a:lnTo>
                      <a:lnTo>
                        <a:pt x="1554" y="74"/>
                      </a:lnTo>
                      <a:lnTo>
                        <a:pt x="1552" y="76"/>
                      </a:lnTo>
                      <a:lnTo>
                        <a:pt x="1550" y="78"/>
                      </a:lnTo>
                      <a:lnTo>
                        <a:pt x="1547" y="78"/>
                      </a:lnTo>
                      <a:lnTo>
                        <a:pt x="1543" y="77"/>
                      </a:lnTo>
                      <a:lnTo>
                        <a:pt x="1541" y="77"/>
                      </a:lnTo>
                      <a:lnTo>
                        <a:pt x="1539" y="76"/>
                      </a:lnTo>
                      <a:lnTo>
                        <a:pt x="1538" y="74"/>
                      </a:lnTo>
                      <a:lnTo>
                        <a:pt x="1538" y="72"/>
                      </a:lnTo>
                      <a:lnTo>
                        <a:pt x="1538" y="72"/>
                      </a:lnTo>
                      <a:lnTo>
                        <a:pt x="1538" y="71"/>
                      </a:lnTo>
                      <a:lnTo>
                        <a:pt x="1538" y="70"/>
                      </a:lnTo>
                      <a:lnTo>
                        <a:pt x="1539" y="69"/>
                      </a:lnTo>
                      <a:lnTo>
                        <a:pt x="1540" y="69"/>
                      </a:lnTo>
                      <a:close/>
                      <a:moveTo>
                        <a:pt x="4" y="51"/>
                      </a:moveTo>
                      <a:lnTo>
                        <a:pt x="5" y="52"/>
                      </a:lnTo>
                      <a:lnTo>
                        <a:pt x="5" y="52"/>
                      </a:lnTo>
                      <a:lnTo>
                        <a:pt x="6" y="54"/>
                      </a:lnTo>
                      <a:lnTo>
                        <a:pt x="8" y="55"/>
                      </a:lnTo>
                      <a:lnTo>
                        <a:pt x="8" y="55"/>
                      </a:lnTo>
                      <a:lnTo>
                        <a:pt x="10" y="56"/>
                      </a:lnTo>
                      <a:lnTo>
                        <a:pt x="12" y="57"/>
                      </a:lnTo>
                      <a:lnTo>
                        <a:pt x="13" y="58"/>
                      </a:lnTo>
                      <a:lnTo>
                        <a:pt x="14" y="59"/>
                      </a:lnTo>
                      <a:lnTo>
                        <a:pt x="15" y="61"/>
                      </a:lnTo>
                      <a:lnTo>
                        <a:pt x="17" y="62"/>
                      </a:lnTo>
                      <a:lnTo>
                        <a:pt x="17" y="65"/>
                      </a:lnTo>
                      <a:lnTo>
                        <a:pt x="19" y="65"/>
                      </a:lnTo>
                      <a:lnTo>
                        <a:pt x="20" y="66"/>
                      </a:lnTo>
                      <a:lnTo>
                        <a:pt x="22" y="66"/>
                      </a:lnTo>
                      <a:lnTo>
                        <a:pt x="23" y="67"/>
                      </a:lnTo>
                      <a:lnTo>
                        <a:pt x="23" y="68"/>
                      </a:lnTo>
                      <a:lnTo>
                        <a:pt x="22" y="69"/>
                      </a:lnTo>
                      <a:lnTo>
                        <a:pt x="21" y="70"/>
                      </a:lnTo>
                      <a:lnTo>
                        <a:pt x="19" y="71"/>
                      </a:lnTo>
                      <a:lnTo>
                        <a:pt x="17" y="72"/>
                      </a:lnTo>
                      <a:lnTo>
                        <a:pt x="16" y="74"/>
                      </a:lnTo>
                      <a:lnTo>
                        <a:pt x="16" y="77"/>
                      </a:lnTo>
                      <a:lnTo>
                        <a:pt x="15" y="78"/>
                      </a:lnTo>
                      <a:lnTo>
                        <a:pt x="15" y="78"/>
                      </a:lnTo>
                      <a:lnTo>
                        <a:pt x="14" y="76"/>
                      </a:lnTo>
                      <a:lnTo>
                        <a:pt x="13" y="72"/>
                      </a:lnTo>
                      <a:lnTo>
                        <a:pt x="13" y="70"/>
                      </a:lnTo>
                      <a:lnTo>
                        <a:pt x="11" y="68"/>
                      </a:lnTo>
                      <a:lnTo>
                        <a:pt x="10" y="67"/>
                      </a:lnTo>
                      <a:lnTo>
                        <a:pt x="8" y="67"/>
                      </a:lnTo>
                      <a:lnTo>
                        <a:pt x="6" y="67"/>
                      </a:lnTo>
                      <a:lnTo>
                        <a:pt x="5" y="68"/>
                      </a:lnTo>
                      <a:lnTo>
                        <a:pt x="3" y="70"/>
                      </a:lnTo>
                      <a:lnTo>
                        <a:pt x="1" y="69"/>
                      </a:lnTo>
                      <a:lnTo>
                        <a:pt x="0" y="65"/>
                      </a:lnTo>
                      <a:lnTo>
                        <a:pt x="1" y="58"/>
                      </a:lnTo>
                      <a:lnTo>
                        <a:pt x="3" y="52"/>
                      </a:lnTo>
                      <a:lnTo>
                        <a:pt x="4" y="51"/>
                      </a:lnTo>
                      <a:close/>
                      <a:moveTo>
                        <a:pt x="1602" y="15"/>
                      </a:moveTo>
                      <a:lnTo>
                        <a:pt x="1604" y="15"/>
                      </a:lnTo>
                      <a:lnTo>
                        <a:pt x="1605" y="16"/>
                      </a:lnTo>
                      <a:lnTo>
                        <a:pt x="1607" y="17"/>
                      </a:lnTo>
                      <a:lnTo>
                        <a:pt x="1607" y="19"/>
                      </a:lnTo>
                      <a:lnTo>
                        <a:pt x="1607" y="22"/>
                      </a:lnTo>
                      <a:lnTo>
                        <a:pt x="1606" y="24"/>
                      </a:lnTo>
                      <a:lnTo>
                        <a:pt x="1604" y="25"/>
                      </a:lnTo>
                      <a:lnTo>
                        <a:pt x="1603" y="26"/>
                      </a:lnTo>
                      <a:lnTo>
                        <a:pt x="1601" y="26"/>
                      </a:lnTo>
                      <a:lnTo>
                        <a:pt x="1598" y="26"/>
                      </a:lnTo>
                      <a:lnTo>
                        <a:pt x="1597" y="24"/>
                      </a:lnTo>
                      <a:lnTo>
                        <a:pt x="1596" y="21"/>
                      </a:lnTo>
                      <a:lnTo>
                        <a:pt x="1596" y="18"/>
                      </a:lnTo>
                      <a:lnTo>
                        <a:pt x="1597" y="16"/>
                      </a:lnTo>
                      <a:lnTo>
                        <a:pt x="1599" y="15"/>
                      </a:lnTo>
                      <a:lnTo>
                        <a:pt x="1602" y="15"/>
                      </a:lnTo>
                      <a:close/>
                      <a:moveTo>
                        <a:pt x="90" y="4"/>
                      </a:moveTo>
                      <a:lnTo>
                        <a:pt x="90" y="7"/>
                      </a:lnTo>
                      <a:lnTo>
                        <a:pt x="89" y="8"/>
                      </a:lnTo>
                      <a:lnTo>
                        <a:pt x="88" y="11"/>
                      </a:lnTo>
                      <a:lnTo>
                        <a:pt x="86" y="14"/>
                      </a:lnTo>
                      <a:lnTo>
                        <a:pt x="82" y="16"/>
                      </a:lnTo>
                      <a:lnTo>
                        <a:pt x="80" y="17"/>
                      </a:lnTo>
                      <a:lnTo>
                        <a:pt x="78" y="18"/>
                      </a:lnTo>
                      <a:lnTo>
                        <a:pt x="76" y="21"/>
                      </a:lnTo>
                      <a:lnTo>
                        <a:pt x="74" y="24"/>
                      </a:lnTo>
                      <a:lnTo>
                        <a:pt x="69" y="27"/>
                      </a:lnTo>
                      <a:lnTo>
                        <a:pt x="64" y="27"/>
                      </a:lnTo>
                      <a:lnTo>
                        <a:pt x="59" y="25"/>
                      </a:lnTo>
                      <a:lnTo>
                        <a:pt x="56" y="24"/>
                      </a:lnTo>
                      <a:lnTo>
                        <a:pt x="54" y="25"/>
                      </a:lnTo>
                      <a:lnTo>
                        <a:pt x="50" y="24"/>
                      </a:lnTo>
                      <a:lnTo>
                        <a:pt x="48" y="21"/>
                      </a:lnTo>
                      <a:lnTo>
                        <a:pt x="46" y="17"/>
                      </a:lnTo>
                      <a:lnTo>
                        <a:pt x="45" y="12"/>
                      </a:lnTo>
                      <a:lnTo>
                        <a:pt x="47" y="8"/>
                      </a:lnTo>
                      <a:lnTo>
                        <a:pt x="68" y="5"/>
                      </a:lnTo>
                      <a:lnTo>
                        <a:pt x="90" y="4"/>
                      </a:lnTo>
                      <a:close/>
                      <a:moveTo>
                        <a:pt x="92" y="0"/>
                      </a:moveTo>
                      <a:lnTo>
                        <a:pt x="95" y="0"/>
                      </a:lnTo>
                      <a:lnTo>
                        <a:pt x="95" y="1"/>
                      </a:lnTo>
                      <a:lnTo>
                        <a:pt x="95" y="2"/>
                      </a:lnTo>
                      <a:lnTo>
                        <a:pt x="110" y="2"/>
                      </a:lnTo>
                      <a:lnTo>
                        <a:pt x="155" y="7"/>
                      </a:lnTo>
                      <a:lnTo>
                        <a:pt x="200" y="18"/>
                      </a:lnTo>
                      <a:lnTo>
                        <a:pt x="248" y="36"/>
                      </a:lnTo>
                      <a:lnTo>
                        <a:pt x="296" y="57"/>
                      </a:lnTo>
                      <a:lnTo>
                        <a:pt x="347" y="83"/>
                      </a:lnTo>
                      <a:lnTo>
                        <a:pt x="399" y="114"/>
                      </a:lnTo>
                      <a:lnTo>
                        <a:pt x="456" y="149"/>
                      </a:lnTo>
                      <a:lnTo>
                        <a:pt x="515" y="188"/>
                      </a:lnTo>
                      <a:lnTo>
                        <a:pt x="579" y="230"/>
                      </a:lnTo>
                      <a:lnTo>
                        <a:pt x="646" y="274"/>
                      </a:lnTo>
                      <a:lnTo>
                        <a:pt x="717" y="320"/>
                      </a:lnTo>
                      <a:lnTo>
                        <a:pt x="789" y="366"/>
                      </a:lnTo>
                      <a:lnTo>
                        <a:pt x="866" y="412"/>
                      </a:lnTo>
                      <a:lnTo>
                        <a:pt x="947" y="458"/>
                      </a:lnTo>
                      <a:lnTo>
                        <a:pt x="1020" y="496"/>
                      </a:lnTo>
                      <a:lnTo>
                        <a:pt x="1093" y="531"/>
                      </a:lnTo>
                      <a:lnTo>
                        <a:pt x="1091" y="531"/>
                      </a:lnTo>
                      <a:lnTo>
                        <a:pt x="1088" y="532"/>
                      </a:lnTo>
                      <a:lnTo>
                        <a:pt x="1084" y="534"/>
                      </a:lnTo>
                      <a:lnTo>
                        <a:pt x="1082" y="536"/>
                      </a:lnTo>
                      <a:lnTo>
                        <a:pt x="1079" y="538"/>
                      </a:lnTo>
                      <a:lnTo>
                        <a:pt x="1077" y="540"/>
                      </a:lnTo>
                      <a:lnTo>
                        <a:pt x="1073" y="542"/>
                      </a:lnTo>
                      <a:lnTo>
                        <a:pt x="1071" y="545"/>
                      </a:lnTo>
                      <a:lnTo>
                        <a:pt x="1069" y="546"/>
                      </a:lnTo>
                      <a:lnTo>
                        <a:pt x="1066" y="547"/>
                      </a:lnTo>
                      <a:lnTo>
                        <a:pt x="1062" y="548"/>
                      </a:lnTo>
                      <a:lnTo>
                        <a:pt x="1060" y="549"/>
                      </a:lnTo>
                      <a:lnTo>
                        <a:pt x="1058" y="551"/>
                      </a:lnTo>
                      <a:lnTo>
                        <a:pt x="1056" y="553"/>
                      </a:lnTo>
                      <a:lnTo>
                        <a:pt x="1056" y="554"/>
                      </a:lnTo>
                      <a:lnTo>
                        <a:pt x="1057" y="556"/>
                      </a:lnTo>
                      <a:lnTo>
                        <a:pt x="1059" y="556"/>
                      </a:lnTo>
                      <a:lnTo>
                        <a:pt x="1061" y="556"/>
                      </a:lnTo>
                      <a:lnTo>
                        <a:pt x="1064" y="556"/>
                      </a:lnTo>
                      <a:lnTo>
                        <a:pt x="1067" y="556"/>
                      </a:lnTo>
                      <a:lnTo>
                        <a:pt x="1069" y="556"/>
                      </a:lnTo>
                      <a:lnTo>
                        <a:pt x="1071" y="556"/>
                      </a:lnTo>
                      <a:lnTo>
                        <a:pt x="1071" y="556"/>
                      </a:lnTo>
                      <a:lnTo>
                        <a:pt x="1074" y="556"/>
                      </a:lnTo>
                      <a:lnTo>
                        <a:pt x="1077" y="554"/>
                      </a:lnTo>
                      <a:lnTo>
                        <a:pt x="1080" y="553"/>
                      </a:lnTo>
                      <a:lnTo>
                        <a:pt x="1082" y="553"/>
                      </a:lnTo>
                      <a:lnTo>
                        <a:pt x="1084" y="553"/>
                      </a:lnTo>
                      <a:lnTo>
                        <a:pt x="1086" y="554"/>
                      </a:lnTo>
                      <a:lnTo>
                        <a:pt x="1086" y="557"/>
                      </a:lnTo>
                      <a:lnTo>
                        <a:pt x="1088" y="558"/>
                      </a:lnTo>
                      <a:lnTo>
                        <a:pt x="1089" y="558"/>
                      </a:lnTo>
                      <a:lnTo>
                        <a:pt x="1099" y="556"/>
                      </a:lnTo>
                      <a:lnTo>
                        <a:pt x="1107" y="551"/>
                      </a:lnTo>
                      <a:lnTo>
                        <a:pt x="1115" y="547"/>
                      </a:lnTo>
                      <a:lnTo>
                        <a:pt x="1117" y="546"/>
                      </a:lnTo>
                      <a:lnTo>
                        <a:pt x="1121" y="545"/>
                      </a:lnTo>
                      <a:lnTo>
                        <a:pt x="1122" y="545"/>
                      </a:lnTo>
                      <a:lnTo>
                        <a:pt x="1128" y="547"/>
                      </a:lnTo>
                      <a:lnTo>
                        <a:pt x="1138" y="550"/>
                      </a:lnTo>
                      <a:lnTo>
                        <a:pt x="1138" y="550"/>
                      </a:lnTo>
                      <a:lnTo>
                        <a:pt x="1139" y="550"/>
                      </a:lnTo>
                      <a:lnTo>
                        <a:pt x="1138" y="550"/>
                      </a:lnTo>
                      <a:lnTo>
                        <a:pt x="1138" y="549"/>
                      </a:lnTo>
                      <a:lnTo>
                        <a:pt x="1138" y="548"/>
                      </a:lnTo>
                      <a:lnTo>
                        <a:pt x="1141" y="549"/>
                      </a:lnTo>
                      <a:lnTo>
                        <a:pt x="1143" y="550"/>
                      </a:lnTo>
                      <a:lnTo>
                        <a:pt x="1144" y="551"/>
                      </a:lnTo>
                      <a:lnTo>
                        <a:pt x="1145" y="552"/>
                      </a:lnTo>
                      <a:lnTo>
                        <a:pt x="1146" y="553"/>
                      </a:lnTo>
                      <a:lnTo>
                        <a:pt x="1149" y="554"/>
                      </a:lnTo>
                      <a:lnTo>
                        <a:pt x="1150" y="557"/>
                      </a:lnTo>
                      <a:lnTo>
                        <a:pt x="1152" y="558"/>
                      </a:lnTo>
                      <a:lnTo>
                        <a:pt x="1155" y="560"/>
                      </a:lnTo>
                      <a:lnTo>
                        <a:pt x="1157" y="560"/>
                      </a:lnTo>
                      <a:lnTo>
                        <a:pt x="1163" y="560"/>
                      </a:lnTo>
                      <a:lnTo>
                        <a:pt x="1168" y="561"/>
                      </a:lnTo>
                      <a:lnTo>
                        <a:pt x="1167" y="562"/>
                      </a:lnTo>
                      <a:lnTo>
                        <a:pt x="1165" y="563"/>
                      </a:lnTo>
                      <a:lnTo>
                        <a:pt x="1187" y="573"/>
                      </a:lnTo>
                      <a:lnTo>
                        <a:pt x="1201" y="580"/>
                      </a:lnTo>
                      <a:lnTo>
                        <a:pt x="1197" y="580"/>
                      </a:lnTo>
                      <a:lnTo>
                        <a:pt x="1195" y="580"/>
                      </a:lnTo>
                      <a:lnTo>
                        <a:pt x="1193" y="580"/>
                      </a:lnTo>
                      <a:lnTo>
                        <a:pt x="1191" y="579"/>
                      </a:lnTo>
                      <a:lnTo>
                        <a:pt x="1189" y="579"/>
                      </a:lnTo>
                      <a:lnTo>
                        <a:pt x="1187" y="580"/>
                      </a:lnTo>
                      <a:lnTo>
                        <a:pt x="1186" y="581"/>
                      </a:lnTo>
                      <a:lnTo>
                        <a:pt x="1183" y="582"/>
                      </a:lnTo>
                      <a:lnTo>
                        <a:pt x="1181" y="581"/>
                      </a:lnTo>
                      <a:lnTo>
                        <a:pt x="1177" y="583"/>
                      </a:lnTo>
                      <a:lnTo>
                        <a:pt x="1170" y="587"/>
                      </a:lnTo>
                      <a:lnTo>
                        <a:pt x="1165" y="592"/>
                      </a:lnTo>
                      <a:lnTo>
                        <a:pt x="1160" y="596"/>
                      </a:lnTo>
                      <a:lnTo>
                        <a:pt x="1157" y="600"/>
                      </a:lnTo>
                      <a:lnTo>
                        <a:pt x="1157" y="603"/>
                      </a:lnTo>
                      <a:lnTo>
                        <a:pt x="1156" y="606"/>
                      </a:lnTo>
                      <a:lnTo>
                        <a:pt x="1156" y="609"/>
                      </a:lnTo>
                      <a:lnTo>
                        <a:pt x="1156" y="613"/>
                      </a:lnTo>
                      <a:lnTo>
                        <a:pt x="1155" y="617"/>
                      </a:lnTo>
                      <a:lnTo>
                        <a:pt x="1155" y="620"/>
                      </a:lnTo>
                      <a:lnTo>
                        <a:pt x="1154" y="623"/>
                      </a:lnTo>
                      <a:lnTo>
                        <a:pt x="1151" y="626"/>
                      </a:lnTo>
                      <a:lnTo>
                        <a:pt x="1150" y="628"/>
                      </a:lnTo>
                      <a:lnTo>
                        <a:pt x="1148" y="630"/>
                      </a:lnTo>
                      <a:lnTo>
                        <a:pt x="1141" y="645"/>
                      </a:lnTo>
                      <a:lnTo>
                        <a:pt x="1139" y="660"/>
                      </a:lnTo>
                      <a:lnTo>
                        <a:pt x="1141" y="674"/>
                      </a:lnTo>
                      <a:lnTo>
                        <a:pt x="1143" y="678"/>
                      </a:lnTo>
                      <a:lnTo>
                        <a:pt x="1145" y="683"/>
                      </a:lnTo>
                      <a:lnTo>
                        <a:pt x="1146" y="691"/>
                      </a:lnTo>
                      <a:lnTo>
                        <a:pt x="1148" y="698"/>
                      </a:lnTo>
                      <a:lnTo>
                        <a:pt x="1151" y="701"/>
                      </a:lnTo>
                      <a:lnTo>
                        <a:pt x="1155" y="701"/>
                      </a:lnTo>
                      <a:lnTo>
                        <a:pt x="1157" y="699"/>
                      </a:lnTo>
                      <a:lnTo>
                        <a:pt x="1158" y="694"/>
                      </a:lnTo>
                      <a:lnTo>
                        <a:pt x="1160" y="691"/>
                      </a:lnTo>
                      <a:lnTo>
                        <a:pt x="1161" y="688"/>
                      </a:lnTo>
                      <a:lnTo>
                        <a:pt x="1163" y="685"/>
                      </a:lnTo>
                      <a:lnTo>
                        <a:pt x="1166" y="684"/>
                      </a:lnTo>
                      <a:lnTo>
                        <a:pt x="1168" y="683"/>
                      </a:lnTo>
                      <a:lnTo>
                        <a:pt x="1170" y="681"/>
                      </a:lnTo>
                      <a:lnTo>
                        <a:pt x="1170" y="679"/>
                      </a:lnTo>
                      <a:lnTo>
                        <a:pt x="1171" y="669"/>
                      </a:lnTo>
                      <a:lnTo>
                        <a:pt x="1168" y="659"/>
                      </a:lnTo>
                      <a:lnTo>
                        <a:pt x="1168" y="646"/>
                      </a:lnTo>
                      <a:lnTo>
                        <a:pt x="1168" y="635"/>
                      </a:lnTo>
                      <a:lnTo>
                        <a:pt x="1170" y="628"/>
                      </a:lnTo>
                      <a:lnTo>
                        <a:pt x="1171" y="622"/>
                      </a:lnTo>
                      <a:lnTo>
                        <a:pt x="1173" y="615"/>
                      </a:lnTo>
                      <a:lnTo>
                        <a:pt x="1177" y="611"/>
                      </a:lnTo>
                      <a:lnTo>
                        <a:pt x="1180" y="609"/>
                      </a:lnTo>
                      <a:lnTo>
                        <a:pt x="1183" y="609"/>
                      </a:lnTo>
                      <a:lnTo>
                        <a:pt x="1187" y="609"/>
                      </a:lnTo>
                      <a:lnTo>
                        <a:pt x="1190" y="609"/>
                      </a:lnTo>
                      <a:lnTo>
                        <a:pt x="1192" y="608"/>
                      </a:lnTo>
                      <a:lnTo>
                        <a:pt x="1195" y="603"/>
                      </a:lnTo>
                      <a:lnTo>
                        <a:pt x="1199" y="595"/>
                      </a:lnTo>
                      <a:lnTo>
                        <a:pt x="1202" y="589"/>
                      </a:lnTo>
                      <a:lnTo>
                        <a:pt x="1208" y="584"/>
                      </a:lnTo>
                      <a:lnTo>
                        <a:pt x="1214" y="584"/>
                      </a:lnTo>
                      <a:lnTo>
                        <a:pt x="1217" y="585"/>
                      </a:lnTo>
                      <a:lnTo>
                        <a:pt x="1220" y="587"/>
                      </a:lnTo>
                      <a:lnTo>
                        <a:pt x="1222" y="591"/>
                      </a:lnTo>
                      <a:lnTo>
                        <a:pt x="1223" y="594"/>
                      </a:lnTo>
                      <a:lnTo>
                        <a:pt x="1225" y="596"/>
                      </a:lnTo>
                      <a:lnTo>
                        <a:pt x="1227" y="600"/>
                      </a:lnTo>
                      <a:lnTo>
                        <a:pt x="1230" y="602"/>
                      </a:lnTo>
                      <a:lnTo>
                        <a:pt x="1233" y="604"/>
                      </a:lnTo>
                      <a:lnTo>
                        <a:pt x="1235" y="605"/>
                      </a:lnTo>
                      <a:lnTo>
                        <a:pt x="1237" y="606"/>
                      </a:lnTo>
                      <a:lnTo>
                        <a:pt x="1239" y="608"/>
                      </a:lnTo>
                      <a:lnTo>
                        <a:pt x="1241" y="609"/>
                      </a:lnTo>
                      <a:lnTo>
                        <a:pt x="1241" y="613"/>
                      </a:lnTo>
                      <a:lnTo>
                        <a:pt x="1241" y="619"/>
                      </a:lnTo>
                      <a:lnTo>
                        <a:pt x="1238" y="627"/>
                      </a:lnTo>
                      <a:lnTo>
                        <a:pt x="1238" y="634"/>
                      </a:lnTo>
                      <a:lnTo>
                        <a:pt x="1241" y="639"/>
                      </a:lnTo>
                      <a:lnTo>
                        <a:pt x="1243" y="640"/>
                      </a:lnTo>
                      <a:lnTo>
                        <a:pt x="1245" y="641"/>
                      </a:lnTo>
                      <a:lnTo>
                        <a:pt x="1247" y="641"/>
                      </a:lnTo>
                      <a:lnTo>
                        <a:pt x="1249" y="641"/>
                      </a:lnTo>
                      <a:lnTo>
                        <a:pt x="1252" y="643"/>
                      </a:lnTo>
                      <a:lnTo>
                        <a:pt x="1253" y="644"/>
                      </a:lnTo>
                      <a:lnTo>
                        <a:pt x="1254" y="646"/>
                      </a:lnTo>
                      <a:lnTo>
                        <a:pt x="1256" y="648"/>
                      </a:lnTo>
                      <a:lnTo>
                        <a:pt x="1257" y="650"/>
                      </a:lnTo>
                      <a:lnTo>
                        <a:pt x="1258" y="652"/>
                      </a:lnTo>
                      <a:lnTo>
                        <a:pt x="1259" y="655"/>
                      </a:lnTo>
                      <a:lnTo>
                        <a:pt x="1261" y="657"/>
                      </a:lnTo>
                      <a:lnTo>
                        <a:pt x="1263" y="658"/>
                      </a:lnTo>
                      <a:lnTo>
                        <a:pt x="1265" y="659"/>
                      </a:lnTo>
                      <a:lnTo>
                        <a:pt x="1268" y="658"/>
                      </a:lnTo>
                      <a:lnTo>
                        <a:pt x="1269" y="652"/>
                      </a:lnTo>
                      <a:lnTo>
                        <a:pt x="1269" y="644"/>
                      </a:lnTo>
                      <a:lnTo>
                        <a:pt x="1268" y="634"/>
                      </a:lnTo>
                      <a:lnTo>
                        <a:pt x="1268" y="626"/>
                      </a:lnTo>
                      <a:lnTo>
                        <a:pt x="1267" y="622"/>
                      </a:lnTo>
                      <a:lnTo>
                        <a:pt x="1268" y="620"/>
                      </a:lnTo>
                      <a:lnTo>
                        <a:pt x="1269" y="618"/>
                      </a:lnTo>
                      <a:lnTo>
                        <a:pt x="1269" y="615"/>
                      </a:lnTo>
                      <a:lnTo>
                        <a:pt x="1269" y="613"/>
                      </a:lnTo>
                      <a:lnTo>
                        <a:pt x="1270" y="609"/>
                      </a:lnTo>
                      <a:lnTo>
                        <a:pt x="1271" y="607"/>
                      </a:lnTo>
                      <a:lnTo>
                        <a:pt x="1271" y="606"/>
                      </a:lnTo>
                      <a:lnTo>
                        <a:pt x="1272" y="605"/>
                      </a:lnTo>
                      <a:lnTo>
                        <a:pt x="1274" y="606"/>
                      </a:lnTo>
                      <a:lnTo>
                        <a:pt x="1276" y="608"/>
                      </a:lnTo>
                      <a:lnTo>
                        <a:pt x="1278" y="612"/>
                      </a:lnTo>
                      <a:lnTo>
                        <a:pt x="1280" y="615"/>
                      </a:lnTo>
                      <a:lnTo>
                        <a:pt x="1285" y="617"/>
                      </a:lnTo>
                      <a:lnTo>
                        <a:pt x="1289" y="620"/>
                      </a:lnTo>
                      <a:lnTo>
                        <a:pt x="1294" y="623"/>
                      </a:lnTo>
                      <a:lnTo>
                        <a:pt x="1299" y="624"/>
                      </a:lnTo>
                      <a:lnTo>
                        <a:pt x="1302" y="622"/>
                      </a:lnTo>
                      <a:lnTo>
                        <a:pt x="1304" y="619"/>
                      </a:lnTo>
                      <a:lnTo>
                        <a:pt x="1304" y="617"/>
                      </a:lnTo>
                      <a:lnTo>
                        <a:pt x="1304" y="617"/>
                      </a:lnTo>
                      <a:lnTo>
                        <a:pt x="1306" y="617"/>
                      </a:lnTo>
                      <a:lnTo>
                        <a:pt x="1304" y="620"/>
                      </a:lnTo>
                      <a:lnTo>
                        <a:pt x="1329" y="629"/>
                      </a:lnTo>
                      <a:lnTo>
                        <a:pt x="1347" y="636"/>
                      </a:lnTo>
                      <a:lnTo>
                        <a:pt x="1343" y="638"/>
                      </a:lnTo>
                      <a:lnTo>
                        <a:pt x="1336" y="641"/>
                      </a:lnTo>
                      <a:lnTo>
                        <a:pt x="1329" y="644"/>
                      </a:lnTo>
                      <a:lnTo>
                        <a:pt x="1322" y="646"/>
                      </a:lnTo>
                      <a:lnTo>
                        <a:pt x="1318" y="651"/>
                      </a:lnTo>
                      <a:lnTo>
                        <a:pt x="1315" y="657"/>
                      </a:lnTo>
                      <a:lnTo>
                        <a:pt x="1311" y="663"/>
                      </a:lnTo>
                      <a:lnTo>
                        <a:pt x="1306" y="667"/>
                      </a:lnTo>
                      <a:lnTo>
                        <a:pt x="1299" y="669"/>
                      </a:lnTo>
                      <a:lnTo>
                        <a:pt x="1291" y="672"/>
                      </a:lnTo>
                      <a:lnTo>
                        <a:pt x="1291" y="671"/>
                      </a:lnTo>
                      <a:lnTo>
                        <a:pt x="1289" y="671"/>
                      </a:lnTo>
                      <a:lnTo>
                        <a:pt x="1287" y="670"/>
                      </a:lnTo>
                      <a:lnTo>
                        <a:pt x="1285" y="670"/>
                      </a:lnTo>
                      <a:lnTo>
                        <a:pt x="1282" y="670"/>
                      </a:lnTo>
                      <a:lnTo>
                        <a:pt x="1279" y="672"/>
                      </a:lnTo>
                      <a:lnTo>
                        <a:pt x="1276" y="674"/>
                      </a:lnTo>
                      <a:lnTo>
                        <a:pt x="1274" y="677"/>
                      </a:lnTo>
                      <a:lnTo>
                        <a:pt x="1268" y="681"/>
                      </a:lnTo>
                      <a:lnTo>
                        <a:pt x="1261" y="684"/>
                      </a:lnTo>
                      <a:lnTo>
                        <a:pt x="1254" y="688"/>
                      </a:lnTo>
                      <a:lnTo>
                        <a:pt x="1253" y="689"/>
                      </a:lnTo>
                      <a:lnTo>
                        <a:pt x="1252" y="690"/>
                      </a:lnTo>
                      <a:lnTo>
                        <a:pt x="1250" y="692"/>
                      </a:lnTo>
                      <a:lnTo>
                        <a:pt x="1249" y="693"/>
                      </a:lnTo>
                      <a:lnTo>
                        <a:pt x="1249" y="695"/>
                      </a:lnTo>
                      <a:lnTo>
                        <a:pt x="1249" y="696"/>
                      </a:lnTo>
                      <a:lnTo>
                        <a:pt x="1252" y="698"/>
                      </a:lnTo>
                      <a:lnTo>
                        <a:pt x="1254" y="699"/>
                      </a:lnTo>
                      <a:lnTo>
                        <a:pt x="1268" y="698"/>
                      </a:lnTo>
                      <a:lnTo>
                        <a:pt x="1282" y="694"/>
                      </a:lnTo>
                      <a:lnTo>
                        <a:pt x="1296" y="690"/>
                      </a:lnTo>
                      <a:lnTo>
                        <a:pt x="1303" y="688"/>
                      </a:lnTo>
                      <a:lnTo>
                        <a:pt x="1311" y="684"/>
                      </a:lnTo>
                      <a:lnTo>
                        <a:pt x="1318" y="680"/>
                      </a:lnTo>
                      <a:lnTo>
                        <a:pt x="1322" y="673"/>
                      </a:lnTo>
                      <a:lnTo>
                        <a:pt x="1322" y="666"/>
                      </a:lnTo>
                      <a:lnTo>
                        <a:pt x="1324" y="659"/>
                      </a:lnTo>
                      <a:lnTo>
                        <a:pt x="1330" y="656"/>
                      </a:lnTo>
                      <a:lnTo>
                        <a:pt x="1337" y="654"/>
                      </a:lnTo>
                      <a:lnTo>
                        <a:pt x="1347" y="654"/>
                      </a:lnTo>
                      <a:lnTo>
                        <a:pt x="1357" y="654"/>
                      </a:lnTo>
                      <a:lnTo>
                        <a:pt x="1367" y="655"/>
                      </a:lnTo>
                      <a:lnTo>
                        <a:pt x="1376" y="654"/>
                      </a:lnTo>
                      <a:lnTo>
                        <a:pt x="1383" y="650"/>
                      </a:lnTo>
                      <a:lnTo>
                        <a:pt x="1386" y="646"/>
                      </a:lnTo>
                      <a:lnTo>
                        <a:pt x="1386" y="649"/>
                      </a:lnTo>
                      <a:lnTo>
                        <a:pt x="1437" y="666"/>
                      </a:lnTo>
                      <a:lnTo>
                        <a:pt x="1487" y="680"/>
                      </a:lnTo>
                      <a:lnTo>
                        <a:pt x="1486" y="679"/>
                      </a:lnTo>
                      <a:lnTo>
                        <a:pt x="1487" y="677"/>
                      </a:lnTo>
                      <a:lnTo>
                        <a:pt x="1487" y="677"/>
                      </a:lnTo>
                      <a:lnTo>
                        <a:pt x="1488" y="677"/>
                      </a:lnTo>
                      <a:lnTo>
                        <a:pt x="1488" y="678"/>
                      </a:lnTo>
                      <a:lnTo>
                        <a:pt x="1489" y="678"/>
                      </a:lnTo>
                      <a:lnTo>
                        <a:pt x="1490" y="679"/>
                      </a:lnTo>
                      <a:lnTo>
                        <a:pt x="1493" y="679"/>
                      </a:lnTo>
                      <a:lnTo>
                        <a:pt x="1494" y="680"/>
                      </a:lnTo>
                      <a:lnTo>
                        <a:pt x="1495" y="680"/>
                      </a:lnTo>
                      <a:lnTo>
                        <a:pt x="1495" y="681"/>
                      </a:lnTo>
                      <a:lnTo>
                        <a:pt x="1497" y="681"/>
                      </a:lnTo>
                      <a:lnTo>
                        <a:pt x="1500" y="681"/>
                      </a:lnTo>
                      <a:lnTo>
                        <a:pt x="1503" y="682"/>
                      </a:lnTo>
                      <a:lnTo>
                        <a:pt x="1506" y="682"/>
                      </a:lnTo>
                      <a:lnTo>
                        <a:pt x="1508" y="683"/>
                      </a:lnTo>
                      <a:lnTo>
                        <a:pt x="1509" y="688"/>
                      </a:lnTo>
                      <a:lnTo>
                        <a:pt x="1508" y="691"/>
                      </a:lnTo>
                      <a:lnTo>
                        <a:pt x="1504" y="693"/>
                      </a:lnTo>
                      <a:lnTo>
                        <a:pt x="1498" y="693"/>
                      </a:lnTo>
                      <a:lnTo>
                        <a:pt x="1493" y="694"/>
                      </a:lnTo>
                      <a:lnTo>
                        <a:pt x="1488" y="696"/>
                      </a:lnTo>
                      <a:lnTo>
                        <a:pt x="1485" y="696"/>
                      </a:lnTo>
                      <a:lnTo>
                        <a:pt x="1484" y="698"/>
                      </a:lnTo>
                      <a:lnTo>
                        <a:pt x="1482" y="700"/>
                      </a:lnTo>
                      <a:lnTo>
                        <a:pt x="1481" y="701"/>
                      </a:lnTo>
                      <a:lnTo>
                        <a:pt x="1479" y="703"/>
                      </a:lnTo>
                      <a:lnTo>
                        <a:pt x="1466" y="703"/>
                      </a:lnTo>
                      <a:lnTo>
                        <a:pt x="1453" y="703"/>
                      </a:lnTo>
                      <a:lnTo>
                        <a:pt x="1440" y="703"/>
                      </a:lnTo>
                      <a:lnTo>
                        <a:pt x="1438" y="704"/>
                      </a:lnTo>
                      <a:lnTo>
                        <a:pt x="1435" y="705"/>
                      </a:lnTo>
                      <a:lnTo>
                        <a:pt x="1434" y="707"/>
                      </a:lnTo>
                      <a:lnTo>
                        <a:pt x="1433" y="710"/>
                      </a:lnTo>
                      <a:lnTo>
                        <a:pt x="1434" y="712"/>
                      </a:lnTo>
                      <a:lnTo>
                        <a:pt x="1438" y="714"/>
                      </a:lnTo>
                      <a:lnTo>
                        <a:pt x="1439" y="714"/>
                      </a:lnTo>
                      <a:lnTo>
                        <a:pt x="1441" y="714"/>
                      </a:lnTo>
                      <a:lnTo>
                        <a:pt x="1444" y="714"/>
                      </a:lnTo>
                      <a:lnTo>
                        <a:pt x="1448" y="713"/>
                      </a:lnTo>
                      <a:lnTo>
                        <a:pt x="1451" y="712"/>
                      </a:lnTo>
                      <a:lnTo>
                        <a:pt x="1453" y="711"/>
                      </a:lnTo>
                      <a:lnTo>
                        <a:pt x="1455" y="710"/>
                      </a:lnTo>
                      <a:lnTo>
                        <a:pt x="1456" y="709"/>
                      </a:lnTo>
                      <a:lnTo>
                        <a:pt x="1459" y="709"/>
                      </a:lnTo>
                      <a:lnTo>
                        <a:pt x="1462" y="709"/>
                      </a:lnTo>
                      <a:lnTo>
                        <a:pt x="1464" y="709"/>
                      </a:lnTo>
                      <a:lnTo>
                        <a:pt x="1466" y="710"/>
                      </a:lnTo>
                      <a:lnTo>
                        <a:pt x="1466" y="710"/>
                      </a:lnTo>
                      <a:lnTo>
                        <a:pt x="1464" y="711"/>
                      </a:lnTo>
                      <a:lnTo>
                        <a:pt x="1462" y="712"/>
                      </a:lnTo>
                      <a:lnTo>
                        <a:pt x="1460" y="713"/>
                      </a:lnTo>
                      <a:lnTo>
                        <a:pt x="1457" y="714"/>
                      </a:lnTo>
                      <a:lnTo>
                        <a:pt x="1455" y="715"/>
                      </a:lnTo>
                      <a:lnTo>
                        <a:pt x="1455" y="716"/>
                      </a:lnTo>
                      <a:lnTo>
                        <a:pt x="1446" y="718"/>
                      </a:lnTo>
                      <a:lnTo>
                        <a:pt x="1438" y="721"/>
                      </a:lnTo>
                      <a:lnTo>
                        <a:pt x="1430" y="723"/>
                      </a:lnTo>
                      <a:lnTo>
                        <a:pt x="1427" y="727"/>
                      </a:lnTo>
                      <a:lnTo>
                        <a:pt x="1420" y="742"/>
                      </a:lnTo>
                      <a:lnTo>
                        <a:pt x="1412" y="755"/>
                      </a:lnTo>
                      <a:lnTo>
                        <a:pt x="1407" y="768"/>
                      </a:lnTo>
                      <a:lnTo>
                        <a:pt x="1405" y="772"/>
                      </a:lnTo>
                      <a:lnTo>
                        <a:pt x="1401" y="780"/>
                      </a:lnTo>
                      <a:lnTo>
                        <a:pt x="1398" y="788"/>
                      </a:lnTo>
                      <a:lnTo>
                        <a:pt x="1396" y="790"/>
                      </a:lnTo>
                      <a:lnTo>
                        <a:pt x="1391" y="789"/>
                      </a:lnTo>
                      <a:lnTo>
                        <a:pt x="1388" y="785"/>
                      </a:lnTo>
                      <a:lnTo>
                        <a:pt x="1387" y="779"/>
                      </a:lnTo>
                      <a:lnTo>
                        <a:pt x="1386" y="775"/>
                      </a:lnTo>
                      <a:lnTo>
                        <a:pt x="1385" y="770"/>
                      </a:lnTo>
                      <a:lnTo>
                        <a:pt x="1381" y="768"/>
                      </a:lnTo>
                      <a:lnTo>
                        <a:pt x="1380" y="769"/>
                      </a:lnTo>
                      <a:lnTo>
                        <a:pt x="1379" y="770"/>
                      </a:lnTo>
                      <a:lnTo>
                        <a:pt x="1379" y="772"/>
                      </a:lnTo>
                      <a:lnTo>
                        <a:pt x="1379" y="775"/>
                      </a:lnTo>
                      <a:lnTo>
                        <a:pt x="1379" y="778"/>
                      </a:lnTo>
                      <a:lnTo>
                        <a:pt x="1380" y="780"/>
                      </a:lnTo>
                      <a:lnTo>
                        <a:pt x="1381" y="783"/>
                      </a:lnTo>
                      <a:lnTo>
                        <a:pt x="1381" y="785"/>
                      </a:lnTo>
                      <a:lnTo>
                        <a:pt x="1381" y="786"/>
                      </a:lnTo>
                      <a:lnTo>
                        <a:pt x="1383" y="789"/>
                      </a:lnTo>
                      <a:lnTo>
                        <a:pt x="1383" y="792"/>
                      </a:lnTo>
                      <a:lnTo>
                        <a:pt x="1383" y="796"/>
                      </a:lnTo>
                      <a:lnTo>
                        <a:pt x="1383" y="800"/>
                      </a:lnTo>
                      <a:lnTo>
                        <a:pt x="1381" y="803"/>
                      </a:lnTo>
                      <a:lnTo>
                        <a:pt x="1384" y="810"/>
                      </a:lnTo>
                      <a:lnTo>
                        <a:pt x="1387" y="814"/>
                      </a:lnTo>
                      <a:lnTo>
                        <a:pt x="1390" y="820"/>
                      </a:lnTo>
                      <a:lnTo>
                        <a:pt x="1392" y="825"/>
                      </a:lnTo>
                      <a:lnTo>
                        <a:pt x="1390" y="832"/>
                      </a:lnTo>
                      <a:lnTo>
                        <a:pt x="1388" y="836"/>
                      </a:lnTo>
                      <a:lnTo>
                        <a:pt x="1384" y="840"/>
                      </a:lnTo>
                      <a:lnTo>
                        <a:pt x="1379" y="842"/>
                      </a:lnTo>
                      <a:lnTo>
                        <a:pt x="1376" y="844"/>
                      </a:lnTo>
                      <a:lnTo>
                        <a:pt x="1375" y="847"/>
                      </a:lnTo>
                      <a:lnTo>
                        <a:pt x="1375" y="852"/>
                      </a:lnTo>
                      <a:lnTo>
                        <a:pt x="1376" y="855"/>
                      </a:lnTo>
                      <a:lnTo>
                        <a:pt x="1375" y="856"/>
                      </a:lnTo>
                      <a:lnTo>
                        <a:pt x="1374" y="857"/>
                      </a:lnTo>
                      <a:lnTo>
                        <a:pt x="1372" y="858"/>
                      </a:lnTo>
                      <a:lnTo>
                        <a:pt x="1369" y="859"/>
                      </a:lnTo>
                      <a:lnTo>
                        <a:pt x="1368" y="859"/>
                      </a:lnTo>
                      <a:lnTo>
                        <a:pt x="1366" y="860"/>
                      </a:lnTo>
                      <a:lnTo>
                        <a:pt x="1362" y="863"/>
                      </a:lnTo>
                      <a:lnTo>
                        <a:pt x="1357" y="865"/>
                      </a:lnTo>
                      <a:lnTo>
                        <a:pt x="1353" y="867"/>
                      </a:lnTo>
                      <a:lnTo>
                        <a:pt x="1348" y="869"/>
                      </a:lnTo>
                      <a:lnTo>
                        <a:pt x="1340" y="875"/>
                      </a:lnTo>
                      <a:lnTo>
                        <a:pt x="1331" y="879"/>
                      </a:lnTo>
                      <a:lnTo>
                        <a:pt x="1321" y="885"/>
                      </a:lnTo>
                      <a:lnTo>
                        <a:pt x="1313" y="891"/>
                      </a:lnTo>
                      <a:lnTo>
                        <a:pt x="1308" y="896"/>
                      </a:lnTo>
                      <a:lnTo>
                        <a:pt x="1300" y="898"/>
                      </a:lnTo>
                      <a:lnTo>
                        <a:pt x="1293" y="900"/>
                      </a:lnTo>
                      <a:lnTo>
                        <a:pt x="1290" y="902"/>
                      </a:lnTo>
                      <a:lnTo>
                        <a:pt x="1286" y="905"/>
                      </a:lnTo>
                      <a:lnTo>
                        <a:pt x="1282" y="908"/>
                      </a:lnTo>
                      <a:lnTo>
                        <a:pt x="1280" y="910"/>
                      </a:lnTo>
                      <a:lnTo>
                        <a:pt x="1278" y="913"/>
                      </a:lnTo>
                      <a:lnTo>
                        <a:pt x="1278" y="918"/>
                      </a:lnTo>
                      <a:lnTo>
                        <a:pt x="1278" y="921"/>
                      </a:lnTo>
                      <a:lnTo>
                        <a:pt x="1278" y="924"/>
                      </a:lnTo>
                      <a:lnTo>
                        <a:pt x="1276" y="928"/>
                      </a:lnTo>
                      <a:lnTo>
                        <a:pt x="1274" y="931"/>
                      </a:lnTo>
                      <a:lnTo>
                        <a:pt x="1274" y="936"/>
                      </a:lnTo>
                      <a:lnTo>
                        <a:pt x="1275" y="942"/>
                      </a:lnTo>
                      <a:lnTo>
                        <a:pt x="1276" y="949"/>
                      </a:lnTo>
                      <a:lnTo>
                        <a:pt x="1279" y="956"/>
                      </a:lnTo>
                      <a:lnTo>
                        <a:pt x="1283" y="963"/>
                      </a:lnTo>
                      <a:lnTo>
                        <a:pt x="1287" y="971"/>
                      </a:lnTo>
                      <a:lnTo>
                        <a:pt x="1288" y="973"/>
                      </a:lnTo>
                      <a:lnTo>
                        <a:pt x="1288" y="975"/>
                      </a:lnTo>
                      <a:lnTo>
                        <a:pt x="1289" y="978"/>
                      </a:lnTo>
                      <a:lnTo>
                        <a:pt x="1289" y="980"/>
                      </a:lnTo>
                      <a:lnTo>
                        <a:pt x="1290" y="983"/>
                      </a:lnTo>
                      <a:lnTo>
                        <a:pt x="1291" y="984"/>
                      </a:lnTo>
                      <a:lnTo>
                        <a:pt x="1297" y="995"/>
                      </a:lnTo>
                      <a:lnTo>
                        <a:pt x="1298" y="1007"/>
                      </a:lnTo>
                      <a:lnTo>
                        <a:pt x="1298" y="1019"/>
                      </a:lnTo>
                      <a:lnTo>
                        <a:pt x="1299" y="1021"/>
                      </a:lnTo>
                      <a:lnTo>
                        <a:pt x="1299" y="1025"/>
                      </a:lnTo>
                      <a:lnTo>
                        <a:pt x="1298" y="1027"/>
                      </a:lnTo>
                      <a:lnTo>
                        <a:pt x="1297" y="1029"/>
                      </a:lnTo>
                      <a:lnTo>
                        <a:pt x="1293" y="1032"/>
                      </a:lnTo>
                      <a:lnTo>
                        <a:pt x="1292" y="1034"/>
                      </a:lnTo>
                      <a:lnTo>
                        <a:pt x="1290" y="1037"/>
                      </a:lnTo>
                      <a:lnTo>
                        <a:pt x="1288" y="1039"/>
                      </a:lnTo>
                      <a:lnTo>
                        <a:pt x="1286" y="1039"/>
                      </a:lnTo>
                      <a:lnTo>
                        <a:pt x="1282" y="1039"/>
                      </a:lnTo>
                      <a:lnTo>
                        <a:pt x="1278" y="1033"/>
                      </a:lnTo>
                      <a:lnTo>
                        <a:pt x="1275" y="1026"/>
                      </a:lnTo>
                      <a:lnTo>
                        <a:pt x="1271" y="1019"/>
                      </a:lnTo>
                      <a:lnTo>
                        <a:pt x="1269" y="1015"/>
                      </a:lnTo>
                      <a:lnTo>
                        <a:pt x="1265" y="1011"/>
                      </a:lnTo>
                      <a:lnTo>
                        <a:pt x="1260" y="1008"/>
                      </a:lnTo>
                      <a:lnTo>
                        <a:pt x="1257" y="1006"/>
                      </a:lnTo>
                      <a:lnTo>
                        <a:pt x="1255" y="1005"/>
                      </a:lnTo>
                      <a:lnTo>
                        <a:pt x="1253" y="1001"/>
                      </a:lnTo>
                      <a:lnTo>
                        <a:pt x="1253" y="998"/>
                      </a:lnTo>
                      <a:lnTo>
                        <a:pt x="1252" y="995"/>
                      </a:lnTo>
                      <a:lnTo>
                        <a:pt x="1250" y="990"/>
                      </a:lnTo>
                      <a:lnTo>
                        <a:pt x="1248" y="987"/>
                      </a:lnTo>
                      <a:lnTo>
                        <a:pt x="1247" y="984"/>
                      </a:lnTo>
                      <a:lnTo>
                        <a:pt x="1245" y="979"/>
                      </a:lnTo>
                      <a:lnTo>
                        <a:pt x="1245" y="977"/>
                      </a:lnTo>
                      <a:lnTo>
                        <a:pt x="1245" y="974"/>
                      </a:lnTo>
                      <a:lnTo>
                        <a:pt x="1245" y="972"/>
                      </a:lnTo>
                      <a:lnTo>
                        <a:pt x="1245" y="969"/>
                      </a:lnTo>
                      <a:lnTo>
                        <a:pt x="1245" y="966"/>
                      </a:lnTo>
                      <a:lnTo>
                        <a:pt x="1243" y="964"/>
                      </a:lnTo>
                      <a:lnTo>
                        <a:pt x="1239" y="958"/>
                      </a:lnTo>
                      <a:lnTo>
                        <a:pt x="1235" y="953"/>
                      </a:lnTo>
                      <a:lnTo>
                        <a:pt x="1231" y="950"/>
                      </a:lnTo>
                      <a:lnTo>
                        <a:pt x="1226" y="950"/>
                      </a:lnTo>
                      <a:lnTo>
                        <a:pt x="1221" y="953"/>
                      </a:lnTo>
                      <a:lnTo>
                        <a:pt x="1213" y="957"/>
                      </a:lnTo>
                      <a:lnTo>
                        <a:pt x="1204" y="957"/>
                      </a:lnTo>
                      <a:lnTo>
                        <a:pt x="1195" y="954"/>
                      </a:lnTo>
                      <a:lnTo>
                        <a:pt x="1188" y="951"/>
                      </a:lnTo>
                      <a:lnTo>
                        <a:pt x="1178" y="945"/>
                      </a:lnTo>
                      <a:lnTo>
                        <a:pt x="1167" y="943"/>
                      </a:lnTo>
                      <a:lnTo>
                        <a:pt x="1156" y="944"/>
                      </a:lnTo>
                      <a:lnTo>
                        <a:pt x="1144" y="944"/>
                      </a:lnTo>
                      <a:lnTo>
                        <a:pt x="1140" y="943"/>
                      </a:lnTo>
                      <a:lnTo>
                        <a:pt x="1133" y="941"/>
                      </a:lnTo>
                      <a:lnTo>
                        <a:pt x="1124" y="940"/>
                      </a:lnTo>
                      <a:lnTo>
                        <a:pt x="1117" y="940"/>
                      </a:lnTo>
                      <a:lnTo>
                        <a:pt x="1113" y="940"/>
                      </a:lnTo>
                      <a:lnTo>
                        <a:pt x="1114" y="941"/>
                      </a:lnTo>
                      <a:lnTo>
                        <a:pt x="1115" y="943"/>
                      </a:lnTo>
                      <a:lnTo>
                        <a:pt x="1116" y="944"/>
                      </a:lnTo>
                      <a:lnTo>
                        <a:pt x="1117" y="946"/>
                      </a:lnTo>
                      <a:lnTo>
                        <a:pt x="1119" y="949"/>
                      </a:lnTo>
                      <a:lnTo>
                        <a:pt x="1122" y="950"/>
                      </a:lnTo>
                      <a:lnTo>
                        <a:pt x="1123" y="952"/>
                      </a:lnTo>
                      <a:lnTo>
                        <a:pt x="1124" y="953"/>
                      </a:lnTo>
                      <a:lnTo>
                        <a:pt x="1124" y="954"/>
                      </a:lnTo>
                      <a:lnTo>
                        <a:pt x="1123" y="955"/>
                      </a:lnTo>
                      <a:lnTo>
                        <a:pt x="1121" y="955"/>
                      </a:lnTo>
                      <a:lnTo>
                        <a:pt x="1117" y="955"/>
                      </a:lnTo>
                      <a:lnTo>
                        <a:pt x="1113" y="956"/>
                      </a:lnTo>
                      <a:lnTo>
                        <a:pt x="1110" y="960"/>
                      </a:lnTo>
                      <a:lnTo>
                        <a:pt x="1107" y="963"/>
                      </a:lnTo>
                      <a:lnTo>
                        <a:pt x="1105" y="965"/>
                      </a:lnTo>
                      <a:lnTo>
                        <a:pt x="1100" y="964"/>
                      </a:lnTo>
                      <a:lnTo>
                        <a:pt x="1093" y="961"/>
                      </a:lnTo>
                      <a:lnTo>
                        <a:pt x="1088" y="956"/>
                      </a:lnTo>
                      <a:lnTo>
                        <a:pt x="1083" y="953"/>
                      </a:lnTo>
                      <a:lnTo>
                        <a:pt x="1077" y="951"/>
                      </a:lnTo>
                      <a:lnTo>
                        <a:pt x="1069" y="953"/>
                      </a:lnTo>
                      <a:lnTo>
                        <a:pt x="1061" y="954"/>
                      </a:lnTo>
                      <a:lnTo>
                        <a:pt x="1052" y="953"/>
                      </a:lnTo>
                      <a:lnTo>
                        <a:pt x="1043" y="951"/>
                      </a:lnTo>
                      <a:lnTo>
                        <a:pt x="1035" y="950"/>
                      </a:lnTo>
                      <a:lnTo>
                        <a:pt x="1027" y="951"/>
                      </a:lnTo>
                      <a:lnTo>
                        <a:pt x="1026" y="953"/>
                      </a:lnTo>
                      <a:lnTo>
                        <a:pt x="1025" y="955"/>
                      </a:lnTo>
                      <a:lnTo>
                        <a:pt x="1023" y="957"/>
                      </a:lnTo>
                      <a:lnTo>
                        <a:pt x="1020" y="957"/>
                      </a:lnTo>
                      <a:lnTo>
                        <a:pt x="1018" y="958"/>
                      </a:lnTo>
                      <a:lnTo>
                        <a:pt x="1016" y="960"/>
                      </a:lnTo>
                      <a:lnTo>
                        <a:pt x="1006" y="962"/>
                      </a:lnTo>
                      <a:lnTo>
                        <a:pt x="996" y="966"/>
                      </a:lnTo>
                      <a:lnTo>
                        <a:pt x="987" y="969"/>
                      </a:lnTo>
                      <a:lnTo>
                        <a:pt x="981" y="973"/>
                      </a:lnTo>
                      <a:lnTo>
                        <a:pt x="977" y="978"/>
                      </a:lnTo>
                      <a:lnTo>
                        <a:pt x="974" y="986"/>
                      </a:lnTo>
                      <a:lnTo>
                        <a:pt x="974" y="989"/>
                      </a:lnTo>
                      <a:lnTo>
                        <a:pt x="974" y="992"/>
                      </a:lnTo>
                      <a:lnTo>
                        <a:pt x="973" y="995"/>
                      </a:lnTo>
                      <a:lnTo>
                        <a:pt x="973" y="998"/>
                      </a:lnTo>
                      <a:lnTo>
                        <a:pt x="974" y="1001"/>
                      </a:lnTo>
                      <a:lnTo>
                        <a:pt x="976" y="1005"/>
                      </a:lnTo>
                      <a:lnTo>
                        <a:pt x="977" y="1008"/>
                      </a:lnTo>
                      <a:lnTo>
                        <a:pt x="980" y="1010"/>
                      </a:lnTo>
                      <a:lnTo>
                        <a:pt x="982" y="1014"/>
                      </a:lnTo>
                      <a:lnTo>
                        <a:pt x="983" y="1017"/>
                      </a:lnTo>
                      <a:lnTo>
                        <a:pt x="983" y="1027"/>
                      </a:lnTo>
                      <a:lnTo>
                        <a:pt x="981" y="1036"/>
                      </a:lnTo>
                      <a:lnTo>
                        <a:pt x="977" y="1044"/>
                      </a:lnTo>
                      <a:lnTo>
                        <a:pt x="976" y="1054"/>
                      </a:lnTo>
                      <a:lnTo>
                        <a:pt x="977" y="1061"/>
                      </a:lnTo>
                      <a:lnTo>
                        <a:pt x="980" y="1067"/>
                      </a:lnTo>
                      <a:lnTo>
                        <a:pt x="981" y="1076"/>
                      </a:lnTo>
                      <a:lnTo>
                        <a:pt x="983" y="1078"/>
                      </a:lnTo>
                      <a:lnTo>
                        <a:pt x="984" y="1080"/>
                      </a:lnTo>
                      <a:lnTo>
                        <a:pt x="986" y="1081"/>
                      </a:lnTo>
                      <a:lnTo>
                        <a:pt x="988" y="1083"/>
                      </a:lnTo>
                      <a:lnTo>
                        <a:pt x="990" y="1085"/>
                      </a:lnTo>
                      <a:lnTo>
                        <a:pt x="993" y="1088"/>
                      </a:lnTo>
                      <a:lnTo>
                        <a:pt x="994" y="1092"/>
                      </a:lnTo>
                      <a:lnTo>
                        <a:pt x="995" y="1095"/>
                      </a:lnTo>
                      <a:lnTo>
                        <a:pt x="996" y="1098"/>
                      </a:lnTo>
                      <a:lnTo>
                        <a:pt x="1001" y="1104"/>
                      </a:lnTo>
                      <a:lnTo>
                        <a:pt x="1005" y="1109"/>
                      </a:lnTo>
                      <a:lnTo>
                        <a:pt x="1009" y="1114"/>
                      </a:lnTo>
                      <a:lnTo>
                        <a:pt x="1012" y="1116"/>
                      </a:lnTo>
                      <a:lnTo>
                        <a:pt x="1014" y="1119"/>
                      </a:lnTo>
                      <a:lnTo>
                        <a:pt x="1015" y="1123"/>
                      </a:lnTo>
                      <a:lnTo>
                        <a:pt x="1016" y="1126"/>
                      </a:lnTo>
                      <a:lnTo>
                        <a:pt x="1018" y="1129"/>
                      </a:lnTo>
                      <a:lnTo>
                        <a:pt x="1023" y="1130"/>
                      </a:lnTo>
                      <a:lnTo>
                        <a:pt x="1026" y="1131"/>
                      </a:lnTo>
                      <a:lnTo>
                        <a:pt x="1029" y="1131"/>
                      </a:lnTo>
                      <a:lnTo>
                        <a:pt x="1032" y="1132"/>
                      </a:lnTo>
                      <a:lnTo>
                        <a:pt x="1036" y="1134"/>
                      </a:lnTo>
                      <a:lnTo>
                        <a:pt x="1038" y="1135"/>
                      </a:lnTo>
                      <a:lnTo>
                        <a:pt x="1040" y="1136"/>
                      </a:lnTo>
                      <a:lnTo>
                        <a:pt x="1042" y="1137"/>
                      </a:lnTo>
                      <a:lnTo>
                        <a:pt x="1046" y="1138"/>
                      </a:lnTo>
                      <a:lnTo>
                        <a:pt x="1048" y="1138"/>
                      </a:lnTo>
                      <a:lnTo>
                        <a:pt x="1049" y="1138"/>
                      </a:lnTo>
                      <a:lnTo>
                        <a:pt x="1052" y="1136"/>
                      </a:lnTo>
                      <a:lnTo>
                        <a:pt x="1055" y="1135"/>
                      </a:lnTo>
                      <a:lnTo>
                        <a:pt x="1057" y="1135"/>
                      </a:lnTo>
                      <a:lnTo>
                        <a:pt x="1059" y="1135"/>
                      </a:lnTo>
                      <a:lnTo>
                        <a:pt x="1062" y="1136"/>
                      </a:lnTo>
                      <a:lnTo>
                        <a:pt x="1075" y="1136"/>
                      </a:lnTo>
                      <a:lnTo>
                        <a:pt x="1078" y="1135"/>
                      </a:lnTo>
                      <a:lnTo>
                        <a:pt x="1080" y="1134"/>
                      </a:lnTo>
                      <a:lnTo>
                        <a:pt x="1082" y="1134"/>
                      </a:lnTo>
                      <a:lnTo>
                        <a:pt x="1085" y="1135"/>
                      </a:lnTo>
                      <a:lnTo>
                        <a:pt x="1088" y="1136"/>
                      </a:lnTo>
                      <a:lnTo>
                        <a:pt x="1089" y="1137"/>
                      </a:lnTo>
                      <a:lnTo>
                        <a:pt x="1091" y="1138"/>
                      </a:lnTo>
                      <a:lnTo>
                        <a:pt x="1093" y="1138"/>
                      </a:lnTo>
                      <a:lnTo>
                        <a:pt x="1095" y="1138"/>
                      </a:lnTo>
                      <a:lnTo>
                        <a:pt x="1099" y="1137"/>
                      </a:lnTo>
                      <a:lnTo>
                        <a:pt x="1100" y="1137"/>
                      </a:lnTo>
                      <a:lnTo>
                        <a:pt x="1101" y="1135"/>
                      </a:lnTo>
                      <a:lnTo>
                        <a:pt x="1101" y="1134"/>
                      </a:lnTo>
                      <a:lnTo>
                        <a:pt x="1101" y="1132"/>
                      </a:lnTo>
                      <a:lnTo>
                        <a:pt x="1100" y="1131"/>
                      </a:lnTo>
                      <a:lnTo>
                        <a:pt x="1101" y="1129"/>
                      </a:lnTo>
                      <a:lnTo>
                        <a:pt x="1101" y="1127"/>
                      </a:lnTo>
                      <a:lnTo>
                        <a:pt x="1102" y="1126"/>
                      </a:lnTo>
                      <a:lnTo>
                        <a:pt x="1104" y="1125"/>
                      </a:lnTo>
                      <a:lnTo>
                        <a:pt x="1106" y="1123"/>
                      </a:lnTo>
                      <a:lnTo>
                        <a:pt x="1108" y="1119"/>
                      </a:lnTo>
                      <a:lnTo>
                        <a:pt x="1110" y="1116"/>
                      </a:lnTo>
                      <a:lnTo>
                        <a:pt x="1111" y="1113"/>
                      </a:lnTo>
                      <a:lnTo>
                        <a:pt x="1111" y="1108"/>
                      </a:lnTo>
                      <a:lnTo>
                        <a:pt x="1111" y="1105"/>
                      </a:lnTo>
                      <a:lnTo>
                        <a:pt x="1114" y="1100"/>
                      </a:lnTo>
                      <a:lnTo>
                        <a:pt x="1121" y="1099"/>
                      </a:lnTo>
                      <a:lnTo>
                        <a:pt x="1128" y="1098"/>
                      </a:lnTo>
                      <a:lnTo>
                        <a:pt x="1136" y="1098"/>
                      </a:lnTo>
                      <a:lnTo>
                        <a:pt x="1141" y="1098"/>
                      </a:lnTo>
                      <a:lnTo>
                        <a:pt x="1148" y="1097"/>
                      </a:lnTo>
                      <a:lnTo>
                        <a:pt x="1156" y="1096"/>
                      </a:lnTo>
                      <a:lnTo>
                        <a:pt x="1163" y="1096"/>
                      </a:lnTo>
                      <a:lnTo>
                        <a:pt x="1171" y="1097"/>
                      </a:lnTo>
                      <a:lnTo>
                        <a:pt x="1176" y="1100"/>
                      </a:lnTo>
                      <a:lnTo>
                        <a:pt x="1177" y="1105"/>
                      </a:lnTo>
                      <a:lnTo>
                        <a:pt x="1174" y="1108"/>
                      </a:lnTo>
                      <a:lnTo>
                        <a:pt x="1172" y="1112"/>
                      </a:lnTo>
                      <a:lnTo>
                        <a:pt x="1170" y="1114"/>
                      </a:lnTo>
                      <a:lnTo>
                        <a:pt x="1168" y="1117"/>
                      </a:lnTo>
                      <a:lnTo>
                        <a:pt x="1167" y="1120"/>
                      </a:lnTo>
                      <a:lnTo>
                        <a:pt x="1166" y="1124"/>
                      </a:lnTo>
                      <a:lnTo>
                        <a:pt x="1166" y="1127"/>
                      </a:lnTo>
                      <a:lnTo>
                        <a:pt x="1165" y="1137"/>
                      </a:lnTo>
                      <a:lnTo>
                        <a:pt x="1159" y="1145"/>
                      </a:lnTo>
                      <a:lnTo>
                        <a:pt x="1150" y="1149"/>
                      </a:lnTo>
                      <a:lnTo>
                        <a:pt x="1148" y="1149"/>
                      </a:lnTo>
                      <a:lnTo>
                        <a:pt x="1145" y="1149"/>
                      </a:lnTo>
                      <a:lnTo>
                        <a:pt x="1143" y="1150"/>
                      </a:lnTo>
                      <a:lnTo>
                        <a:pt x="1140" y="1151"/>
                      </a:lnTo>
                      <a:lnTo>
                        <a:pt x="1139" y="1153"/>
                      </a:lnTo>
                      <a:lnTo>
                        <a:pt x="1141" y="1156"/>
                      </a:lnTo>
                      <a:lnTo>
                        <a:pt x="1144" y="1157"/>
                      </a:lnTo>
                      <a:lnTo>
                        <a:pt x="1146" y="1158"/>
                      </a:lnTo>
                      <a:lnTo>
                        <a:pt x="1148" y="1160"/>
                      </a:lnTo>
                      <a:lnTo>
                        <a:pt x="1150" y="1163"/>
                      </a:lnTo>
                      <a:lnTo>
                        <a:pt x="1152" y="1169"/>
                      </a:lnTo>
                      <a:lnTo>
                        <a:pt x="1155" y="1173"/>
                      </a:lnTo>
                      <a:lnTo>
                        <a:pt x="1158" y="1178"/>
                      </a:lnTo>
                      <a:lnTo>
                        <a:pt x="1163" y="1180"/>
                      </a:lnTo>
                      <a:lnTo>
                        <a:pt x="1172" y="1180"/>
                      </a:lnTo>
                      <a:lnTo>
                        <a:pt x="1181" y="1178"/>
                      </a:lnTo>
                      <a:lnTo>
                        <a:pt x="1188" y="1180"/>
                      </a:lnTo>
                      <a:lnTo>
                        <a:pt x="1197" y="1180"/>
                      </a:lnTo>
                      <a:lnTo>
                        <a:pt x="1204" y="1179"/>
                      </a:lnTo>
                      <a:lnTo>
                        <a:pt x="1212" y="1178"/>
                      </a:lnTo>
                      <a:lnTo>
                        <a:pt x="1215" y="1178"/>
                      </a:lnTo>
                      <a:lnTo>
                        <a:pt x="1219" y="1178"/>
                      </a:lnTo>
                      <a:lnTo>
                        <a:pt x="1223" y="1178"/>
                      </a:lnTo>
                      <a:lnTo>
                        <a:pt x="1226" y="1179"/>
                      </a:lnTo>
                      <a:lnTo>
                        <a:pt x="1227" y="1180"/>
                      </a:lnTo>
                      <a:lnTo>
                        <a:pt x="1230" y="1182"/>
                      </a:lnTo>
                      <a:lnTo>
                        <a:pt x="1231" y="1184"/>
                      </a:lnTo>
                      <a:lnTo>
                        <a:pt x="1232" y="1185"/>
                      </a:lnTo>
                      <a:lnTo>
                        <a:pt x="1234" y="1186"/>
                      </a:lnTo>
                      <a:lnTo>
                        <a:pt x="1236" y="1186"/>
                      </a:lnTo>
                      <a:lnTo>
                        <a:pt x="1238" y="1186"/>
                      </a:lnTo>
                      <a:lnTo>
                        <a:pt x="1241" y="1186"/>
                      </a:lnTo>
                      <a:lnTo>
                        <a:pt x="1243" y="1185"/>
                      </a:lnTo>
                      <a:lnTo>
                        <a:pt x="1248" y="1187"/>
                      </a:lnTo>
                      <a:lnTo>
                        <a:pt x="1250" y="1192"/>
                      </a:lnTo>
                      <a:lnTo>
                        <a:pt x="1250" y="1198"/>
                      </a:lnTo>
                      <a:lnTo>
                        <a:pt x="1250" y="1204"/>
                      </a:lnTo>
                      <a:lnTo>
                        <a:pt x="1249" y="1207"/>
                      </a:lnTo>
                      <a:lnTo>
                        <a:pt x="1248" y="1212"/>
                      </a:lnTo>
                      <a:lnTo>
                        <a:pt x="1247" y="1215"/>
                      </a:lnTo>
                      <a:lnTo>
                        <a:pt x="1247" y="1219"/>
                      </a:lnTo>
                      <a:lnTo>
                        <a:pt x="1245" y="1223"/>
                      </a:lnTo>
                      <a:lnTo>
                        <a:pt x="1245" y="1227"/>
                      </a:lnTo>
                      <a:lnTo>
                        <a:pt x="1244" y="1230"/>
                      </a:lnTo>
                      <a:lnTo>
                        <a:pt x="1243" y="1233"/>
                      </a:lnTo>
                      <a:lnTo>
                        <a:pt x="1242" y="1236"/>
                      </a:lnTo>
                      <a:lnTo>
                        <a:pt x="1241" y="1238"/>
                      </a:lnTo>
                      <a:lnTo>
                        <a:pt x="1241" y="1254"/>
                      </a:lnTo>
                      <a:lnTo>
                        <a:pt x="1243" y="1257"/>
                      </a:lnTo>
                      <a:lnTo>
                        <a:pt x="1245" y="1258"/>
                      </a:lnTo>
                      <a:lnTo>
                        <a:pt x="1248" y="1260"/>
                      </a:lnTo>
                      <a:lnTo>
                        <a:pt x="1252" y="1261"/>
                      </a:lnTo>
                      <a:lnTo>
                        <a:pt x="1254" y="1262"/>
                      </a:lnTo>
                      <a:lnTo>
                        <a:pt x="1255" y="1263"/>
                      </a:lnTo>
                      <a:lnTo>
                        <a:pt x="1256" y="1266"/>
                      </a:lnTo>
                      <a:lnTo>
                        <a:pt x="1258" y="1267"/>
                      </a:lnTo>
                      <a:lnTo>
                        <a:pt x="1259" y="1268"/>
                      </a:lnTo>
                      <a:lnTo>
                        <a:pt x="1263" y="1269"/>
                      </a:lnTo>
                      <a:lnTo>
                        <a:pt x="1267" y="1271"/>
                      </a:lnTo>
                      <a:lnTo>
                        <a:pt x="1271" y="1271"/>
                      </a:lnTo>
                      <a:lnTo>
                        <a:pt x="1276" y="1271"/>
                      </a:lnTo>
                      <a:lnTo>
                        <a:pt x="1288" y="1270"/>
                      </a:lnTo>
                      <a:lnTo>
                        <a:pt x="1297" y="1268"/>
                      </a:lnTo>
                      <a:lnTo>
                        <a:pt x="1304" y="1265"/>
                      </a:lnTo>
                      <a:lnTo>
                        <a:pt x="1317" y="1263"/>
                      </a:lnTo>
                      <a:lnTo>
                        <a:pt x="1328" y="1266"/>
                      </a:lnTo>
                      <a:lnTo>
                        <a:pt x="1337" y="1269"/>
                      </a:lnTo>
                      <a:lnTo>
                        <a:pt x="1339" y="1270"/>
                      </a:lnTo>
                      <a:lnTo>
                        <a:pt x="1340" y="1271"/>
                      </a:lnTo>
                      <a:lnTo>
                        <a:pt x="1342" y="1272"/>
                      </a:lnTo>
                      <a:lnTo>
                        <a:pt x="1345" y="1273"/>
                      </a:lnTo>
                      <a:lnTo>
                        <a:pt x="1347" y="1274"/>
                      </a:lnTo>
                      <a:lnTo>
                        <a:pt x="1350" y="1276"/>
                      </a:lnTo>
                      <a:lnTo>
                        <a:pt x="1352" y="1277"/>
                      </a:lnTo>
                      <a:lnTo>
                        <a:pt x="1353" y="1276"/>
                      </a:lnTo>
                      <a:lnTo>
                        <a:pt x="1357" y="1274"/>
                      </a:lnTo>
                      <a:lnTo>
                        <a:pt x="1359" y="1272"/>
                      </a:lnTo>
                      <a:lnTo>
                        <a:pt x="1363" y="1270"/>
                      </a:lnTo>
                      <a:lnTo>
                        <a:pt x="1365" y="1268"/>
                      </a:lnTo>
                      <a:lnTo>
                        <a:pt x="1368" y="1265"/>
                      </a:lnTo>
                      <a:lnTo>
                        <a:pt x="1375" y="1261"/>
                      </a:lnTo>
                      <a:lnTo>
                        <a:pt x="1377" y="1257"/>
                      </a:lnTo>
                      <a:lnTo>
                        <a:pt x="1379" y="1252"/>
                      </a:lnTo>
                      <a:lnTo>
                        <a:pt x="1381" y="1247"/>
                      </a:lnTo>
                      <a:lnTo>
                        <a:pt x="1386" y="1243"/>
                      </a:lnTo>
                      <a:lnTo>
                        <a:pt x="1388" y="1243"/>
                      </a:lnTo>
                      <a:lnTo>
                        <a:pt x="1389" y="1240"/>
                      </a:lnTo>
                      <a:lnTo>
                        <a:pt x="1391" y="1239"/>
                      </a:lnTo>
                      <a:lnTo>
                        <a:pt x="1392" y="1238"/>
                      </a:lnTo>
                      <a:lnTo>
                        <a:pt x="1395" y="1239"/>
                      </a:lnTo>
                      <a:lnTo>
                        <a:pt x="1397" y="1239"/>
                      </a:lnTo>
                      <a:lnTo>
                        <a:pt x="1398" y="1240"/>
                      </a:lnTo>
                      <a:lnTo>
                        <a:pt x="1398" y="1240"/>
                      </a:lnTo>
                      <a:lnTo>
                        <a:pt x="1400" y="1240"/>
                      </a:lnTo>
                      <a:lnTo>
                        <a:pt x="1401" y="1241"/>
                      </a:lnTo>
                      <a:lnTo>
                        <a:pt x="1402" y="1240"/>
                      </a:lnTo>
                      <a:lnTo>
                        <a:pt x="1403" y="1239"/>
                      </a:lnTo>
                      <a:lnTo>
                        <a:pt x="1405" y="1238"/>
                      </a:lnTo>
                      <a:lnTo>
                        <a:pt x="1406" y="1237"/>
                      </a:lnTo>
                      <a:lnTo>
                        <a:pt x="1407" y="1235"/>
                      </a:lnTo>
                      <a:lnTo>
                        <a:pt x="1408" y="1234"/>
                      </a:lnTo>
                      <a:lnTo>
                        <a:pt x="1430" y="1229"/>
                      </a:lnTo>
                      <a:lnTo>
                        <a:pt x="1449" y="1220"/>
                      </a:lnTo>
                      <a:lnTo>
                        <a:pt x="1450" y="1219"/>
                      </a:lnTo>
                      <a:lnTo>
                        <a:pt x="1452" y="1218"/>
                      </a:lnTo>
                      <a:lnTo>
                        <a:pt x="1454" y="1217"/>
                      </a:lnTo>
                      <a:lnTo>
                        <a:pt x="1457" y="1217"/>
                      </a:lnTo>
                      <a:lnTo>
                        <a:pt x="1460" y="1217"/>
                      </a:lnTo>
                      <a:lnTo>
                        <a:pt x="1462" y="1217"/>
                      </a:lnTo>
                      <a:lnTo>
                        <a:pt x="1463" y="1218"/>
                      </a:lnTo>
                      <a:lnTo>
                        <a:pt x="1464" y="1219"/>
                      </a:lnTo>
                      <a:lnTo>
                        <a:pt x="1464" y="1220"/>
                      </a:lnTo>
                      <a:lnTo>
                        <a:pt x="1462" y="1224"/>
                      </a:lnTo>
                      <a:lnTo>
                        <a:pt x="1460" y="1225"/>
                      </a:lnTo>
                      <a:lnTo>
                        <a:pt x="1457" y="1226"/>
                      </a:lnTo>
                      <a:lnTo>
                        <a:pt x="1454" y="1226"/>
                      </a:lnTo>
                      <a:lnTo>
                        <a:pt x="1452" y="1227"/>
                      </a:lnTo>
                      <a:lnTo>
                        <a:pt x="1450" y="1228"/>
                      </a:lnTo>
                      <a:lnTo>
                        <a:pt x="1449" y="1229"/>
                      </a:lnTo>
                      <a:lnTo>
                        <a:pt x="1446" y="1232"/>
                      </a:lnTo>
                      <a:lnTo>
                        <a:pt x="1448" y="1234"/>
                      </a:lnTo>
                      <a:lnTo>
                        <a:pt x="1448" y="1236"/>
                      </a:lnTo>
                      <a:lnTo>
                        <a:pt x="1449" y="1238"/>
                      </a:lnTo>
                      <a:lnTo>
                        <a:pt x="1450" y="1241"/>
                      </a:lnTo>
                      <a:lnTo>
                        <a:pt x="1451" y="1244"/>
                      </a:lnTo>
                      <a:lnTo>
                        <a:pt x="1451" y="1245"/>
                      </a:lnTo>
                      <a:lnTo>
                        <a:pt x="1449" y="1247"/>
                      </a:lnTo>
                      <a:lnTo>
                        <a:pt x="1446" y="1249"/>
                      </a:lnTo>
                      <a:lnTo>
                        <a:pt x="1443" y="1250"/>
                      </a:lnTo>
                      <a:lnTo>
                        <a:pt x="1440" y="1252"/>
                      </a:lnTo>
                      <a:lnTo>
                        <a:pt x="1438" y="1255"/>
                      </a:lnTo>
                      <a:lnTo>
                        <a:pt x="1438" y="1256"/>
                      </a:lnTo>
                      <a:lnTo>
                        <a:pt x="1438" y="1257"/>
                      </a:lnTo>
                      <a:lnTo>
                        <a:pt x="1439" y="1258"/>
                      </a:lnTo>
                      <a:lnTo>
                        <a:pt x="1441" y="1259"/>
                      </a:lnTo>
                      <a:lnTo>
                        <a:pt x="1442" y="1259"/>
                      </a:lnTo>
                      <a:lnTo>
                        <a:pt x="1444" y="1260"/>
                      </a:lnTo>
                      <a:lnTo>
                        <a:pt x="1445" y="1261"/>
                      </a:lnTo>
                      <a:lnTo>
                        <a:pt x="1446" y="1262"/>
                      </a:lnTo>
                      <a:lnTo>
                        <a:pt x="1446" y="1263"/>
                      </a:lnTo>
                      <a:lnTo>
                        <a:pt x="1449" y="1265"/>
                      </a:lnTo>
                      <a:lnTo>
                        <a:pt x="1450" y="1266"/>
                      </a:lnTo>
                      <a:lnTo>
                        <a:pt x="1451" y="1265"/>
                      </a:lnTo>
                      <a:lnTo>
                        <a:pt x="1453" y="1263"/>
                      </a:lnTo>
                      <a:lnTo>
                        <a:pt x="1454" y="1261"/>
                      </a:lnTo>
                      <a:lnTo>
                        <a:pt x="1455" y="1260"/>
                      </a:lnTo>
                      <a:lnTo>
                        <a:pt x="1457" y="1258"/>
                      </a:lnTo>
                      <a:lnTo>
                        <a:pt x="1459" y="1256"/>
                      </a:lnTo>
                      <a:lnTo>
                        <a:pt x="1459" y="1254"/>
                      </a:lnTo>
                      <a:lnTo>
                        <a:pt x="1457" y="1251"/>
                      </a:lnTo>
                      <a:lnTo>
                        <a:pt x="1456" y="1250"/>
                      </a:lnTo>
                      <a:lnTo>
                        <a:pt x="1455" y="1248"/>
                      </a:lnTo>
                      <a:lnTo>
                        <a:pt x="1454" y="1245"/>
                      </a:lnTo>
                      <a:lnTo>
                        <a:pt x="1453" y="1243"/>
                      </a:lnTo>
                      <a:lnTo>
                        <a:pt x="1454" y="1240"/>
                      </a:lnTo>
                      <a:lnTo>
                        <a:pt x="1455" y="1238"/>
                      </a:lnTo>
                      <a:lnTo>
                        <a:pt x="1457" y="1236"/>
                      </a:lnTo>
                      <a:lnTo>
                        <a:pt x="1465" y="1234"/>
                      </a:lnTo>
                      <a:lnTo>
                        <a:pt x="1474" y="1232"/>
                      </a:lnTo>
                      <a:lnTo>
                        <a:pt x="1484" y="1229"/>
                      </a:lnTo>
                      <a:lnTo>
                        <a:pt x="1482" y="1227"/>
                      </a:lnTo>
                      <a:lnTo>
                        <a:pt x="1481" y="1226"/>
                      </a:lnTo>
                      <a:lnTo>
                        <a:pt x="1478" y="1225"/>
                      </a:lnTo>
                      <a:lnTo>
                        <a:pt x="1477" y="1223"/>
                      </a:lnTo>
                      <a:lnTo>
                        <a:pt x="1477" y="1220"/>
                      </a:lnTo>
                      <a:lnTo>
                        <a:pt x="1478" y="1219"/>
                      </a:lnTo>
                      <a:lnTo>
                        <a:pt x="1481" y="1219"/>
                      </a:lnTo>
                      <a:lnTo>
                        <a:pt x="1483" y="1219"/>
                      </a:lnTo>
                      <a:lnTo>
                        <a:pt x="1485" y="1220"/>
                      </a:lnTo>
                      <a:lnTo>
                        <a:pt x="1486" y="1222"/>
                      </a:lnTo>
                      <a:lnTo>
                        <a:pt x="1488" y="1223"/>
                      </a:lnTo>
                      <a:lnTo>
                        <a:pt x="1487" y="1224"/>
                      </a:lnTo>
                      <a:lnTo>
                        <a:pt x="1487" y="1225"/>
                      </a:lnTo>
                      <a:lnTo>
                        <a:pt x="1486" y="1226"/>
                      </a:lnTo>
                      <a:lnTo>
                        <a:pt x="1486" y="1227"/>
                      </a:lnTo>
                      <a:lnTo>
                        <a:pt x="1486" y="1227"/>
                      </a:lnTo>
                      <a:lnTo>
                        <a:pt x="1488" y="1227"/>
                      </a:lnTo>
                      <a:lnTo>
                        <a:pt x="1499" y="1227"/>
                      </a:lnTo>
                      <a:lnTo>
                        <a:pt x="1503" y="1228"/>
                      </a:lnTo>
                      <a:lnTo>
                        <a:pt x="1505" y="1228"/>
                      </a:lnTo>
                      <a:lnTo>
                        <a:pt x="1506" y="1229"/>
                      </a:lnTo>
                      <a:lnTo>
                        <a:pt x="1507" y="1230"/>
                      </a:lnTo>
                      <a:lnTo>
                        <a:pt x="1508" y="1232"/>
                      </a:lnTo>
                      <a:lnTo>
                        <a:pt x="1508" y="1234"/>
                      </a:lnTo>
                      <a:lnTo>
                        <a:pt x="1508" y="1236"/>
                      </a:lnTo>
                      <a:lnTo>
                        <a:pt x="1508" y="1238"/>
                      </a:lnTo>
                      <a:lnTo>
                        <a:pt x="1509" y="1239"/>
                      </a:lnTo>
                      <a:lnTo>
                        <a:pt x="1511" y="1240"/>
                      </a:lnTo>
                      <a:lnTo>
                        <a:pt x="1515" y="1240"/>
                      </a:lnTo>
                      <a:lnTo>
                        <a:pt x="1521" y="1239"/>
                      </a:lnTo>
                      <a:lnTo>
                        <a:pt x="1530" y="1237"/>
                      </a:lnTo>
                      <a:lnTo>
                        <a:pt x="1539" y="1237"/>
                      </a:lnTo>
                      <a:lnTo>
                        <a:pt x="1545" y="1238"/>
                      </a:lnTo>
                      <a:lnTo>
                        <a:pt x="1547" y="1239"/>
                      </a:lnTo>
                      <a:lnTo>
                        <a:pt x="1547" y="1239"/>
                      </a:lnTo>
                      <a:lnTo>
                        <a:pt x="1547" y="1241"/>
                      </a:lnTo>
                      <a:lnTo>
                        <a:pt x="1549" y="1241"/>
                      </a:lnTo>
                      <a:lnTo>
                        <a:pt x="1550" y="1243"/>
                      </a:lnTo>
                      <a:lnTo>
                        <a:pt x="1551" y="1243"/>
                      </a:lnTo>
                      <a:lnTo>
                        <a:pt x="1552" y="1243"/>
                      </a:lnTo>
                      <a:lnTo>
                        <a:pt x="1554" y="1243"/>
                      </a:lnTo>
                      <a:lnTo>
                        <a:pt x="1563" y="1241"/>
                      </a:lnTo>
                      <a:lnTo>
                        <a:pt x="1572" y="1238"/>
                      </a:lnTo>
                      <a:lnTo>
                        <a:pt x="1574" y="1236"/>
                      </a:lnTo>
                      <a:lnTo>
                        <a:pt x="1576" y="1235"/>
                      </a:lnTo>
                      <a:lnTo>
                        <a:pt x="1580" y="1234"/>
                      </a:lnTo>
                      <a:lnTo>
                        <a:pt x="1583" y="1234"/>
                      </a:lnTo>
                      <a:lnTo>
                        <a:pt x="1586" y="1233"/>
                      </a:lnTo>
                      <a:lnTo>
                        <a:pt x="1590" y="1229"/>
                      </a:lnTo>
                      <a:lnTo>
                        <a:pt x="1592" y="1228"/>
                      </a:lnTo>
                      <a:lnTo>
                        <a:pt x="1594" y="1228"/>
                      </a:lnTo>
                      <a:lnTo>
                        <a:pt x="1596" y="1228"/>
                      </a:lnTo>
                      <a:lnTo>
                        <a:pt x="1597" y="1228"/>
                      </a:lnTo>
                      <a:lnTo>
                        <a:pt x="1598" y="1229"/>
                      </a:lnTo>
                      <a:lnTo>
                        <a:pt x="1599" y="1230"/>
                      </a:lnTo>
                      <a:lnTo>
                        <a:pt x="1599" y="1232"/>
                      </a:lnTo>
                      <a:lnTo>
                        <a:pt x="1601" y="1233"/>
                      </a:lnTo>
                      <a:lnTo>
                        <a:pt x="1602" y="1234"/>
                      </a:lnTo>
                      <a:lnTo>
                        <a:pt x="1603" y="1234"/>
                      </a:lnTo>
                      <a:lnTo>
                        <a:pt x="1604" y="1235"/>
                      </a:lnTo>
                      <a:lnTo>
                        <a:pt x="1604" y="1236"/>
                      </a:lnTo>
                      <a:lnTo>
                        <a:pt x="1604" y="1237"/>
                      </a:lnTo>
                      <a:lnTo>
                        <a:pt x="1604" y="1238"/>
                      </a:lnTo>
                      <a:lnTo>
                        <a:pt x="1604" y="1239"/>
                      </a:lnTo>
                      <a:lnTo>
                        <a:pt x="1605" y="1239"/>
                      </a:lnTo>
                      <a:lnTo>
                        <a:pt x="1607" y="1240"/>
                      </a:lnTo>
                      <a:lnTo>
                        <a:pt x="1609" y="1241"/>
                      </a:lnTo>
                      <a:lnTo>
                        <a:pt x="1613" y="1243"/>
                      </a:lnTo>
                      <a:lnTo>
                        <a:pt x="1615" y="1244"/>
                      </a:lnTo>
                      <a:lnTo>
                        <a:pt x="1618" y="1245"/>
                      </a:lnTo>
                      <a:lnTo>
                        <a:pt x="1618" y="1243"/>
                      </a:lnTo>
                      <a:lnTo>
                        <a:pt x="1619" y="1241"/>
                      </a:lnTo>
                      <a:lnTo>
                        <a:pt x="1620" y="1241"/>
                      </a:lnTo>
                      <a:lnTo>
                        <a:pt x="1621" y="1241"/>
                      </a:lnTo>
                      <a:lnTo>
                        <a:pt x="1625" y="1243"/>
                      </a:lnTo>
                      <a:lnTo>
                        <a:pt x="1626" y="1244"/>
                      </a:lnTo>
                      <a:lnTo>
                        <a:pt x="1628" y="1245"/>
                      </a:lnTo>
                      <a:lnTo>
                        <a:pt x="1629" y="1246"/>
                      </a:lnTo>
                      <a:lnTo>
                        <a:pt x="1630" y="1246"/>
                      </a:lnTo>
                      <a:lnTo>
                        <a:pt x="1631" y="1247"/>
                      </a:lnTo>
                      <a:lnTo>
                        <a:pt x="1632" y="1249"/>
                      </a:lnTo>
                      <a:lnTo>
                        <a:pt x="1631" y="1250"/>
                      </a:lnTo>
                      <a:lnTo>
                        <a:pt x="1630" y="1252"/>
                      </a:lnTo>
                      <a:lnTo>
                        <a:pt x="1628" y="1254"/>
                      </a:lnTo>
                      <a:lnTo>
                        <a:pt x="1626" y="1255"/>
                      </a:lnTo>
                      <a:lnTo>
                        <a:pt x="1624" y="1255"/>
                      </a:lnTo>
                      <a:lnTo>
                        <a:pt x="1623" y="1256"/>
                      </a:lnTo>
                      <a:lnTo>
                        <a:pt x="1621" y="1257"/>
                      </a:lnTo>
                      <a:lnTo>
                        <a:pt x="1621" y="1258"/>
                      </a:lnTo>
                      <a:lnTo>
                        <a:pt x="1621" y="1258"/>
                      </a:lnTo>
                      <a:lnTo>
                        <a:pt x="1624" y="1258"/>
                      </a:lnTo>
                      <a:lnTo>
                        <a:pt x="1625" y="1258"/>
                      </a:lnTo>
                      <a:lnTo>
                        <a:pt x="1627" y="1257"/>
                      </a:lnTo>
                      <a:lnTo>
                        <a:pt x="1628" y="1257"/>
                      </a:lnTo>
                      <a:lnTo>
                        <a:pt x="1630" y="1256"/>
                      </a:lnTo>
                      <a:lnTo>
                        <a:pt x="1631" y="1256"/>
                      </a:lnTo>
                      <a:lnTo>
                        <a:pt x="1641" y="1255"/>
                      </a:lnTo>
                      <a:lnTo>
                        <a:pt x="1651" y="1257"/>
                      </a:lnTo>
                      <a:lnTo>
                        <a:pt x="1658" y="1262"/>
                      </a:lnTo>
                      <a:lnTo>
                        <a:pt x="1659" y="1265"/>
                      </a:lnTo>
                      <a:lnTo>
                        <a:pt x="1661" y="1266"/>
                      </a:lnTo>
                      <a:lnTo>
                        <a:pt x="1662" y="1268"/>
                      </a:lnTo>
                      <a:lnTo>
                        <a:pt x="1663" y="1270"/>
                      </a:lnTo>
                      <a:lnTo>
                        <a:pt x="1664" y="1271"/>
                      </a:lnTo>
                      <a:lnTo>
                        <a:pt x="1662" y="1278"/>
                      </a:lnTo>
                      <a:lnTo>
                        <a:pt x="1664" y="1276"/>
                      </a:lnTo>
                      <a:lnTo>
                        <a:pt x="1669" y="1276"/>
                      </a:lnTo>
                      <a:lnTo>
                        <a:pt x="1673" y="1277"/>
                      </a:lnTo>
                      <a:lnTo>
                        <a:pt x="1677" y="1279"/>
                      </a:lnTo>
                      <a:lnTo>
                        <a:pt x="1680" y="1280"/>
                      </a:lnTo>
                      <a:lnTo>
                        <a:pt x="1681" y="1281"/>
                      </a:lnTo>
                      <a:lnTo>
                        <a:pt x="1682" y="1281"/>
                      </a:lnTo>
                      <a:lnTo>
                        <a:pt x="1682" y="1283"/>
                      </a:lnTo>
                      <a:lnTo>
                        <a:pt x="1684" y="1284"/>
                      </a:lnTo>
                      <a:lnTo>
                        <a:pt x="1685" y="1285"/>
                      </a:lnTo>
                      <a:lnTo>
                        <a:pt x="1688" y="1285"/>
                      </a:lnTo>
                      <a:lnTo>
                        <a:pt x="1690" y="1285"/>
                      </a:lnTo>
                      <a:lnTo>
                        <a:pt x="1693" y="1285"/>
                      </a:lnTo>
                      <a:lnTo>
                        <a:pt x="1695" y="1285"/>
                      </a:lnTo>
                      <a:lnTo>
                        <a:pt x="1697" y="1284"/>
                      </a:lnTo>
                      <a:lnTo>
                        <a:pt x="1700" y="1284"/>
                      </a:lnTo>
                      <a:lnTo>
                        <a:pt x="1717" y="1280"/>
                      </a:lnTo>
                      <a:lnTo>
                        <a:pt x="1735" y="1280"/>
                      </a:lnTo>
                      <a:lnTo>
                        <a:pt x="1739" y="1281"/>
                      </a:lnTo>
                      <a:lnTo>
                        <a:pt x="1744" y="1282"/>
                      </a:lnTo>
                      <a:lnTo>
                        <a:pt x="1748" y="1284"/>
                      </a:lnTo>
                      <a:lnTo>
                        <a:pt x="1754" y="1287"/>
                      </a:lnTo>
                      <a:lnTo>
                        <a:pt x="1759" y="1289"/>
                      </a:lnTo>
                      <a:lnTo>
                        <a:pt x="1763" y="1291"/>
                      </a:lnTo>
                      <a:lnTo>
                        <a:pt x="1765" y="1293"/>
                      </a:lnTo>
                      <a:lnTo>
                        <a:pt x="1766" y="1295"/>
                      </a:lnTo>
                      <a:lnTo>
                        <a:pt x="1767" y="1296"/>
                      </a:lnTo>
                      <a:lnTo>
                        <a:pt x="1767" y="1299"/>
                      </a:lnTo>
                      <a:lnTo>
                        <a:pt x="1768" y="1302"/>
                      </a:lnTo>
                      <a:lnTo>
                        <a:pt x="1768" y="1306"/>
                      </a:lnTo>
                      <a:lnTo>
                        <a:pt x="1768" y="1311"/>
                      </a:lnTo>
                      <a:lnTo>
                        <a:pt x="1770" y="1315"/>
                      </a:lnTo>
                      <a:lnTo>
                        <a:pt x="1771" y="1316"/>
                      </a:lnTo>
                      <a:lnTo>
                        <a:pt x="1773" y="1318"/>
                      </a:lnTo>
                      <a:lnTo>
                        <a:pt x="1774" y="1320"/>
                      </a:lnTo>
                      <a:lnTo>
                        <a:pt x="1777" y="1321"/>
                      </a:lnTo>
                      <a:lnTo>
                        <a:pt x="1778" y="1323"/>
                      </a:lnTo>
                      <a:lnTo>
                        <a:pt x="1779" y="1324"/>
                      </a:lnTo>
                      <a:lnTo>
                        <a:pt x="1779" y="1327"/>
                      </a:lnTo>
                      <a:lnTo>
                        <a:pt x="1778" y="1329"/>
                      </a:lnTo>
                      <a:lnTo>
                        <a:pt x="1777" y="1333"/>
                      </a:lnTo>
                      <a:lnTo>
                        <a:pt x="1773" y="1336"/>
                      </a:lnTo>
                      <a:lnTo>
                        <a:pt x="1771" y="1338"/>
                      </a:lnTo>
                      <a:lnTo>
                        <a:pt x="1768" y="1340"/>
                      </a:lnTo>
                      <a:lnTo>
                        <a:pt x="1766" y="1344"/>
                      </a:lnTo>
                      <a:lnTo>
                        <a:pt x="1752" y="1350"/>
                      </a:lnTo>
                      <a:lnTo>
                        <a:pt x="1751" y="1352"/>
                      </a:lnTo>
                      <a:lnTo>
                        <a:pt x="1750" y="1354"/>
                      </a:lnTo>
                      <a:lnTo>
                        <a:pt x="1749" y="1356"/>
                      </a:lnTo>
                      <a:lnTo>
                        <a:pt x="1747" y="1359"/>
                      </a:lnTo>
                      <a:lnTo>
                        <a:pt x="1744" y="1361"/>
                      </a:lnTo>
                      <a:lnTo>
                        <a:pt x="1741" y="1364"/>
                      </a:lnTo>
                      <a:lnTo>
                        <a:pt x="1739" y="1366"/>
                      </a:lnTo>
                      <a:lnTo>
                        <a:pt x="1738" y="1368"/>
                      </a:lnTo>
                      <a:lnTo>
                        <a:pt x="1737" y="1368"/>
                      </a:lnTo>
                      <a:lnTo>
                        <a:pt x="1744" y="1366"/>
                      </a:lnTo>
                      <a:lnTo>
                        <a:pt x="1749" y="1363"/>
                      </a:lnTo>
                      <a:lnTo>
                        <a:pt x="1755" y="1359"/>
                      </a:lnTo>
                      <a:lnTo>
                        <a:pt x="1756" y="1359"/>
                      </a:lnTo>
                      <a:lnTo>
                        <a:pt x="1757" y="1359"/>
                      </a:lnTo>
                      <a:lnTo>
                        <a:pt x="1757" y="1361"/>
                      </a:lnTo>
                      <a:lnTo>
                        <a:pt x="1757" y="1363"/>
                      </a:lnTo>
                      <a:lnTo>
                        <a:pt x="1758" y="1365"/>
                      </a:lnTo>
                      <a:lnTo>
                        <a:pt x="1758" y="1367"/>
                      </a:lnTo>
                      <a:lnTo>
                        <a:pt x="1758" y="1368"/>
                      </a:lnTo>
                      <a:lnTo>
                        <a:pt x="1759" y="1368"/>
                      </a:lnTo>
                      <a:lnTo>
                        <a:pt x="1763" y="1368"/>
                      </a:lnTo>
                      <a:lnTo>
                        <a:pt x="1772" y="1366"/>
                      </a:lnTo>
                      <a:lnTo>
                        <a:pt x="1779" y="1364"/>
                      </a:lnTo>
                      <a:lnTo>
                        <a:pt x="1780" y="1364"/>
                      </a:lnTo>
                      <a:lnTo>
                        <a:pt x="1781" y="1363"/>
                      </a:lnTo>
                      <a:lnTo>
                        <a:pt x="1780" y="1363"/>
                      </a:lnTo>
                      <a:lnTo>
                        <a:pt x="1779" y="1361"/>
                      </a:lnTo>
                      <a:lnTo>
                        <a:pt x="1777" y="1361"/>
                      </a:lnTo>
                      <a:lnTo>
                        <a:pt x="1773" y="1363"/>
                      </a:lnTo>
                      <a:lnTo>
                        <a:pt x="1771" y="1364"/>
                      </a:lnTo>
                      <a:lnTo>
                        <a:pt x="1768" y="1365"/>
                      </a:lnTo>
                      <a:lnTo>
                        <a:pt x="1766" y="1366"/>
                      </a:lnTo>
                      <a:lnTo>
                        <a:pt x="1763" y="1366"/>
                      </a:lnTo>
                      <a:lnTo>
                        <a:pt x="1762" y="1365"/>
                      </a:lnTo>
                      <a:lnTo>
                        <a:pt x="1761" y="1364"/>
                      </a:lnTo>
                      <a:lnTo>
                        <a:pt x="1760" y="1361"/>
                      </a:lnTo>
                      <a:lnTo>
                        <a:pt x="1760" y="1359"/>
                      </a:lnTo>
                      <a:lnTo>
                        <a:pt x="1761" y="1356"/>
                      </a:lnTo>
                      <a:lnTo>
                        <a:pt x="1762" y="1354"/>
                      </a:lnTo>
                      <a:lnTo>
                        <a:pt x="1763" y="1350"/>
                      </a:lnTo>
                      <a:lnTo>
                        <a:pt x="1769" y="1346"/>
                      </a:lnTo>
                      <a:lnTo>
                        <a:pt x="1776" y="1345"/>
                      </a:lnTo>
                      <a:lnTo>
                        <a:pt x="1781" y="1346"/>
                      </a:lnTo>
                      <a:lnTo>
                        <a:pt x="1783" y="1346"/>
                      </a:lnTo>
                      <a:lnTo>
                        <a:pt x="1785" y="1345"/>
                      </a:lnTo>
                      <a:lnTo>
                        <a:pt x="1789" y="1345"/>
                      </a:lnTo>
                      <a:lnTo>
                        <a:pt x="1791" y="1344"/>
                      </a:lnTo>
                      <a:lnTo>
                        <a:pt x="1794" y="1344"/>
                      </a:lnTo>
                      <a:lnTo>
                        <a:pt x="1795" y="1344"/>
                      </a:lnTo>
                      <a:lnTo>
                        <a:pt x="1796" y="1344"/>
                      </a:lnTo>
                      <a:lnTo>
                        <a:pt x="1796" y="1345"/>
                      </a:lnTo>
                      <a:lnTo>
                        <a:pt x="1796" y="1347"/>
                      </a:lnTo>
                      <a:lnTo>
                        <a:pt x="1794" y="1348"/>
                      </a:lnTo>
                      <a:lnTo>
                        <a:pt x="1793" y="1350"/>
                      </a:lnTo>
                      <a:lnTo>
                        <a:pt x="1791" y="1352"/>
                      </a:lnTo>
                      <a:lnTo>
                        <a:pt x="1790" y="1353"/>
                      </a:lnTo>
                      <a:lnTo>
                        <a:pt x="1790" y="1354"/>
                      </a:lnTo>
                      <a:lnTo>
                        <a:pt x="1789" y="1355"/>
                      </a:lnTo>
                      <a:lnTo>
                        <a:pt x="1788" y="1356"/>
                      </a:lnTo>
                      <a:lnTo>
                        <a:pt x="1788" y="1358"/>
                      </a:lnTo>
                      <a:lnTo>
                        <a:pt x="1787" y="1359"/>
                      </a:lnTo>
                      <a:lnTo>
                        <a:pt x="1787" y="1359"/>
                      </a:lnTo>
                      <a:lnTo>
                        <a:pt x="1788" y="1359"/>
                      </a:lnTo>
                      <a:lnTo>
                        <a:pt x="1793" y="1356"/>
                      </a:lnTo>
                      <a:lnTo>
                        <a:pt x="1798" y="1350"/>
                      </a:lnTo>
                      <a:lnTo>
                        <a:pt x="1803" y="1347"/>
                      </a:lnTo>
                      <a:lnTo>
                        <a:pt x="1812" y="1344"/>
                      </a:lnTo>
                      <a:lnTo>
                        <a:pt x="1814" y="1345"/>
                      </a:lnTo>
                      <a:lnTo>
                        <a:pt x="1816" y="1346"/>
                      </a:lnTo>
                      <a:lnTo>
                        <a:pt x="1819" y="1346"/>
                      </a:lnTo>
                      <a:lnTo>
                        <a:pt x="1827" y="1346"/>
                      </a:lnTo>
                      <a:lnTo>
                        <a:pt x="1828" y="1345"/>
                      </a:lnTo>
                      <a:lnTo>
                        <a:pt x="1831" y="1345"/>
                      </a:lnTo>
                      <a:lnTo>
                        <a:pt x="1831" y="1346"/>
                      </a:lnTo>
                      <a:lnTo>
                        <a:pt x="1832" y="1346"/>
                      </a:lnTo>
                      <a:lnTo>
                        <a:pt x="1833" y="1347"/>
                      </a:lnTo>
                      <a:lnTo>
                        <a:pt x="1835" y="1347"/>
                      </a:lnTo>
                      <a:lnTo>
                        <a:pt x="1836" y="1347"/>
                      </a:lnTo>
                      <a:lnTo>
                        <a:pt x="1838" y="1348"/>
                      </a:lnTo>
                      <a:lnTo>
                        <a:pt x="1842" y="1349"/>
                      </a:lnTo>
                      <a:lnTo>
                        <a:pt x="1845" y="1350"/>
                      </a:lnTo>
                      <a:lnTo>
                        <a:pt x="1847" y="1353"/>
                      </a:lnTo>
                      <a:lnTo>
                        <a:pt x="1849" y="1355"/>
                      </a:lnTo>
                      <a:lnTo>
                        <a:pt x="1848" y="1357"/>
                      </a:lnTo>
                      <a:lnTo>
                        <a:pt x="1847" y="1359"/>
                      </a:lnTo>
                      <a:lnTo>
                        <a:pt x="1845" y="1361"/>
                      </a:lnTo>
                      <a:lnTo>
                        <a:pt x="1844" y="1361"/>
                      </a:lnTo>
                      <a:lnTo>
                        <a:pt x="1844" y="1363"/>
                      </a:lnTo>
                      <a:lnTo>
                        <a:pt x="1844" y="1363"/>
                      </a:lnTo>
                      <a:lnTo>
                        <a:pt x="1845" y="1364"/>
                      </a:lnTo>
                      <a:lnTo>
                        <a:pt x="1845" y="1364"/>
                      </a:lnTo>
                      <a:lnTo>
                        <a:pt x="1848" y="1364"/>
                      </a:lnTo>
                      <a:lnTo>
                        <a:pt x="1850" y="1361"/>
                      </a:lnTo>
                      <a:lnTo>
                        <a:pt x="1854" y="1359"/>
                      </a:lnTo>
                      <a:lnTo>
                        <a:pt x="1856" y="1357"/>
                      </a:lnTo>
                      <a:lnTo>
                        <a:pt x="1859" y="1356"/>
                      </a:lnTo>
                      <a:lnTo>
                        <a:pt x="1863" y="1355"/>
                      </a:lnTo>
                      <a:lnTo>
                        <a:pt x="1866" y="1355"/>
                      </a:lnTo>
                      <a:lnTo>
                        <a:pt x="1868" y="1356"/>
                      </a:lnTo>
                      <a:lnTo>
                        <a:pt x="1871" y="1356"/>
                      </a:lnTo>
                      <a:lnTo>
                        <a:pt x="1874" y="1357"/>
                      </a:lnTo>
                      <a:lnTo>
                        <a:pt x="1876" y="1357"/>
                      </a:lnTo>
                      <a:lnTo>
                        <a:pt x="1878" y="1357"/>
                      </a:lnTo>
                      <a:lnTo>
                        <a:pt x="1880" y="1356"/>
                      </a:lnTo>
                      <a:lnTo>
                        <a:pt x="1882" y="1355"/>
                      </a:lnTo>
                      <a:lnTo>
                        <a:pt x="1883" y="1356"/>
                      </a:lnTo>
                      <a:lnTo>
                        <a:pt x="1886" y="1357"/>
                      </a:lnTo>
                      <a:lnTo>
                        <a:pt x="1888" y="1356"/>
                      </a:lnTo>
                      <a:lnTo>
                        <a:pt x="1891" y="1355"/>
                      </a:lnTo>
                      <a:lnTo>
                        <a:pt x="1893" y="1355"/>
                      </a:lnTo>
                      <a:lnTo>
                        <a:pt x="1896" y="1354"/>
                      </a:lnTo>
                      <a:lnTo>
                        <a:pt x="1899" y="1353"/>
                      </a:lnTo>
                      <a:lnTo>
                        <a:pt x="1902" y="1350"/>
                      </a:lnTo>
                      <a:lnTo>
                        <a:pt x="1909" y="1350"/>
                      </a:lnTo>
                      <a:lnTo>
                        <a:pt x="1912" y="1352"/>
                      </a:lnTo>
                      <a:lnTo>
                        <a:pt x="1915" y="1353"/>
                      </a:lnTo>
                      <a:lnTo>
                        <a:pt x="1918" y="1354"/>
                      </a:lnTo>
                      <a:lnTo>
                        <a:pt x="1920" y="1356"/>
                      </a:lnTo>
                      <a:lnTo>
                        <a:pt x="1922" y="1357"/>
                      </a:lnTo>
                      <a:lnTo>
                        <a:pt x="1925" y="1358"/>
                      </a:lnTo>
                      <a:lnTo>
                        <a:pt x="1930" y="1359"/>
                      </a:lnTo>
                      <a:lnTo>
                        <a:pt x="1933" y="1360"/>
                      </a:lnTo>
                      <a:lnTo>
                        <a:pt x="1935" y="1361"/>
                      </a:lnTo>
                      <a:lnTo>
                        <a:pt x="1937" y="1364"/>
                      </a:lnTo>
                      <a:lnTo>
                        <a:pt x="1942" y="1365"/>
                      </a:lnTo>
                      <a:lnTo>
                        <a:pt x="1946" y="1365"/>
                      </a:lnTo>
                      <a:lnTo>
                        <a:pt x="1952" y="1364"/>
                      </a:lnTo>
                      <a:lnTo>
                        <a:pt x="1956" y="1363"/>
                      </a:lnTo>
                      <a:lnTo>
                        <a:pt x="1961" y="1363"/>
                      </a:lnTo>
                      <a:lnTo>
                        <a:pt x="1962" y="1366"/>
                      </a:lnTo>
                      <a:lnTo>
                        <a:pt x="1962" y="1375"/>
                      </a:lnTo>
                      <a:lnTo>
                        <a:pt x="1962" y="1382"/>
                      </a:lnTo>
                      <a:lnTo>
                        <a:pt x="1958" y="1391"/>
                      </a:lnTo>
                      <a:lnTo>
                        <a:pt x="1953" y="1399"/>
                      </a:lnTo>
                      <a:lnTo>
                        <a:pt x="1933" y="1419"/>
                      </a:lnTo>
                      <a:lnTo>
                        <a:pt x="1930" y="1421"/>
                      </a:lnTo>
                      <a:lnTo>
                        <a:pt x="1926" y="1424"/>
                      </a:lnTo>
                      <a:lnTo>
                        <a:pt x="1922" y="1427"/>
                      </a:lnTo>
                      <a:lnTo>
                        <a:pt x="1920" y="1431"/>
                      </a:lnTo>
                      <a:lnTo>
                        <a:pt x="1918" y="1434"/>
                      </a:lnTo>
                      <a:lnTo>
                        <a:pt x="1915" y="1437"/>
                      </a:lnTo>
                      <a:lnTo>
                        <a:pt x="1911" y="1442"/>
                      </a:lnTo>
                      <a:lnTo>
                        <a:pt x="1907" y="1447"/>
                      </a:lnTo>
                      <a:lnTo>
                        <a:pt x="1902" y="1452"/>
                      </a:lnTo>
                      <a:lnTo>
                        <a:pt x="1898" y="1454"/>
                      </a:lnTo>
                      <a:lnTo>
                        <a:pt x="1894" y="1454"/>
                      </a:lnTo>
                      <a:lnTo>
                        <a:pt x="1891" y="1455"/>
                      </a:lnTo>
                      <a:lnTo>
                        <a:pt x="1889" y="1457"/>
                      </a:lnTo>
                      <a:lnTo>
                        <a:pt x="1887" y="1460"/>
                      </a:lnTo>
                      <a:lnTo>
                        <a:pt x="1885" y="1464"/>
                      </a:lnTo>
                      <a:lnTo>
                        <a:pt x="1883" y="1466"/>
                      </a:lnTo>
                      <a:lnTo>
                        <a:pt x="1882" y="1469"/>
                      </a:lnTo>
                      <a:lnTo>
                        <a:pt x="1882" y="1472"/>
                      </a:lnTo>
                      <a:lnTo>
                        <a:pt x="1882" y="1474"/>
                      </a:lnTo>
                      <a:lnTo>
                        <a:pt x="1882" y="1477"/>
                      </a:lnTo>
                      <a:lnTo>
                        <a:pt x="1883" y="1479"/>
                      </a:lnTo>
                      <a:lnTo>
                        <a:pt x="1883" y="1483"/>
                      </a:lnTo>
                      <a:lnTo>
                        <a:pt x="1882" y="1487"/>
                      </a:lnTo>
                      <a:lnTo>
                        <a:pt x="1880" y="1491"/>
                      </a:lnTo>
                      <a:lnTo>
                        <a:pt x="1877" y="1498"/>
                      </a:lnTo>
                      <a:lnTo>
                        <a:pt x="1874" y="1505"/>
                      </a:lnTo>
                      <a:lnTo>
                        <a:pt x="1870" y="1507"/>
                      </a:lnTo>
                      <a:lnTo>
                        <a:pt x="1868" y="1509"/>
                      </a:lnTo>
                      <a:lnTo>
                        <a:pt x="1866" y="1511"/>
                      </a:lnTo>
                      <a:lnTo>
                        <a:pt x="1865" y="1513"/>
                      </a:lnTo>
                      <a:lnTo>
                        <a:pt x="1865" y="1516"/>
                      </a:lnTo>
                      <a:lnTo>
                        <a:pt x="1865" y="1518"/>
                      </a:lnTo>
                      <a:lnTo>
                        <a:pt x="1864" y="1521"/>
                      </a:lnTo>
                      <a:lnTo>
                        <a:pt x="1860" y="1523"/>
                      </a:lnTo>
                      <a:lnTo>
                        <a:pt x="1857" y="1527"/>
                      </a:lnTo>
                      <a:lnTo>
                        <a:pt x="1854" y="1531"/>
                      </a:lnTo>
                      <a:lnTo>
                        <a:pt x="1847" y="1538"/>
                      </a:lnTo>
                      <a:lnTo>
                        <a:pt x="1845" y="1539"/>
                      </a:lnTo>
                      <a:lnTo>
                        <a:pt x="1844" y="1540"/>
                      </a:lnTo>
                      <a:lnTo>
                        <a:pt x="1844" y="1542"/>
                      </a:lnTo>
                      <a:lnTo>
                        <a:pt x="1844" y="1543"/>
                      </a:lnTo>
                      <a:lnTo>
                        <a:pt x="1843" y="1546"/>
                      </a:lnTo>
                      <a:lnTo>
                        <a:pt x="1841" y="1547"/>
                      </a:lnTo>
                      <a:lnTo>
                        <a:pt x="1838" y="1549"/>
                      </a:lnTo>
                      <a:lnTo>
                        <a:pt x="1835" y="1549"/>
                      </a:lnTo>
                      <a:lnTo>
                        <a:pt x="1832" y="1551"/>
                      </a:lnTo>
                      <a:lnTo>
                        <a:pt x="1830" y="1553"/>
                      </a:lnTo>
                      <a:lnTo>
                        <a:pt x="1827" y="1555"/>
                      </a:lnTo>
                      <a:lnTo>
                        <a:pt x="1826" y="1556"/>
                      </a:lnTo>
                      <a:lnTo>
                        <a:pt x="1824" y="1557"/>
                      </a:lnTo>
                      <a:lnTo>
                        <a:pt x="1821" y="1560"/>
                      </a:lnTo>
                      <a:lnTo>
                        <a:pt x="1819" y="1560"/>
                      </a:lnTo>
                      <a:lnTo>
                        <a:pt x="1817" y="1560"/>
                      </a:lnTo>
                      <a:lnTo>
                        <a:pt x="1815" y="1561"/>
                      </a:lnTo>
                      <a:lnTo>
                        <a:pt x="1814" y="1561"/>
                      </a:lnTo>
                      <a:lnTo>
                        <a:pt x="1814" y="1562"/>
                      </a:lnTo>
                      <a:lnTo>
                        <a:pt x="1814" y="1560"/>
                      </a:lnTo>
                      <a:lnTo>
                        <a:pt x="1814" y="1560"/>
                      </a:lnTo>
                      <a:lnTo>
                        <a:pt x="1815" y="1558"/>
                      </a:lnTo>
                      <a:lnTo>
                        <a:pt x="1815" y="1558"/>
                      </a:lnTo>
                      <a:lnTo>
                        <a:pt x="1814" y="1560"/>
                      </a:lnTo>
                      <a:lnTo>
                        <a:pt x="1813" y="1561"/>
                      </a:lnTo>
                      <a:lnTo>
                        <a:pt x="1812" y="1561"/>
                      </a:lnTo>
                      <a:lnTo>
                        <a:pt x="1811" y="1562"/>
                      </a:lnTo>
                      <a:lnTo>
                        <a:pt x="1810" y="1562"/>
                      </a:lnTo>
                      <a:lnTo>
                        <a:pt x="1806" y="1562"/>
                      </a:lnTo>
                      <a:lnTo>
                        <a:pt x="1804" y="1563"/>
                      </a:lnTo>
                      <a:lnTo>
                        <a:pt x="1802" y="1563"/>
                      </a:lnTo>
                      <a:lnTo>
                        <a:pt x="1801" y="1564"/>
                      </a:lnTo>
                      <a:lnTo>
                        <a:pt x="1801" y="1563"/>
                      </a:lnTo>
                      <a:lnTo>
                        <a:pt x="1801" y="1563"/>
                      </a:lnTo>
                      <a:lnTo>
                        <a:pt x="1802" y="1562"/>
                      </a:lnTo>
                      <a:lnTo>
                        <a:pt x="1802" y="1562"/>
                      </a:lnTo>
                      <a:lnTo>
                        <a:pt x="1801" y="1562"/>
                      </a:lnTo>
                      <a:lnTo>
                        <a:pt x="1799" y="1562"/>
                      </a:lnTo>
                      <a:lnTo>
                        <a:pt x="1798" y="1563"/>
                      </a:lnTo>
                      <a:lnTo>
                        <a:pt x="1796" y="1563"/>
                      </a:lnTo>
                      <a:lnTo>
                        <a:pt x="1796" y="1564"/>
                      </a:lnTo>
                      <a:lnTo>
                        <a:pt x="1792" y="1566"/>
                      </a:lnTo>
                      <a:lnTo>
                        <a:pt x="1790" y="1568"/>
                      </a:lnTo>
                      <a:lnTo>
                        <a:pt x="1788" y="1571"/>
                      </a:lnTo>
                      <a:lnTo>
                        <a:pt x="1787" y="1571"/>
                      </a:lnTo>
                      <a:lnTo>
                        <a:pt x="1785" y="1572"/>
                      </a:lnTo>
                      <a:lnTo>
                        <a:pt x="1784" y="1573"/>
                      </a:lnTo>
                      <a:lnTo>
                        <a:pt x="1784" y="1574"/>
                      </a:lnTo>
                      <a:lnTo>
                        <a:pt x="1783" y="1575"/>
                      </a:lnTo>
                      <a:lnTo>
                        <a:pt x="1780" y="1575"/>
                      </a:lnTo>
                      <a:lnTo>
                        <a:pt x="1778" y="1575"/>
                      </a:lnTo>
                      <a:lnTo>
                        <a:pt x="1774" y="1575"/>
                      </a:lnTo>
                      <a:lnTo>
                        <a:pt x="1772" y="1577"/>
                      </a:lnTo>
                      <a:lnTo>
                        <a:pt x="1759" y="1584"/>
                      </a:lnTo>
                      <a:lnTo>
                        <a:pt x="1750" y="1590"/>
                      </a:lnTo>
                      <a:lnTo>
                        <a:pt x="1746" y="1593"/>
                      </a:lnTo>
                      <a:lnTo>
                        <a:pt x="1744" y="1595"/>
                      </a:lnTo>
                      <a:lnTo>
                        <a:pt x="1744" y="1597"/>
                      </a:lnTo>
                      <a:lnTo>
                        <a:pt x="1743" y="1599"/>
                      </a:lnTo>
                      <a:lnTo>
                        <a:pt x="1741" y="1601"/>
                      </a:lnTo>
                      <a:lnTo>
                        <a:pt x="1740" y="1604"/>
                      </a:lnTo>
                      <a:lnTo>
                        <a:pt x="1739" y="1606"/>
                      </a:lnTo>
                      <a:lnTo>
                        <a:pt x="1739" y="1608"/>
                      </a:lnTo>
                      <a:lnTo>
                        <a:pt x="1739" y="1610"/>
                      </a:lnTo>
                      <a:lnTo>
                        <a:pt x="1739" y="1612"/>
                      </a:lnTo>
                      <a:lnTo>
                        <a:pt x="1738" y="1616"/>
                      </a:lnTo>
                      <a:lnTo>
                        <a:pt x="1737" y="1618"/>
                      </a:lnTo>
                      <a:lnTo>
                        <a:pt x="1734" y="1620"/>
                      </a:lnTo>
                      <a:lnTo>
                        <a:pt x="1730" y="1622"/>
                      </a:lnTo>
                      <a:lnTo>
                        <a:pt x="1728" y="1623"/>
                      </a:lnTo>
                      <a:lnTo>
                        <a:pt x="1726" y="1626"/>
                      </a:lnTo>
                      <a:lnTo>
                        <a:pt x="1724" y="1627"/>
                      </a:lnTo>
                      <a:lnTo>
                        <a:pt x="1722" y="1629"/>
                      </a:lnTo>
                      <a:lnTo>
                        <a:pt x="1719" y="1630"/>
                      </a:lnTo>
                      <a:lnTo>
                        <a:pt x="1717" y="1632"/>
                      </a:lnTo>
                      <a:lnTo>
                        <a:pt x="1717" y="1633"/>
                      </a:lnTo>
                      <a:lnTo>
                        <a:pt x="1716" y="1636"/>
                      </a:lnTo>
                      <a:lnTo>
                        <a:pt x="1716" y="1637"/>
                      </a:lnTo>
                      <a:lnTo>
                        <a:pt x="1715" y="1638"/>
                      </a:lnTo>
                      <a:lnTo>
                        <a:pt x="1714" y="1638"/>
                      </a:lnTo>
                      <a:lnTo>
                        <a:pt x="1713" y="1638"/>
                      </a:lnTo>
                      <a:lnTo>
                        <a:pt x="1712" y="1639"/>
                      </a:lnTo>
                      <a:lnTo>
                        <a:pt x="1712" y="1639"/>
                      </a:lnTo>
                      <a:lnTo>
                        <a:pt x="1712" y="1639"/>
                      </a:lnTo>
                      <a:lnTo>
                        <a:pt x="1712" y="1638"/>
                      </a:lnTo>
                      <a:lnTo>
                        <a:pt x="1713" y="1636"/>
                      </a:lnTo>
                      <a:lnTo>
                        <a:pt x="1710" y="1637"/>
                      </a:lnTo>
                      <a:lnTo>
                        <a:pt x="1707" y="1638"/>
                      </a:lnTo>
                      <a:lnTo>
                        <a:pt x="1705" y="1639"/>
                      </a:lnTo>
                      <a:lnTo>
                        <a:pt x="1704" y="1640"/>
                      </a:lnTo>
                      <a:lnTo>
                        <a:pt x="1701" y="1642"/>
                      </a:lnTo>
                      <a:lnTo>
                        <a:pt x="1697" y="1644"/>
                      </a:lnTo>
                      <a:lnTo>
                        <a:pt x="1695" y="1647"/>
                      </a:lnTo>
                      <a:lnTo>
                        <a:pt x="1694" y="1649"/>
                      </a:lnTo>
                      <a:lnTo>
                        <a:pt x="1694" y="1650"/>
                      </a:lnTo>
                      <a:lnTo>
                        <a:pt x="1693" y="1651"/>
                      </a:lnTo>
                      <a:lnTo>
                        <a:pt x="1692" y="1652"/>
                      </a:lnTo>
                      <a:lnTo>
                        <a:pt x="1691" y="1653"/>
                      </a:lnTo>
                      <a:lnTo>
                        <a:pt x="1690" y="1655"/>
                      </a:lnTo>
                      <a:lnTo>
                        <a:pt x="1689" y="1658"/>
                      </a:lnTo>
                      <a:lnTo>
                        <a:pt x="1688" y="1661"/>
                      </a:lnTo>
                      <a:lnTo>
                        <a:pt x="1686" y="1662"/>
                      </a:lnTo>
                      <a:lnTo>
                        <a:pt x="1684" y="1664"/>
                      </a:lnTo>
                      <a:lnTo>
                        <a:pt x="1682" y="1665"/>
                      </a:lnTo>
                      <a:lnTo>
                        <a:pt x="1680" y="1666"/>
                      </a:lnTo>
                      <a:lnTo>
                        <a:pt x="1678" y="1666"/>
                      </a:lnTo>
                      <a:lnTo>
                        <a:pt x="1674" y="1669"/>
                      </a:lnTo>
                      <a:lnTo>
                        <a:pt x="1673" y="1670"/>
                      </a:lnTo>
                      <a:lnTo>
                        <a:pt x="1672" y="1672"/>
                      </a:lnTo>
                      <a:lnTo>
                        <a:pt x="1671" y="1673"/>
                      </a:lnTo>
                      <a:lnTo>
                        <a:pt x="1656" y="1678"/>
                      </a:lnTo>
                      <a:lnTo>
                        <a:pt x="1640" y="1680"/>
                      </a:lnTo>
                      <a:lnTo>
                        <a:pt x="1638" y="1680"/>
                      </a:lnTo>
                      <a:lnTo>
                        <a:pt x="1636" y="1680"/>
                      </a:lnTo>
                      <a:lnTo>
                        <a:pt x="1635" y="1678"/>
                      </a:lnTo>
                      <a:lnTo>
                        <a:pt x="1634" y="1678"/>
                      </a:lnTo>
                      <a:lnTo>
                        <a:pt x="1631" y="1677"/>
                      </a:lnTo>
                      <a:lnTo>
                        <a:pt x="1620" y="1677"/>
                      </a:lnTo>
                      <a:lnTo>
                        <a:pt x="1618" y="1677"/>
                      </a:lnTo>
                      <a:lnTo>
                        <a:pt x="1617" y="1677"/>
                      </a:lnTo>
                      <a:lnTo>
                        <a:pt x="1617" y="1680"/>
                      </a:lnTo>
                      <a:lnTo>
                        <a:pt x="1617" y="1681"/>
                      </a:lnTo>
                      <a:lnTo>
                        <a:pt x="1618" y="1682"/>
                      </a:lnTo>
                      <a:lnTo>
                        <a:pt x="1620" y="1682"/>
                      </a:lnTo>
                      <a:lnTo>
                        <a:pt x="1623" y="1683"/>
                      </a:lnTo>
                      <a:lnTo>
                        <a:pt x="1625" y="1683"/>
                      </a:lnTo>
                      <a:lnTo>
                        <a:pt x="1627" y="1684"/>
                      </a:lnTo>
                      <a:lnTo>
                        <a:pt x="1630" y="1684"/>
                      </a:lnTo>
                      <a:lnTo>
                        <a:pt x="1631" y="1685"/>
                      </a:lnTo>
                      <a:lnTo>
                        <a:pt x="1634" y="1686"/>
                      </a:lnTo>
                      <a:lnTo>
                        <a:pt x="1632" y="1687"/>
                      </a:lnTo>
                      <a:lnTo>
                        <a:pt x="1632" y="1688"/>
                      </a:lnTo>
                      <a:lnTo>
                        <a:pt x="1632" y="1689"/>
                      </a:lnTo>
                      <a:lnTo>
                        <a:pt x="1634" y="1691"/>
                      </a:lnTo>
                      <a:lnTo>
                        <a:pt x="1635" y="1691"/>
                      </a:lnTo>
                      <a:lnTo>
                        <a:pt x="1637" y="1691"/>
                      </a:lnTo>
                      <a:lnTo>
                        <a:pt x="1638" y="1692"/>
                      </a:lnTo>
                      <a:lnTo>
                        <a:pt x="1639" y="1692"/>
                      </a:lnTo>
                      <a:lnTo>
                        <a:pt x="1640" y="1693"/>
                      </a:lnTo>
                      <a:lnTo>
                        <a:pt x="1639" y="1696"/>
                      </a:lnTo>
                      <a:lnTo>
                        <a:pt x="1637" y="1698"/>
                      </a:lnTo>
                      <a:lnTo>
                        <a:pt x="1635" y="1700"/>
                      </a:lnTo>
                      <a:lnTo>
                        <a:pt x="1631" y="1703"/>
                      </a:lnTo>
                      <a:lnTo>
                        <a:pt x="1629" y="1704"/>
                      </a:lnTo>
                      <a:lnTo>
                        <a:pt x="1623" y="1708"/>
                      </a:lnTo>
                      <a:lnTo>
                        <a:pt x="1615" y="1710"/>
                      </a:lnTo>
                      <a:lnTo>
                        <a:pt x="1607" y="1713"/>
                      </a:lnTo>
                      <a:lnTo>
                        <a:pt x="1603" y="1714"/>
                      </a:lnTo>
                      <a:lnTo>
                        <a:pt x="1598" y="1715"/>
                      </a:lnTo>
                      <a:lnTo>
                        <a:pt x="1594" y="1715"/>
                      </a:lnTo>
                      <a:lnTo>
                        <a:pt x="1583" y="1715"/>
                      </a:lnTo>
                      <a:lnTo>
                        <a:pt x="1581" y="1716"/>
                      </a:lnTo>
                      <a:lnTo>
                        <a:pt x="1580" y="1718"/>
                      </a:lnTo>
                      <a:lnTo>
                        <a:pt x="1580" y="1719"/>
                      </a:lnTo>
                      <a:lnTo>
                        <a:pt x="1580" y="1720"/>
                      </a:lnTo>
                      <a:lnTo>
                        <a:pt x="1581" y="1721"/>
                      </a:lnTo>
                      <a:lnTo>
                        <a:pt x="1581" y="1723"/>
                      </a:lnTo>
                      <a:lnTo>
                        <a:pt x="1580" y="1723"/>
                      </a:lnTo>
                      <a:lnTo>
                        <a:pt x="1580" y="1724"/>
                      </a:lnTo>
                      <a:lnTo>
                        <a:pt x="1579" y="1724"/>
                      </a:lnTo>
                      <a:lnTo>
                        <a:pt x="1576" y="1725"/>
                      </a:lnTo>
                      <a:lnTo>
                        <a:pt x="1576" y="1726"/>
                      </a:lnTo>
                      <a:lnTo>
                        <a:pt x="1576" y="1726"/>
                      </a:lnTo>
                      <a:lnTo>
                        <a:pt x="1576" y="1726"/>
                      </a:lnTo>
                      <a:lnTo>
                        <a:pt x="1577" y="1728"/>
                      </a:lnTo>
                      <a:lnTo>
                        <a:pt x="1577" y="1729"/>
                      </a:lnTo>
                      <a:lnTo>
                        <a:pt x="1576" y="1730"/>
                      </a:lnTo>
                      <a:lnTo>
                        <a:pt x="1574" y="1731"/>
                      </a:lnTo>
                      <a:lnTo>
                        <a:pt x="1572" y="1731"/>
                      </a:lnTo>
                      <a:lnTo>
                        <a:pt x="1569" y="1732"/>
                      </a:lnTo>
                      <a:lnTo>
                        <a:pt x="1565" y="1732"/>
                      </a:lnTo>
                      <a:lnTo>
                        <a:pt x="1563" y="1732"/>
                      </a:lnTo>
                      <a:lnTo>
                        <a:pt x="1561" y="1732"/>
                      </a:lnTo>
                      <a:lnTo>
                        <a:pt x="1559" y="1732"/>
                      </a:lnTo>
                      <a:lnTo>
                        <a:pt x="1555" y="1731"/>
                      </a:lnTo>
                      <a:lnTo>
                        <a:pt x="1554" y="1730"/>
                      </a:lnTo>
                      <a:lnTo>
                        <a:pt x="1551" y="1730"/>
                      </a:lnTo>
                      <a:lnTo>
                        <a:pt x="1550" y="1731"/>
                      </a:lnTo>
                      <a:lnTo>
                        <a:pt x="1549" y="1732"/>
                      </a:lnTo>
                      <a:lnTo>
                        <a:pt x="1549" y="1734"/>
                      </a:lnTo>
                      <a:lnTo>
                        <a:pt x="1549" y="1734"/>
                      </a:lnTo>
                      <a:lnTo>
                        <a:pt x="1550" y="1735"/>
                      </a:lnTo>
                      <a:lnTo>
                        <a:pt x="1550" y="1735"/>
                      </a:lnTo>
                      <a:lnTo>
                        <a:pt x="1551" y="1737"/>
                      </a:lnTo>
                      <a:lnTo>
                        <a:pt x="1552" y="1738"/>
                      </a:lnTo>
                      <a:lnTo>
                        <a:pt x="1552" y="1739"/>
                      </a:lnTo>
                      <a:lnTo>
                        <a:pt x="1554" y="1739"/>
                      </a:lnTo>
                      <a:lnTo>
                        <a:pt x="1555" y="1740"/>
                      </a:lnTo>
                      <a:lnTo>
                        <a:pt x="1557" y="1741"/>
                      </a:lnTo>
                      <a:lnTo>
                        <a:pt x="1557" y="1741"/>
                      </a:lnTo>
                      <a:lnTo>
                        <a:pt x="1557" y="1742"/>
                      </a:lnTo>
                      <a:lnTo>
                        <a:pt x="1557" y="1743"/>
                      </a:lnTo>
                      <a:lnTo>
                        <a:pt x="1555" y="1745"/>
                      </a:lnTo>
                      <a:lnTo>
                        <a:pt x="1555" y="1745"/>
                      </a:lnTo>
                      <a:lnTo>
                        <a:pt x="1557" y="1745"/>
                      </a:lnTo>
                      <a:lnTo>
                        <a:pt x="1558" y="1745"/>
                      </a:lnTo>
                      <a:lnTo>
                        <a:pt x="1559" y="1745"/>
                      </a:lnTo>
                      <a:lnTo>
                        <a:pt x="1559" y="1746"/>
                      </a:lnTo>
                      <a:lnTo>
                        <a:pt x="1559" y="1746"/>
                      </a:lnTo>
                      <a:lnTo>
                        <a:pt x="1558" y="1747"/>
                      </a:lnTo>
                      <a:lnTo>
                        <a:pt x="1557" y="1748"/>
                      </a:lnTo>
                      <a:lnTo>
                        <a:pt x="1555" y="1749"/>
                      </a:lnTo>
                      <a:lnTo>
                        <a:pt x="1554" y="1749"/>
                      </a:lnTo>
                      <a:lnTo>
                        <a:pt x="1554" y="1750"/>
                      </a:lnTo>
                      <a:lnTo>
                        <a:pt x="1554" y="1752"/>
                      </a:lnTo>
                      <a:lnTo>
                        <a:pt x="1554" y="1753"/>
                      </a:lnTo>
                      <a:lnTo>
                        <a:pt x="1554" y="1756"/>
                      </a:lnTo>
                      <a:lnTo>
                        <a:pt x="1553" y="1758"/>
                      </a:lnTo>
                      <a:lnTo>
                        <a:pt x="1552" y="1759"/>
                      </a:lnTo>
                      <a:lnTo>
                        <a:pt x="1549" y="1759"/>
                      </a:lnTo>
                      <a:lnTo>
                        <a:pt x="1547" y="1759"/>
                      </a:lnTo>
                      <a:lnTo>
                        <a:pt x="1543" y="1760"/>
                      </a:lnTo>
                      <a:lnTo>
                        <a:pt x="1541" y="1761"/>
                      </a:lnTo>
                      <a:lnTo>
                        <a:pt x="1539" y="1761"/>
                      </a:lnTo>
                      <a:lnTo>
                        <a:pt x="1539" y="1762"/>
                      </a:lnTo>
                      <a:lnTo>
                        <a:pt x="1538" y="1763"/>
                      </a:lnTo>
                      <a:lnTo>
                        <a:pt x="1537" y="1763"/>
                      </a:lnTo>
                      <a:lnTo>
                        <a:pt x="1536" y="1765"/>
                      </a:lnTo>
                      <a:lnTo>
                        <a:pt x="1536" y="1767"/>
                      </a:lnTo>
                      <a:lnTo>
                        <a:pt x="1536" y="1769"/>
                      </a:lnTo>
                      <a:lnTo>
                        <a:pt x="1537" y="1770"/>
                      </a:lnTo>
                      <a:lnTo>
                        <a:pt x="1539" y="1770"/>
                      </a:lnTo>
                      <a:lnTo>
                        <a:pt x="1540" y="1771"/>
                      </a:lnTo>
                      <a:lnTo>
                        <a:pt x="1542" y="1772"/>
                      </a:lnTo>
                      <a:lnTo>
                        <a:pt x="1545" y="1772"/>
                      </a:lnTo>
                      <a:lnTo>
                        <a:pt x="1548" y="1772"/>
                      </a:lnTo>
                      <a:lnTo>
                        <a:pt x="1550" y="1772"/>
                      </a:lnTo>
                      <a:lnTo>
                        <a:pt x="1559" y="1772"/>
                      </a:lnTo>
                      <a:lnTo>
                        <a:pt x="1560" y="1774"/>
                      </a:lnTo>
                      <a:lnTo>
                        <a:pt x="1560" y="1775"/>
                      </a:lnTo>
                      <a:lnTo>
                        <a:pt x="1560" y="1776"/>
                      </a:lnTo>
                      <a:lnTo>
                        <a:pt x="1559" y="1776"/>
                      </a:lnTo>
                      <a:lnTo>
                        <a:pt x="1557" y="1779"/>
                      </a:lnTo>
                      <a:lnTo>
                        <a:pt x="1554" y="1780"/>
                      </a:lnTo>
                      <a:lnTo>
                        <a:pt x="1552" y="1781"/>
                      </a:lnTo>
                      <a:lnTo>
                        <a:pt x="1550" y="1781"/>
                      </a:lnTo>
                      <a:lnTo>
                        <a:pt x="1550" y="1781"/>
                      </a:lnTo>
                      <a:lnTo>
                        <a:pt x="1549" y="1782"/>
                      </a:lnTo>
                      <a:lnTo>
                        <a:pt x="1548" y="1783"/>
                      </a:lnTo>
                      <a:lnTo>
                        <a:pt x="1545" y="1783"/>
                      </a:lnTo>
                      <a:lnTo>
                        <a:pt x="1545" y="1790"/>
                      </a:lnTo>
                      <a:lnTo>
                        <a:pt x="1543" y="1791"/>
                      </a:lnTo>
                      <a:lnTo>
                        <a:pt x="1541" y="1792"/>
                      </a:lnTo>
                      <a:lnTo>
                        <a:pt x="1539" y="1792"/>
                      </a:lnTo>
                      <a:lnTo>
                        <a:pt x="1536" y="1793"/>
                      </a:lnTo>
                      <a:lnTo>
                        <a:pt x="1534" y="1794"/>
                      </a:lnTo>
                      <a:lnTo>
                        <a:pt x="1536" y="1795"/>
                      </a:lnTo>
                      <a:lnTo>
                        <a:pt x="1536" y="1796"/>
                      </a:lnTo>
                      <a:lnTo>
                        <a:pt x="1537" y="1797"/>
                      </a:lnTo>
                      <a:lnTo>
                        <a:pt x="1539" y="1798"/>
                      </a:lnTo>
                      <a:lnTo>
                        <a:pt x="1541" y="1801"/>
                      </a:lnTo>
                      <a:lnTo>
                        <a:pt x="1542" y="1801"/>
                      </a:lnTo>
                      <a:lnTo>
                        <a:pt x="1544" y="1802"/>
                      </a:lnTo>
                      <a:lnTo>
                        <a:pt x="1545" y="1802"/>
                      </a:lnTo>
                      <a:lnTo>
                        <a:pt x="1547" y="1803"/>
                      </a:lnTo>
                      <a:lnTo>
                        <a:pt x="1548" y="1803"/>
                      </a:lnTo>
                      <a:lnTo>
                        <a:pt x="1547" y="1803"/>
                      </a:lnTo>
                      <a:lnTo>
                        <a:pt x="1544" y="1803"/>
                      </a:lnTo>
                      <a:lnTo>
                        <a:pt x="1543" y="1804"/>
                      </a:lnTo>
                      <a:lnTo>
                        <a:pt x="1541" y="1804"/>
                      </a:lnTo>
                      <a:lnTo>
                        <a:pt x="1541" y="1805"/>
                      </a:lnTo>
                      <a:lnTo>
                        <a:pt x="1550" y="1805"/>
                      </a:lnTo>
                      <a:lnTo>
                        <a:pt x="1532" y="1806"/>
                      </a:lnTo>
                      <a:lnTo>
                        <a:pt x="1515" y="1807"/>
                      </a:lnTo>
                      <a:lnTo>
                        <a:pt x="1510" y="1807"/>
                      </a:lnTo>
                      <a:lnTo>
                        <a:pt x="1506" y="1806"/>
                      </a:lnTo>
                      <a:lnTo>
                        <a:pt x="1501" y="1805"/>
                      </a:lnTo>
                      <a:lnTo>
                        <a:pt x="1497" y="1805"/>
                      </a:lnTo>
                      <a:lnTo>
                        <a:pt x="1498" y="1805"/>
                      </a:lnTo>
                      <a:lnTo>
                        <a:pt x="1499" y="1805"/>
                      </a:lnTo>
                      <a:lnTo>
                        <a:pt x="1501" y="1805"/>
                      </a:lnTo>
                      <a:lnTo>
                        <a:pt x="1501" y="1804"/>
                      </a:lnTo>
                      <a:lnTo>
                        <a:pt x="1501" y="1803"/>
                      </a:lnTo>
                      <a:lnTo>
                        <a:pt x="1486" y="1803"/>
                      </a:lnTo>
                      <a:lnTo>
                        <a:pt x="1485" y="1802"/>
                      </a:lnTo>
                      <a:lnTo>
                        <a:pt x="1484" y="1801"/>
                      </a:lnTo>
                      <a:lnTo>
                        <a:pt x="1483" y="1800"/>
                      </a:lnTo>
                      <a:lnTo>
                        <a:pt x="1482" y="1798"/>
                      </a:lnTo>
                      <a:lnTo>
                        <a:pt x="1482" y="1796"/>
                      </a:lnTo>
                      <a:lnTo>
                        <a:pt x="1479" y="1795"/>
                      </a:lnTo>
                      <a:lnTo>
                        <a:pt x="1478" y="1795"/>
                      </a:lnTo>
                      <a:lnTo>
                        <a:pt x="1477" y="1795"/>
                      </a:lnTo>
                      <a:lnTo>
                        <a:pt x="1477" y="1795"/>
                      </a:lnTo>
                      <a:lnTo>
                        <a:pt x="1477" y="1794"/>
                      </a:lnTo>
                      <a:lnTo>
                        <a:pt x="1477" y="1792"/>
                      </a:lnTo>
                      <a:lnTo>
                        <a:pt x="1475" y="1793"/>
                      </a:lnTo>
                      <a:lnTo>
                        <a:pt x="1474" y="1794"/>
                      </a:lnTo>
                      <a:lnTo>
                        <a:pt x="1472" y="1795"/>
                      </a:lnTo>
                      <a:lnTo>
                        <a:pt x="1471" y="1796"/>
                      </a:lnTo>
                      <a:lnTo>
                        <a:pt x="1468" y="1796"/>
                      </a:lnTo>
                      <a:lnTo>
                        <a:pt x="1466" y="1795"/>
                      </a:lnTo>
                      <a:lnTo>
                        <a:pt x="1466" y="1794"/>
                      </a:lnTo>
                      <a:lnTo>
                        <a:pt x="1466" y="1793"/>
                      </a:lnTo>
                      <a:lnTo>
                        <a:pt x="1466" y="1792"/>
                      </a:lnTo>
                      <a:lnTo>
                        <a:pt x="1464" y="1793"/>
                      </a:lnTo>
                      <a:lnTo>
                        <a:pt x="1463" y="1793"/>
                      </a:lnTo>
                      <a:lnTo>
                        <a:pt x="1462" y="1792"/>
                      </a:lnTo>
                      <a:lnTo>
                        <a:pt x="1462" y="1790"/>
                      </a:lnTo>
                      <a:lnTo>
                        <a:pt x="1468" y="1790"/>
                      </a:lnTo>
                      <a:lnTo>
                        <a:pt x="1471" y="1789"/>
                      </a:lnTo>
                      <a:lnTo>
                        <a:pt x="1472" y="1786"/>
                      </a:lnTo>
                      <a:lnTo>
                        <a:pt x="1472" y="1785"/>
                      </a:lnTo>
                      <a:lnTo>
                        <a:pt x="1471" y="1783"/>
                      </a:lnTo>
                      <a:lnTo>
                        <a:pt x="1466" y="1783"/>
                      </a:lnTo>
                      <a:lnTo>
                        <a:pt x="1465" y="1783"/>
                      </a:lnTo>
                      <a:lnTo>
                        <a:pt x="1465" y="1783"/>
                      </a:lnTo>
                      <a:lnTo>
                        <a:pt x="1465" y="1782"/>
                      </a:lnTo>
                      <a:lnTo>
                        <a:pt x="1466" y="1781"/>
                      </a:lnTo>
                      <a:lnTo>
                        <a:pt x="1462" y="1779"/>
                      </a:lnTo>
                      <a:lnTo>
                        <a:pt x="1455" y="1779"/>
                      </a:lnTo>
                      <a:lnTo>
                        <a:pt x="1453" y="1778"/>
                      </a:lnTo>
                      <a:lnTo>
                        <a:pt x="1452" y="1776"/>
                      </a:lnTo>
                      <a:lnTo>
                        <a:pt x="1451" y="1776"/>
                      </a:lnTo>
                      <a:lnTo>
                        <a:pt x="1452" y="1775"/>
                      </a:lnTo>
                      <a:lnTo>
                        <a:pt x="1453" y="1774"/>
                      </a:lnTo>
                      <a:lnTo>
                        <a:pt x="1453" y="1774"/>
                      </a:lnTo>
                      <a:lnTo>
                        <a:pt x="1453" y="1773"/>
                      </a:lnTo>
                      <a:lnTo>
                        <a:pt x="1453" y="1773"/>
                      </a:lnTo>
                      <a:lnTo>
                        <a:pt x="1455" y="1772"/>
                      </a:lnTo>
                      <a:lnTo>
                        <a:pt x="1456" y="1772"/>
                      </a:lnTo>
                      <a:lnTo>
                        <a:pt x="1456" y="1772"/>
                      </a:lnTo>
                      <a:lnTo>
                        <a:pt x="1457" y="1773"/>
                      </a:lnTo>
                      <a:lnTo>
                        <a:pt x="1460" y="1773"/>
                      </a:lnTo>
                      <a:lnTo>
                        <a:pt x="1460" y="1773"/>
                      </a:lnTo>
                      <a:lnTo>
                        <a:pt x="1461" y="1773"/>
                      </a:lnTo>
                      <a:lnTo>
                        <a:pt x="1462" y="1774"/>
                      </a:lnTo>
                      <a:lnTo>
                        <a:pt x="1464" y="1775"/>
                      </a:lnTo>
                      <a:lnTo>
                        <a:pt x="1466" y="1774"/>
                      </a:lnTo>
                      <a:lnTo>
                        <a:pt x="1464" y="1772"/>
                      </a:lnTo>
                      <a:lnTo>
                        <a:pt x="1468" y="1772"/>
                      </a:lnTo>
                      <a:lnTo>
                        <a:pt x="1468" y="1768"/>
                      </a:lnTo>
                      <a:lnTo>
                        <a:pt x="1468" y="1767"/>
                      </a:lnTo>
                      <a:lnTo>
                        <a:pt x="1468" y="1765"/>
                      </a:lnTo>
                      <a:lnTo>
                        <a:pt x="1467" y="1765"/>
                      </a:lnTo>
                      <a:lnTo>
                        <a:pt x="1466" y="1764"/>
                      </a:lnTo>
                      <a:lnTo>
                        <a:pt x="1466" y="1763"/>
                      </a:lnTo>
                      <a:lnTo>
                        <a:pt x="1465" y="1761"/>
                      </a:lnTo>
                      <a:lnTo>
                        <a:pt x="1465" y="1759"/>
                      </a:lnTo>
                      <a:lnTo>
                        <a:pt x="1465" y="1757"/>
                      </a:lnTo>
                      <a:lnTo>
                        <a:pt x="1465" y="1754"/>
                      </a:lnTo>
                      <a:lnTo>
                        <a:pt x="1466" y="1752"/>
                      </a:lnTo>
                      <a:lnTo>
                        <a:pt x="1466" y="1751"/>
                      </a:lnTo>
                      <a:lnTo>
                        <a:pt x="1466" y="1750"/>
                      </a:lnTo>
                      <a:lnTo>
                        <a:pt x="1466" y="1748"/>
                      </a:lnTo>
                      <a:lnTo>
                        <a:pt x="1466" y="1747"/>
                      </a:lnTo>
                      <a:lnTo>
                        <a:pt x="1465" y="1745"/>
                      </a:lnTo>
                      <a:lnTo>
                        <a:pt x="1464" y="1743"/>
                      </a:lnTo>
                      <a:lnTo>
                        <a:pt x="1462" y="1743"/>
                      </a:lnTo>
                      <a:lnTo>
                        <a:pt x="1459" y="1745"/>
                      </a:lnTo>
                      <a:lnTo>
                        <a:pt x="1456" y="1745"/>
                      </a:lnTo>
                      <a:lnTo>
                        <a:pt x="1455" y="1746"/>
                      </a:lnTo>
                      <a:lnTo>
                        <a:pt x="1453" y="1747"/>
                      </a:lnTo>
                      <a:lnTo>
                        <a:pt x="1451" y="1746"/>
                      </a:lnTo>
                      <a:lnTo>
                        <a:pt x="1448" y="1745"/>
                      </a:lnTo>
                      <a:lnTo>
                        <a:pt x="1445" y="1742"/>
                      </a:lnTo>
                      <a:lnTo>
                        <a:pt x="1444" y="1740"/>
                      </a:lnTo>
                      <a:lnTo>
                        <a:pt x="1443" y="1739"/>
                      </a:lnTo>
                      <a:lnTo>
                        <a:pt x="1444" y="1737"/>
                      </a:lnTo>
                      <a:lnTo>
                        <a:pt x="1444" y="1736"/>
                      </a:lnTo>
                      <a:lnTo>
                        <a:pt x="1445" y="1736"/>
                      </a:lnTo>
                      <a:lnTo>
                        <a:pt x="1446" y="1735"/>
                      </a:lnTo>
                      <a:lnTo>
                        <a:pt x="1449" y="1735"/>
                      </a:lnTo>
                      <a:lnTo>
                        <a:pt x="1449" y="1730"/>
                      </a:lnTo>
                      <a:lnTo>
                        <a:pt x="1446" y="1729"/>
                      </a:lnTo>
                      <a:lnTo>
                        <a:pt x="1445" y="1729"/>
                      </a:lnTo>
                      <a:lnTo>
                        <a:pt x="1443" y="1728"/>
                      </a:lnTo>
                      <a:lnTo>
                        <a:pt x="1442" y="1727"/>
                      </a:lnTo>
                      <a:lnTo>
                        <a:pt x="1442" y="1726"/>
                      </a:lnTo>
                      <a:lnTo>
                        <a:pt x="1440" y="1724"/>
                      </a:lnTo>
                      <a:lnTo>
                        <a:pt x="1439" y="1721"/>
                      </a:lnTo>
                      <a:lnTo>
                        <a:pt x="1437" y="1720"/>
                      </a:lnTo>
                      <a:lnTo>
                        <a:pt x="1437" y="1718"/>
                      </a:lnTo>
                      <a:lnTo>
                        <a:pt x="1438" y="1717"/>
                      </a:lnTo>
                      <a:lnTo>
                        <a:pt x="1439" y="1717"/>
                      </a:lnTo>
                      <a:lnTo>
                        <a:pt x="1439" y="1718"/>
                      </a:lnTo>
                      <a:lnTo>
                        <a:pt x="1440" y="1718"/>
                      </a:lnTo>
                      <a:lnTo>
                        <a:pt x="1441" y="1718"/>
                      </a:lnTo>
                      <a:lnTo>
                        <a:pt x="1442" y="1717"/>
                      </a:lnTo>
                      <a:lnTo>
                        <a:pt x="1442" y="1716"/>
                      </a:lnTo>
                      <a:lnTo>
                        <a:pt x="1442" y="1716"/>
                      </a:lnTo>
                      <a:lnTo>
                        <a:pt x="1442" y="1715"/>
                      </a:lnTo>
                      <a:lnTo>
                        <a:pt x="1442" y="1714"/>
                      </a:lnTo>
                      <a:lnTo>
                        <a:pt x="1442" y="1713"/>
                      </a:lnTo>
                      <a:lnTo>
                        <a:pt x="1443" y="1710"/>
                      </a:lnTo>
                      <a:lnTo>
                        <a:pt x="1443" y="1708"/>
                      </a:lnTo>
                      <a:lnTo>
                        <a:pt x="1444" y="1706"/>
                      </a:lnTo>
                      <a:lnTo>
                        <a:pt x="1445" y="1703"/>
                      </a:lnTo>
                      <a:lnTo>
                        <a:pt x="1448" y="1699"/>
                      </a:lnTo>
                      <a:lnTo>
                        <a:pt x="1449" y="1697"/>
                      </a:lnTo>
                      <a:lnTo>
                        <a:pt x="1450" y="1695"/>
                      </a:lnTo>
                      <a:lnTo>
                        <a:pt x="1450" y="1692"/>
                      </a:lnTo>
                      <a:lnTo>
                        <a:pt x="1450" y="1689"/>
                      </a:lnTo>
                      <a:lnTo>
                        <a:pt x="1451" y="1686"/>
                      </a:lnTo>
                      <a:lnTo>
                        <a:pt x="1451" y="1684"/>
                      </a:lnTo>
                      <a:lnTo>
                        <a:pt x="1450" y="1682"/>
                      </a:lnTo>
                      <a:lnTo>
                        <a:pt x="1448" y="1680"/>
                      </a:lnTo>
                      <a:lnTo>
                        <a:pt x="1445" y="1677"/>
                      </a:lnTo>
                      <a:lnTo>
                        <a:pt x="1443" y="1675"/>
                      </a:lnTo>
                      <a:lnTo>
                        <a:pt x="1442" y="1673"/>
                      </a:lnTo>
                      <a:lnTo>
                        <a:pt x="1442" y="1671"/>
                      </a:lnTo>
                      <a:lnTo>
                        <a:pt x="1443" y="1667"/>
                      </a:lnTo>
                      <a:lnTo>
                        <a:pt x="1444" y="1665"/>
                      </a:lnTo>
                      <a:lnTo>
                        <a:pt x="1446" y="1662"/>
                      </a:lnTo>
                      <a:lnTo>
                        <a:pt x="1445" y="1661"/>
                      </a:lnTo>
                      <a:lnTo>
                        <a:pt x="1444" y="1660"/>
                      </a:lnTo>
                      <a:lnTo>
                        <a:pt x="1443" y="1659"/>
                      </a:lnTo>
                      <a:lnTo>
                        <a:pt x="1443" y="1658"/>
                      </a:lnTo>
                      <a:lnTo>
                        <a:pt x="1444" y="1655"/>
                      </a:lnTo>
                      <a:lnTo>
                        <a:pt x="1444" y="1654"/>
                      </a:lnTo>
                      <a:lnTo>
                        <a:pt x="1445" y="1652"/>
                      </a:lnTo>
                      <a:lnTo>
                        <a:pt x="1445" y="1651"/>
                      </a:lnTo>
                      <a:lnTo>
                        <a:pt x="1446" y="1649"/>
                      </a:lnTo>
                      <a:lnTo>
                        <a:pt x="1446" y="1648"/>
                      </a:lnTo>
                      <a:lnTo>
                        <a:pt x="1448" y="1647"/>
                      </a:lnTo>
                      <a:lnTo>
                        <a:pt x="1448" y="1647"/>
                      </a:lnTo>
                      <a:lnTo>
                        <a:pt x="1449" y="1644"/>
                      </a:lnTo>
                      <a:lnTo>
                        <a:pt x="1449" y="1642"/>
                      </a:lnTo>
                      <a:lnTo>
                        <a:pt x="1449" y="1641"/>
                      </a:lnTo>
                      <a:lnTo>
                        <a:pt x="1450" y="1640"/>
                      </a:lnTo>
                      <a:lnTo>
                        <a:pt x="1450" y="1639"/>
                      </a:lnTo>
                      <a:lnTo>
                        <a:pt x="1451" y="1638"/>
                      </a:lnTo>
                      <a:lnTo>
                        <a:pt x="1451" y="1632"/>
                      </a:lnTo>
                      <a:lnTo>
                        <a:pt x="1451" y="1630"/>
                      </a:lnTo>
                      <a:lnTo>
                        <a:pt x="1452" y="1629"/>
                      </a:lnTo>
                      <a:lnTo>
                        <a:pt x="1452" y="1628"/>
                      </a:lnTo>
                      <a:lnTo>
                        <a:pt x="1453" y="1627"/>
                      </a:lnTo>
                      <a:lnTo>
                        <a:pt x="1452" y="1625"/>
                      </a:lnTo>
                      <a:lnTo>
                        <a:pt x="1451" y="1622"/>
                      </a:lnTo>
                      <a:lnTo>
                        <a:pt x="1451" y="1620"/>
                      </a:lnTo>
                      <a:lnTo>
                        <a:pt x="1450" y="1619"/>
                      </a:lnTo>
                      <a:lnTo>
                        <a:pt x="1450" y="1617"/>
                      </a:lnTo>
                      <a:lnTo>
                        <a:pt x="1451" y="1616"/>
                      </a:lnTo>
                      <a:lnTo>
                        <a:pt x="1451" y="1614"/>
                      </a:lnTo>
                      <a:lnTo>
                        <a:pt x="1451" y="1612"/>
                      </a:lnTo>
                      <a:lnTo>
                        <a:pt x="1449" y="1611"/>
                      </a:lnTo>
                      <a:lnTo>
                        <a:pt x="1449" y="1610"/>
                      </a:lnTo>
                      <a:lnTo>
                        <a:pt x="1450" y="1609"/>
                      </a:lnTo>
                      <a:lnTo>
                        <a:pt x="1451" y="1608"/>
                      </a:lnTo>
                      <a:lnTo>
                        <a:pt x="1452" y="1607"/>
                      </a:lnTo>
                      <a:lnTo>
                        <a:pt x="1453" y="1606"/>
                      </a:lnTo>
                      <a:lnTo>
                        <a:pt x="1452" y="1604"/>
                      </a:lnTo>
                      <a:lnTo>
                        <a:pt x="1452" y="1603"/>
                      </a:lnTo>
                      <a:lnTo>
                        <a:pt x="1452" y="1600"/>
                      </a:lnTo>
                      <a:lnTo>
                        <a:pt x="1453" y="1599"/>
                      </a:lnTo>
                      <a:lnTo>
                        <a:pt x="1454" y="1598"/>
                      </a:lnTo>
                      <a:lnTo>
                        <a:pt x="1456" y="1597"/>
                      </a:lnTo>
                      <a:lnTo>
                        <a:pt x="1456" y="1596"/>
                      </a:lnTo>
                      <a:lnTo>
                        <a:pt x="1455" y="1596"/>
                      </a:lnTo>
                      <a:lnTo>
                        <a:pt x="1455" y="1595"/>
                      </a:lnTo>
                      <a:lnTo>
                        <a:pt x="1455" y="1590"/>
                      </a:lnTo>
                      <a:lnTo>
                        <a:pt x="1454" y="1590"/>
                      </a:lnTo>
                      <a:lnTo>
                        <a:pt x="1454" y="1589"/>
                      </a:lnTo>
                      <a:lnTo>
                        <a:pt x="1453" y="1589"/>
                      </a:lnTo>
                      <a:lnTo>
                        <a:pt x="1453" y="1588"/>
                      </a:lnTo>
                      <a:lnTo>
                        <a:pt x="1453" y="1582"/>
                      </a:lnTo>
                      <a:lnTo>
                        <a:pt x="1451" y="1579"/>
                      </a:lnTo>
                      <a:lnTo>
                        <a:pt x="1450" y="1577"/>
                      </a:lnTo>
                      <a:lnTo>
                        <a:pt x="1449" y="1576"/>
                      </a:lnTo>
                      <a:lnTo>
                        <a:pt x="1449" y="1575"/>
                      </a:lnTo>
                      <a:lnTo>
                        <a:pt x="1449" y="1573"/>
                      </a:lnTo>
                      <a:lnTo>
                        <a:pt x="1449" y="1572"/>
                      </a:lnTo>
                      <a:lnTo>
                        <a:pt x="1450" y="1571"/>
                      </a:lnTo>
                      <a:lnTo>
                        <a:pt x="1450" y="1569"/>
                      </a:lnTo>
                      <a:lnTo>
                        <a:pt x="1448" y="1569"/>
                      </a:lnTo>
                      <a:lnTo>
                        <a:pt x="1446" y="1568"/>
                      </a:lnTo>
                      <a:lnTo>
                        <a:pt x="1439" y="1565"/>
                      </a:lnTo>
                      <a:lnTo>
                        <a:pt x="1432" y="1562"/>
                      </a:lnTo>
                      <a:lnTo>
                        <a:pt x="1427" y="1560"/>
                      </a:lnTo>
                      <a:lnTo>
                        <a:pt x="1422" y="1557"/>
                      </a:lnTo>
                      <a:lnTo>
                        <a:pt x="1418" y="1556"/>
                      </a:lnTo>
                      <a:lnTo>
                        <a:pt x="1413" y="1555"/>
                      </a:lnTo>
                      <a:lnTo>
                        <a:pt x="1411" y="1554"/>
                      </a:lnTo>
                      <a:lnTo>
                        <a:pt x="1409" y="1554"/>
                      </a:lnTo>
                      <a:lnTo>
                        <a:pt x="1408" y="1553"/>
                      </a:lnTo>
                      <a:lnTo>
                        <a:pt x="1406" y="1553"/>
                      </a:lnTo>
                      <a:lnTo>
                        <a:pt x="1403" y="1553"/>
                      </a:lnTo>
                      <a:lnTo>
                        <a:pt x="1392" y="1551"/>
                      </a:lnTo>
                      <a:lnTo>
                        <a:pt x="1381" y="1549"/>
                      </a:lnTo>
                      <a:lnTo>
                        <a:pt x="1379" y="1546"/>
                      </a:lnTo>
                      <a:lnTo>
                        <a:pt x="1377" y="1545"/>
                      </a:lnTo>
                      <a:lnTo>
                        <a:pt x="1376" y="1543"/>
                      </a:lnTo>
                      <a:lnTo>
                        <a:pt x="1373" y="1542"/>
                      </a:lnTo>
                      <a:lnTo>
                        <a:pt x="1370" y="1541"/>
                      </a:lnTo>
                      <a:lnTo>
                        <a:pt x="1368" y="1540"/>
                      </a:lnTo>
                      <a:lnTo>
                        <a:pt x="1366" y="1539"/>
                      </a:lnTo>
                      <a:lnTo>
                        <a:pt x="1364" y="1538"/>
                      </a:lnTo>
                      <a:lnTo>
                        <a:pt x="1362" y="1534"/>
                      </a:lnTo>
                      <a:lnTo>
                        <a:pt x="1359" y="1532"/>
                      </a:lnTo>
                      <a:lnTo>
                        <a:pt x="1357" y="1529"/>
                      </a:lnTo>
                      <a:lnTo>
                        <a:pt x="1355" y="1525"/>
                      </a:lnTo>
                      <a:lnTo>
                        <a:pt x="1353" y="1522"/>
                      </a:lnTo>
                      <a:lnTo>
                        <a:pt x="1352" y="1521"/>
                      </a:lnTo>
                      <a:lnTo>
                        <a:pt x="1351" y="1520"/>
                      </a:lnTo>
                      <a:lnTo>
                        <a:pt x="1351" y="1519"/>
                      </a:lnTo>
                      <a:lnTo>
                        <a:pt x="1348" y="1518"/>
                      </a:lnTo>
                      <a:lnTo>
                        <a:pt x="1347" y="1518"/>
                      </a:lnTo>
                      <a:lnTo>
                        <a:pt x="1346" y="1518"/>
                      </a:lnTo>
                      <a:lnTo>
                        <a:pt x="1345" y="1517"/>
                      </a:lnTo>
                      <a:lnTo>
                        <a:pt x="1344" y="1516"/>
                      </a:lnTo>
                      <a:lnTo>
                        <a:pt x="1344" y="1513"/>
                      </a:lnTo>
                      <a:lnTo>
                        <a:pt x="1343" y="1512"/>
                      </a:lnTo>
                      <a:lnTo>
                        <a:pt x="1343" y="1510"/>
                      </a:lnTo>
                      <a:lnTo>
                        <a:pt x="1342" y="1509"/>
                      </a:lnTo>
                      <a:lnTo>
                        <a:pt x="1339" y="1508"/>
                      </a:lnTo>
                      <a:lnTo>
                        <a:pt x="1336" y="1507"/>
                      </a:lnTo>
                      <a:lnTo>
                        <a:pt x="1333" y="1506"/>
                      </a:lnTo>
                      <a:lnTo>
                        <a:pt x="1331" y="1505"/>
                      </a:lnTo>
                      <a:lnTo>
                        <a:pt x="1329" y="1501"/>
                      </a:lnTo>
                      <a:lnTo>
                        <a:pt x="1326" y="1498"/>
                      </a:lnTo>
                      <a:lnTo>
                        <a:pt x="1324" y="1496"/>
                      </a:lnTo>
                      <a:lnTo>
                        <a:pt x="1323" y="1492"/>
                      </a:lnTo>
                      <a:lnTo>
                        <a:pt x="1320" y="1490"/>
                      </a:lnTo>
                      <a:lnTo>
                        <a:pt x="1318" y="1487"/>
                      </a:lnTo>
                      <a:lnTo>
                        <a:pt x="1315" y="1485"/>
                      </a:lnTo>
                      <a:lnTo>
                        <a:pt x="1313" y="1481"/>
                      </a:lnTo>
                      <a:lnTo>
                        <a:pt x="1311" y="1478"/>
                      </a:lnTo>
                      <a:lnTo>
                        <a:pt x="1309" y="1476"/>
                      </a:lnTo>
                      <a:lnTo>
                        <a:pt x="1303" y="1469"/>
                      </a:lnTo>
                      <a:lnTo>
                        <a:pt x="1298" y="1463"/>
                      </a:lnTo>
                      <a:lnTo>
                        <a:pt x="1289" y="1458"/>
                      </a:lnTo>
                      <a:lnTo>
                        <a:pt x="1287" y="1457"/>
                      </a:lnTo>
                      <a:lnTo>
                        <a:pt x="1283" y="1456"/>
                      </a:lnTo>
                      <a:lnTo>
                        <a:pt x="1280" y="1456"/>
                      </a:lnTo>
                      <a:lnTo>
                        <a:pt x="1278" y="1455"/>
                      </a:lnTo>
                      <a:lnTo>
                        <a:pt x="1276" y="1454"/>
                      </a:lnTo>
                      <a:lnTo>
                        <a:pt x="1276" y="1453"/>
                      </a:lnTo>
                      <a:lnTo>
                        <a:pt x="1276" y="1452"/>
                      </a:lnTo>
                      <a:lnTo>
                        <a:pt x="1277" y="1452"/>
                      </a:lnTo>
                      <a:lnTo>
                        <a:pt x="1278" y="1452"/>
                      </a:lnTo>
                      <a:lnTo>
                        <a:pt x="1278" y="1452"/>
                      </a:lnTo>
                      <a:lnTo>
                        <a:pt x="1279" y="1448"/>
                      </a:lnTo>
                      <a:lnTo>
                        <a:pt x="1278" y="1446"/>
                      </a:lnTo>
                      <a:lnTo>
                        <a:pt x="1277" y="1444"/>
                      </a:lnTo>
                      <a:lnTo>
                        <a:pt x="1275" y="1442"/>
                      </a:lnTo>
                      <a:lnTo>
                        <a:pt x="1271" y="1441"/>
                      </a:lnTo>
                      <a:lnTo>
                        <a:pt x="1271" y="1438"/>
                      </a:lnTo>
                      <a:lnTo>
                        <a:pt x="1271" y="1436"/>
                      </a:lnTo>
                      <a:lnTo>
                        <a:pt x="1274" y="1434"/>
                      </a:lnTo>
                      <a:lnTo>
                        <a:pt x="1276" y="1432"/>
                      </a:lnTo>
                      <a:lnTo>
                        <a:pt x="1279" y="1430"/>
                      </a:lnTo>
                      <a:lnTo>
                        <a:pt x="1282" y="1429"/>
                      </a:lnTo>
                      <a:lnTo>
                        <a:pt x="1285" y="1427"/>
                      </a:lnTo>
                      <a:lnTo>
                        <a:pt x="1288" y="1426"/>
                      </a:lnTo>
                      <a:lnTo>
                        <a:pt x="1291" y="1424"/>
                      </a:lnTo>
                      <a:lnTo>
                        <a:pt x="1293" y="1423"/>
                      </a:lnTo>
                      <a:lnTo>
                        <a:pt x="1296" y="1421"/>
                      </a:lnTo>
                      <a:lnTo>
                        <a:pt x="1297" y="1419"/>
                      </a:lnTo>
                      <a:lnTo>
                        <a:pt x="1296" y="1416"/>
                      </a:lnTo>
                      <a:lnTo>
                        <a:pt x="1293" y="1414"/>
                      </a:lnTo>
                      <a:lnTo>
                        <a:pt x="1293" y="1415"/>
                      </a:lnTo>
                      <a:lnTo>
                        <a:pt x="1292" y="1416"/>
                      </a:lnTo>
                      <a:lnTo>
                        <a:pt x="1291" y="1418"/>
                      </a:lnTo>
                      <a:lnTo>
                        <a:pt x="1290" y="1418"/>
                      </a:lnTo>
                      <a:lnTo>
                        <a:pt x="1287" y="1416"/>
                      </a:lnTo>
                      <a:lnTo>
                        <a:pt x="1286" y="1416"/>
                      </a:lnTo>
                      <a:lnTo>
                        <a:pt x="1285" y="1415"/>
                      </a:lnTo>
                      <a:lnTo>
                        <a:pt x="1283" y="1413"/>
                      </a:lnTo>
                      <a:lnTo>
                        <a:pt x="1280" y="1412"/>
                      </a:lnTo>
                      <a:lnTo>
                        <a:pt x="1279" y="1412"/>
                      </a:lnTo>
                      <a:lnTo>
                        <a:pt x="1278" y="1412"/>
                      </a:lnTo>
                      <a:lnTo>
                        <a:pt x="1278" y="1411"/>
                      </a:lnTo>
                      <a:lnTo>
                        <a:pt x="1279" y="1411"/>
                      </a:lnTo>
                      <a:lnTo>
                        <a:pt x="1279" y="1410"/>
                      </a:lnTo>
                      <a:lnTo>
                        <a:pt x="1280" y="1410"/>
                      </a:lnTo>
                      <a:lnTo>
                        <a:pt x="1280" y="1410"/>
                      </a:lnTo>
                      <a:lnTo>
                        <a:pt x="1281" y="1409"/>
                      </a:lnTo>
                      <a:lnTo>
                        <a:pt x="1281" y="1407"/>
                      </a:lnTo>
                      <a:lnTo>
                        <a:pt x="1280" y="1405"/>
                      </a:lnTo>
                      <a:lnTo>
                        <a:pt x="1278" y="1405"/>
                      </a:lnTo>
                      <a:lnTo>
                        <a:pt x="1278" y="1399"/>
                      </a:lnTo>
                      <a:lnTo>
                        <a:pt x="1278" y="1398"/>
                      </a:lnTo>
                      <a:lnTo>
                        <a:pt x="1278" y="1398"/>
                      </a:lnTo>
                      <a:lnTo>
                        <a:pt x="1279" y="1398"/>
                      </a:lnTo>
                      <a:lnTo>
                        <a:pt x="1280" y="1398"/>
                      </a:lnTo>
                      <a:lnTo>
                        <a:pt x="1281" y="1398"/>
                      </a:lnTo>
                      <a:lnTo>
                        <a:pt x="1282" y="1397"/>
                      </a:lnTo>
                      <a:lnTo>
                        <a:pt x="1283" y="1396"/>
                      </a:lnTo>
                      <a:lnTo>
                        <a:pt x="1283" y="1394"/>
                      </a:lnTo>
                      <a:lnTo>
                        <a:pt x="1285" y="1393"/>
                      </a:lnTo>
                      <a:lnTo>
                        <a:pt x="1285" y="1392"/>
                      </a:lnTo>
                      <a:lnTo>
                        <a:pt x="1286" y="1391"/>
                      </a:lnTo>
                      <a:lnTo>
                        <a:pt x="1287" y="1390"/>
                      </a:lnTo>
                      <a:lnTo>
                        <a:pt x="1288" y="1390"/>
                      </a:lnTo>
                      <a:lnTo>
                        <a:pt x="1290" y="1389"/>
                      </a:lnTo>
                      <a:lnTo>
                        <a:pt x="1291" y="1388"/>
                      </a:lnTo>
                      <a:lnTo>
                        <a:pt x="1292" y="1386"/>
                      </a:lnTo>
                      <a:lnTo>
                        <a:pt x="1292" y="1385"/>
                      </a:lnTo>
                      <a:lnTo>
                        <a:pt x="1292" y="1382"/>
                      </a:lnTo>
                      <a:lnTo>
                        <a:pt x="1291" y="1380"/>
                      </a:lnTo>
                      <a:lnTo>
                        <a:pt x="1290" y="1378"/>
                      </a:lnTo>
                      <a:lnTo>
                        <a:pt x="1290" y="1377"/>
                      </a:lnTo>
                      <a:lnTo>
                        <a:pt x="1291" y="1375"/>
                      </a:lnTo>
                      <a:lnTo>
                        <a:pt x="1298" y="1374"/>
                      </a:lnTo>
                      <a:lnTo>
                        <a:pt x="1304" y="1372"/>
                      </a:lnTo>
                      <a:lnTo>
                        <a:pt x="1309" y="1370"/>
                      </a:lnTo>
                      <a:lnTo>
                        <a:pt x="1311" y="1369"/>
                      </a:lnTo>
                      <a:lnTo>
                        <a:pt x="1311" y="1368"/>
                      </a:lnTo>
                      <a:lnTo>
                        <a:pt x="1310" y="1367"/>
                      </a:lnTo>
                      <a:lnTo>
                        <a:pt x="1310" y="1366"/>
                      </a:lnTo>
                      <a:lnTo>
                        <a:pt x="1310" y="1365"/>
                      </a:lnTo>
                      <a:lnTo>
                        <a:pt x="1311" y="1364"/>
                      </a:lnTo>
                      <a:lnTo>
                        <a:pt x="1313" y="1361"/>
                      </a:lnTo>
                      <a:lnTo>
                        <a:pt x="1315" y="1359"/>
                      </a:lnTo>
                      <a:lnTo>
                        <a:pt x="1315" y="1357"/>
                      </a:lnTo>
                      <a:lnTo>
                        <a:pt x="1318" y="1356"/>
                      </a:lnTo>
                      <a:lnTo>
                        <a:pt x="1320" y="1355"/>
                      </a:lnTo>
                      <a:lnTo>
                        <a:pt x="1322" y="1354"/>
                      </a:lnTo>
                      <a:lnTo>
                        <a:pt x="1325" y="1354"/>
                      </a:lnTo>
                      <a:lnTo>
                        <a:pt x="1328" y="1354"/>
                      </a:lnTo>
                      <a:lnTo>
                        <a:pt x="1330" y="1354"/>
                      </a:lnTo>
                      <a:lnTo>
                        <a:pt x="1331" y="1353"/>
                      </a:lnTo>
                      <a:lnTo>
                        <a:pt x="1333" y="1350"/>
                      </a:lnTo>
                      <a:lnTo>
                        <a:pt x="1334" y="1348"/>
                      </a:lnTo>
                      <a:lnTo>
                        <a:pt x="1335" y="1347"/>
                      </a:lnTo>
                      <a:lnTo>
                        <a:pt x="1337" y="1345"/>
                      </a:lnTo>
                      <a:lnTo>
                        <a:pt x="1340" y="1344"/>
                      </a:lnTo>
                      <a:lnTo>
                        <a:pt x="1342" y="1342"/>
                      </a:lnTo>
                      <a:lnTo>
                        <a:pt x="1343" y="1339"/>
                      </a:lnTo>
                      <a:lnTo>
                        <a:pt x="1343" y="1336"/>
                      </a:lnTo>
                      <a:lnTo>
                        <a:pt x="1342" y="1333"/>
                      </a:lnTo>
                      <a:lnTo>
                        <a:pt x="1341" y="1332"/>
                      </a:lnTo>
                      <a:lnTo>
                        <a:pt x="1340" y="1329"/>
                      </a:lnTo>
                      <a:lnTo>
                        <a:pt x="1340" y="1328"/>
                      </a:lnTo>
                      <a:lnTo>
                        <a:pt x="1340" y="1326"/>
                      </a:lnTo>
                      <a:lnTo>
                        <a:pt x="1341" y="1323"/>
                      </a:lnTo>
                      <a:lnTo>
                        <a:pt x="1342" y="1321"/>
                      </a:lnTo>
                      <a:lnTo>
                        <a:pt x="1343" y="1318"/>
                      </a:lnTo>
                      <a:lnTo>
                        <a:pt x="1344" y="1315"/>
                      </a:lnTo>
                      <a:lnTo>
                        <a:pt x="1344" y="1314"/>
                      </a:lnTo>
                      <a:lnTo>
                        <a:pt x="1343" y="1313"/>
                      </a:lnTo>
                      <a:lnTo>
                        <a:pt x="1342" y="1311"/>
                      </a:lnTo>
                      <a:lnTo>
                        <a:pt x="1342" y="1309"/>
                      </a:lnTo>
                      <a:lnTo>
                        <a:pt x="1342" y="1306"/>
                      </a:lnTo>
                      <a:lnTo>
                        <a:pt x="1343" y="1305"/>
                      </a:lnTo>
                      <a:lnTo>
                        <a:pt x="1344" y="1304"/>
                      </a:lnTo>
                      <a:lnTo>
                        <a:pt x="1343" y="1303"/>
                      </a:lnTo>
                      <a:lnTo>
                        <a:pt x="1342" y="1302"/>
                      </a:lnTo>
                      <a:lnTo>
                        <a:pt x="1340" y="1300"/>
                      </a:lnTo>
                      <a:lnTo>
                        <a:pt x="1339" y="1299"/>
                      </a:lnTo>
                      <a:lnTo>
                        <a:pt x="1336" y="1296"/>
                      </a:lnTo>
                      <a:lnTo>
                        <a:pt x="1335" y="1294"/>
                      </a:lnTo>
                      <a:lnTo>
                        <a:pt x="1333" y="1291"/>
                      </a:lnTo>
                      <a:lnTo>
                        <a:pt x="1331" y="1289"/>
                      </a:lnTo>
                      <a:lnTo>
                        <a:pt x="1329" y="1288"/>
                      </a:lnTo>
                      <a:lnTo>
                        <a:pt x="1324" y="1287"/>
                      </a:lnTo>
                      <a:lnTo>
                        <a:pt x="1320" y="1288"/>
                      </a:lnTo>
                      <a:lnTo>
                        <a:pt x="1317" y="1288"/>
                      </a:lnTo>
                      <a:lnTo>
                        <a:pt x="1312" y="1289"/>
                      </a:lnTo>
                      <a:lnTo>
                        <a:pt x="1309" y="1289"/>
                      </a:lnTo>
                      <a:lnTo>
                        <a:pt x="1308" y="1289"/>
                      </a:lnTo>
                      <a:lnTo>
                        <a:pt x="1307" y="1288"/>
                      </a:lnTo>
                      <a:lnTo>
                        <a:pt x="1304" y="1287"/>
                      </a:lnTo>
                      <a:lnTo>
                        <a:pt x="1303" y="1287"/>
                      </a:lnTo>
                      <a:lnTo>
                        <a:pt x="1300" y="1287"/>
                      </a:lnTo>
                      <a:lnTo>
                        <a:pt x="1289" y="1289"/>
                      </a:lnTo>
                      <a:lnTo>
                        <a:pt x="1278" y="1292"/>
                      </a:lnTo>
                      <a:lnTo>
                        <a:pt x="1267" y="1293"/>
                      </a:lnTo>
                      <a:lnTo>
                        <a:pt x="1260" y="1293"/>
                      </a:lnTo>
                      <a:lnTo>
                        <a:pt x="1254" y="1291"/>
                      </a:lnTo>
                      <a:lnTo>
                        <a:pt x="1247" y="1289"/>
                      </a:lnTo>
                      <a:lnTo>
                        <a:pt x="1236" y="1290"/>
                      </a:lnTo>
                      <a:lnTo>
                        <a:pt x="1225" y="1291"/>
                      </a:lnTo>
                      <a:lnTo>
                        <a:pt x="1219" y="1291"/>
                      </a:lnTo>
                      <a:lnTo>
                        <a:pt x="1210" y="1291"/>
                      </a:lnTo>
                      <a:lnTo>
                        <a:pt x="1201" y="1290"/>
                      </a:lnTo>
                      <a:lnTo>
                        <a:pt x="1194" y="1288"/>
                      </a:lnTo>
                      <a:lnTo>
                        <a:pt x="1190" y="1284"/>
                      </a:lnTo>
                      <a:lnTo>
                        <a:pt x="1191" y="1281"/>
                      </a:lnTo>
                      <a:lnTo>
                        <a:pt x="1191" y="1279"/>
                      </a:lnTo>
                      <a:lnTo>
                        <a:pt x="1193" y="1277"/>
                      </a:lnTo>
                      <a:lnTo>
                        <a:pt x="1194" y="1274"/>
                      </a:lnTo>
                      <a:lnTo>
                        <a:pt x="1197" y="1271"/>
                      </a:lnTo>
                      <a:lnTo>
                        <a:pt x="1198" y="1270"/>
                      </a:lnTo>
                      <a:lnTo>
                        <a:pt x="1198" y="1267"/>
                      </a:lnTo>
                      <a:lnTo>
                        <a:pt x="1198" y="1265"/>
                      </a:lnTo>
                      <a:lnTo>
                        <a:pt x="1198" y="1262"/>
                      </a:lnTo>
                      <a:lnTo>
                        <a:pt x="1197" y="1260"/>
                      </a:lnTo>
                      <a:lnTo>
                        <a:pt x="1197" y="1258"/>
                      </a:lnTo>
                      <a:lnTo>
                        <a:pt x="1195" y="1255"/>
                      </a:lnTo>
                      <a:lnTo>
                        <a:pt x="1197" y="1251"/>
                      </a:lnTo>
                      <a:lnTo>
                        <a:pt x="1197" y="1248"/>
                      </a:lnTo>
                      <a:lnTo>
                        <a:pt x="1197" y="1245"/>
                      </a:lnTo>
                      <a:lnTo>
                        <a:pt x="1197" y="1244"/>
                      </a:lnTo>
                      <a:lnTo>
                        <a:pt x="1194" y="1241"/>
                      </a:lnTo>
                      <a:lnTo>
                        <a:pt x="1191" y="1240"/>
                      </a:lnTo>
                      <a:lnTo>
                        <a:pt x="1188" y="1238"/>
                      </a:lnTo>
                      <a:lnTo>
                        <a:pt x="1177" y="1229"/>
                      </a:lnTo>
                      <a:lnTo>
                        <a:pt x="1166" y="1220"/>
                      </a:lnTo>
                      <a:lnTo>
                        <a:pt x="1160" y="1220"/>
                      </a:lnTo>
                      <a:lnTo>
                        <a:pt x="1154" y="1222"/>
                      </a:lnTo>
                      <a:lnTo>
                        <a:pt x="1147" y="1224"/>
                      </a:lnTo>
                      <a:lnTo>
                        <a:pt x="1139" y="1223"/>
                      </a:lnTo>
                      <a:lnTo>
                        <a:pt x="1130" y="1219"/>
                      </a:lnTo>
                      <a:lnTo>
                        <a:pt x="1122" y="1216"/>
                      </a:lnTo>
                      <a:lnTo>
                        <a:pt x="1111" y="1214"/>
                      </a:lnTo>
                      <a:lnTo>
                        <a:pt x="1105" y="1213"/>
                      </a:lnTo>
                      <a:lnTo>
                        <a:pt x="1099" y="1212"/>
                      </a:lnTo>
                      <a:lnTo>
                        <a:pt x="1093" y="1209"/>
                      </a:lnTo>
                      <a:lnTo>
                        <a:pt x="1091" y="1205"/>
                      </a:lnTo>
                      <a:lnTo>
                        <a:pt x="1092" y="1203"/>
                      </a:lnTo>
                      <a:lnTo>
                        <a:pt x="1092" y="1201"/>
                      </a:lnTo>
                      <a:lnTo>
                        <a:pt x="1093" y="1198"/>
                      </a:lnTo>
                      <a:lnTo>
                        <a:pt x="1092" y="1196"/>
                      </a:lnTo>
                      <a:lnTo>
                        <a:pt x="1092" y="1194"/>
                      </a:lnTo>
                      <a:lnTo>
                        <a:pt x="1089" y="1193"/>
                      </a:lnTo>
                      <a:lnTo>
                        <a:pt x="1084" y="1189"/>
                      </a:lnTo>
                      <a:lnTo>
                        <a:pt x="1080" y="1186"/>
                      </a:lnTo>
                      <a:lnTo>
                        <a:pt x="1075" y="1184"/>
                      </a:lnTo>
                      <a:lnTo>
                        <a:pt x="1066" y="1183"/>
                      </a:lnTo>
                      <a:lnTo>
                        <a:pt x="1055" y="1183"/>
                      </a:lnTo>
                      <a:lnTo>
                        <a:pt x="1045" y="1184"/>
                      </a:lnTo>
                      <a:lnTo>
                        <a:pt x="1042" y="1184"/>
                      </a:lnTo>
                      <a:lnTo>
                        <a:pt x="1041" y="1185"/>
                      </a:lnTo>
                      <a:lnTo>
                        <a:pt x="1040" y="1186"/>
                      </a:lnTo>
                      <a:lnTo>
                        <a:pt x="1040" y="1187"/>
                      </a:lnTo>
                      <a:lnTo>
                        <a:pt x="1041" y="1189"/>
                      </a:lnTo>
                      <a:lnTo>
                        <a:pt x="1041" y="1191"/>
                      </a:lnTo>
                      <a:lnTo>
                        <a:pt x="1041" y="1192"/>
                      </a:lnTo>
                      <a:lnTo>
                        <a:pt x="1041" y="1193"/>
                      </a:lnTo>
                      <a:lnTo>
                        <a:pt x="1041" y="1194"/>
                      </a:lnTo>
                      <a:lnTo>
                        <a:pt x="1040" y="1194"/>
                      </a:lnTo>
                      <a:lnTo>
                        <a:pt x="1039" y="1194"/>
                      </a:lnTo>
                      <a:lnTo>
                        <a:pt x="1036" y="1193"/>
                      </a:lnTo>
                      <a:lnTo>
                        <a:pt x="1027" y="1186"/>
                      </a:lnTo>
                      <a:lnTo>
                        <a:pt x="1017" y="1181"/>
                      </a:lnTo>
                      <a:lnTo>
                        <a:pt x="1007" y="1175"/>
                      </a:lnTo>
                      <a:lnTo>
                        <a:pt x="993" y="1168"/>
                      </a:lnTo>
                      <a:lnTo>
                        <a:pt x="979" y="1163"/>
                      </a:lnTo>
                      <a:lnTo>
                        <a:pt x="963" y="1160"/>
                      </a:lnTo>
                      <a:lnTo>
                        <a:pt x="943" y="1153"/>
                      </a:lnTo>
                      <a:lnTo>
                        <a:pt x="926" y="1145"/>
                      </a:lnTo>
                      <a:lnTo>
                        <a:pt x="915" y="1138"/>
                      </a:lnTo>
                      <a:lnTo>
                        <a:pt x="906" y="1131"/>
                      </a:lnTo>
                      <a:lnTo>
                        <a:pt x="896" y="1127"/>
                      </a:lnTo>
                      <a:lnTo>
                        <a:pt x="886" y="1123"/>
                      </a:lnTo>
                      <a:lnTo>
                        <a:pt x="871" y="1113"/>
                      </a:lnTo>
                      <a:lnTo>
                        <a:pt x="855" y="1103"/>
                      </a:lnTo>
                      <a:lnTo>
                        <a:pt x="853" y="1099"/>
                      </a:lnTo>
                      <a:lnTo>
                        <a:pt x="850" y="1097"/>
                      </a:lnTo>
                      <a:lnTo>
                        <a:pt x="848" y="1095"/>
                      </a:lnTo>
                      <a:lnTo>
                        <a:pt x="845" y="1093"/>
                      </a:lnTo>
                      <a:lnTo>
                        <a:pt x="844" y="1092"/>
                      </a:lnTo>
                      <a:lnTo>
                        <a:pt x="845" y="1088"/>
                      </a:lnTo>
                      <a:lnTo>
                        <a:pt x="846" y="1085"/>
                      </a:lnTo>
                      <a:lnTo>
                        <a:pt x="848" y="1083"/>
                      </a:lnTo>
                      <a:lnTo>
                        <a:pt x="849" y="1081"/>
                      </a:lnTo>
                      <a:lnTo>
                        <a:pt x="849" y="1078"/>
                      </a:lnTo>
                      <a:lnTo>
                        <a:pt x="844" y="1067"/>
                      </a:lnTo>
                      <a:lnTo>
                        <a:pt x="838" y="1058"/>
                      </a:lnTo>
                      <a:lnTo>
                        <a:pt x="829" y="1050"/>
                      </a:lnTo>
                      <a:lnTo>
                        <a:pt x="824" y="1043"/>
                      </a:lnTo>
                      <a:lnTo>
                        <a:pt x="820" y="1039"/>
                      </a:lnTo>
                      <a:lnTo>
                        <a:pt x="816" y="1034"/>
                      </a:lnTo>
                      <a:lnTo>
                        <a:pt x="810" y="1030"/>
                      </a:lnTo>
                      <a:lnTo>
                        <a:pt x="805" y="1026"/>
                      </a:lnTo>
                      <a:lnTo>
                        <a:pt x="798" y="1021"/>
                      </a:lnTo>
                      <a:lnTo>
                        <a:pt x="788" y="1010"/>
                      </a:lnTo>
                      <a:lnTo>
                        <a:pt x="778" y="1001"/>
                      </a:lnTo>
                      <a:lnTo>
                        <a:pt x="772" y="997"/>
                      </a:lnTo>
                      <a:lnTo>
                        <a:pt x="767" y="990"/>
                      </a:lnTo>
                      <a:lnTo>
                        <a:pt x="764" y="983"/>
                      </a:lnTo>
                      <a:lnTo>
                        <a:pt x="761" y="977"/>
                      </a:lnTo>
                      <a:lnTo>
                        <a:pt x="752" y="967"/>
                      </a:lnTo>
                      <a:lnTo>
                        <a:pt x="742" y="960"/>
                      </a:lnTo>
                      <a:lnTo>
                        <a:pt x="732" y="951"/>
                      </a:lnTo>
                      <a:lnTo>
                        <a:pt x="728" y="946"/>
                      </a:lnTo>
                      <a:lnTo>
                        <a:pt x="723" y="942"/>
                      </a:lnTo>
                      <a:lnTo>
                        <a:pt x="719" y="939"/>
                      </a:lnTo>
                      <a:lnTo>
                        <a:pt x="714" y="935"/>
                      </a:lnTo>
                      <a:lnTo>
                        <a:pt x="711" y="931"/>
                      </a:lnTo>
                      <a:lnTo>
                        <a:pt x="708" y="927"/>
                      </a:lnTo>
                      <a:lnTo>
                        <a:pt x="706" y="920"/>
                      </a:lnTo>
                      <a:lnTo>
                        <a:pt x="698" y="903"/>
                      </a:lnTo>
                      <a:lnTo>
                        <a:pt x="686" y="889"/>
                      </a:lnTo>
                      <a:lnTo>
                        <a:pt x="685" y="887"/>
                      </a:lnTo>
                      <a:lnTo>
                        <a:pt x="682" y="885"/>
                      </a:lnTo>
                      <a:lnTo>
                        <a:pt x="680" y="883"/>
                      </a:lnTo>
                      <a:lnTo>
                        <a:pt x="678" y="881"/>
                      </a:lnTo>
                      <a:lnTo>
                        <a:pt x="677" y="879"/>
                      </a:lnTo>
                      <a:lnTo>
                        <a:pt x="675" y="878"/>
                      </a:lnTo>
                      <a:lnTo>
                        <a:pt x="672" y="878"/>
                      </a:lnTo>
                      <a:lnTo>
                        <a:pt x="671" y="878"/>
                      </a:lnTo>
                      <a:lnTo>
                        <a:pt x="670" y="880"/>
                      </a:lnTo>
                      <a:lnTo>
                        <a:pt x="670" y="883"/>
                      </a:lnTo>
                      <a:lnTo>
                        <a:pt x="674" y="895"/>
                      </a:lnTo>
                      <a:lnTo>
                        <a:pt x="672" y="905"/>
                      </a:lnTo>
                      <a:lnTo>
                        <a:pt x="672" y="908"/>
                      </a:lnTo>
                      <a:lnTo>
                        <a:pt x="672" y="910"/>
                      </a:lnTo>
                      <a:lnTo>
                        <a:pt x="674" y="912"/>
                      </a:lnTo>
                      <a:lnTo>
                        <a:pt x="676" y="916"/>
                      </a:lnTo>
                      <a:lnTo>
                        <a:pt x="679" y="918"/>
                      </a:lnTo>
                      <a:lnTo>
                        <a:pt x="687" y="923"/>
                      </a:lnTo>
                      <a:lnTo>
                        <a:pt x="695" y="929"/>
                      </a:lnTo>
                      <a:lnTo>
                        <a:pt x="699" y="934"/>
                      </a:lnTo>
                      <a:lnTo>
                        <a:pt x="701" y="942"/>
                      </a:lnTo>
                      <a:lnTo>
                        <a:pt x="704" y="946"/>
                      </a:lnTo>
                      <a:lnTo>
                        <a:pt x="708" y="951"/>
                      </a:lnTo>
                      <a:lnTo>
                        <a:pt x="712" y="955"/>
                      </a:lnTo>
                      <a:lnTo>
                        <a:pt x="717" y="961"/>
                      </a:lnTo>
                      <a:lnTo>
                        <a:pt x="721" y="966"/>
                      </a:lnTo>
                      <a:lnTo>
                        <a:pt x="725" y="973"/>
                      </a:lnTo>
                      <a:lnTo>
                        <a:pt x="730" y="978"/>
                      </a:lnTo>
                      <a:lnTo>
                        <a:pt x="734" y="984"/>
                      </a:lnTo>
                      <a:lnTo>
                        <a:pt x="739" y="988"/>
                      </a:lnTo>
                      <a:lnTo>
                        <a:pt x="741" y="992"/>
                      </a:lnTo>
                      <a:lnTo>
                        <a:pt x="742" y="995"/>
                      </a:lnTo>
                      <a:lnTo>
                        <a:pt x="744" y="997"/>
                      </a:lnTo>
                      <a:lnTo>
                        <a:pt x="745" y="999"/>
                      </a:lnTo>
                      <a:lnTo>
                        <a:pt x="747" y="1001"/>
                      </a:lnTo>
                      <a:lnTo>
                        <a:pt x="751" y="1005"/>
                      </a:lnTo>
                      <a:lnTo>
                        <a:pt x="753" y="1009"/>
                      </a:lnTo>
                      <a:lnTo>
                        <a:pt x="755" y="1014"/>
                      </a:lnTo>
                      <a:lnTo>
                        <a:pt x="756" y="1017"/>
                      </a:lnTo>
                      <a:lnTo>
                        <a:pt x="758" y="1019"/>
                      </a:lnTo>
                      <a:lnTo>
                        <a:pt x="761" y="1020"/>
                      </a:lnTo>
                      <a:lnTo>
                        <a:pt x="763" y="1022"/>
                      </a:lnTo>
                      <a:lnTo>
                        <a:pt x="765" y="1023"/>
                      </a:lnTo>
                      <a:lnTo>
                        <a:pt x="767" y="1026"/>
                      </a:lnTo>
                      <a:lnTo>
                        <a:pt x="770" y="1029"/>
                      </a:lnTo>
                      <a:lnTo>
                        <a:pt x="774" y="1033"/>
                      </a:lnTo>
                      <a:lnTo>
                        <a:pt x="776" y="1038"/>
                      </a:lnTo>
                      <a:lnTo>
                        <a:pt x="778" y="1041"/>
                      </a:lnTo>
                      <a:lnTo>
                        <a:pt x="778" y="1042"/>
                      </a:lnTo>
                      <a:lnTo>
                        <a:pt x="777" y="1043"/>
                      </a:lnTo>
                      <a:lnTo>
                        <a:pt x="776" y="1043"/>
                      </a:lnTo>
                      <a:lnTo>
                        <a:pt x="775" y="1043"/>
                      </a:lnTo>
                      <a:lnTo>
                        <a:pt x="773" y="1043"/>
                      </a:lnTo>
                      <a:lnTo>
                        <a:pt x="772" y="1043"/>
                      </a:lnTo>
                      <a:lnTo>
                        <a:pt x="768" y="1041"/>
                      </a:lnTo>
                      <a:lnTo>
                        <a:pt x="766" y="1039"/>
                      </a:lnTo>
                      <a:lnTo>
                        <a:pt x="764" y="1037"/>
                      </a:lnTo>
                      <a:lnTo>
                        <a:pt x="762" y="1033"/>
                      </a:lnTo>
                      <a:lnTo>
                        <a:pt x="761" y="1032"/>
                      </a:lnTo>
                      <a:lnTo>
                        <a:pt x="758" y="1030"/>
                      </a:lnTo>
                      <a:lnTo>
                        <a:pt x="755" y="1028"/>
                      </a:lnTo>
                      <a:lnTo>
                        <a:pt x="752" y="1026"/>
                      </a:lnTo>
                      <a:lnTo>
                        <a:pt x="750" y="1023"/>
                      </a:lnTo>
                      <a:lnTo>
                        <a:pt x="747" y="1021"/>
                      </a:lnTo>
                      <a:lnTo>
                        <a:pt x="745" y="1018"/>
                      </a:lnTo>
                      <a:lnTo>
                        <a:pt x="742" y="1016"/>
                      </a:lnTo>
                      <a:lnTo>
                        <a:pt x="739" y="1012"/>
                      </a:lnTo>
                      <a:lnTo>
                        <a:pt x="735" y="1011"/>
                      </a:lnTo>
                      <a:lnTo>
                        <a:pt x="732" y="1010"/>
                      </a:lnTo>
                      <a:lnTo>
                        <a:pt x="729" y="1010"/>
                      </a:lnTo>
                      <a:lnTo>
                        <a:pt x="726" y="1008"/>
                      </a:lnTo>
                      <a:lnTo>
                        <a:pt x="725" y="1007"/>
                      </a:lnTo>
                      <a:lnTo>
                        <a:pt x="723" y="1004"/>
                      </a:lnTo>
                      <a:lnTo>
                        <a:pt x="722" y="996"/>
                      </a:lnTo>
                      <a:lnTo>
                        <a:pt x="722" y="988"/>
                      </a:lnTo>
                      <a:lnTo>
                        <a:pt x="719" y="983"/>
                      </a:lnTo>
                      <a:lnTo>
                        <a:pt x="712" y="977"/>
                      </a:lnTo>
                      <a:lnTo>
                        <a:pt x="707" y="973"/>
                      </a:lnTo>
                      <a:lnTo>
                        <a:pt x="699" y="971"/>
                      </a:lnTo>
                      <a:lnTo>
                        <a:pt x="692" y="967"/>
                      </a:lnTo>
                      <a:lnTo>
                        <a:pt x="688" y="962"/>
                      </a:lnTo>
                      <a:lnTo>
                        <a:pt x="686" y="955"/>
                      </a:lnTo>
                      <a:lnTo>
                        <a:pt x="687" y="949"/>
                      </a:lnTo>
                      <a:lnTo>
                        <a:pt x="687" y="942"/>
                      </a:lnTo>
                      <a:lnTo>
                        <a:pt x="684" y="935"/>
                      </a:lnTo>
                      <a:lnTo>
                        <a:pt x="679" y="932"/>
                      </a:lnTo>
                      <a:lnTo>
                        <a:pt x="674" y="928"/>
                      </a:lnTo>
                      <a:lnTo>
                        <a:pt x="669" y="923"/>
                      </a:lnTo>
                      <a:lnTo>
                        <a:pt x="666" y="920"/>
                      </a:lnTo>
                      <a:lnTo>
                        <a:pt x="664" y="918"/>
                      </a:lnTo>
                      <a:lnTo>
                        <a:pt x="661" y="916"/>
                      </a:lnTo>
                      <a:lnTo>
                        <a:pt x="660" y="913"/>
                      </a:lnTo>
                      <a:lnTo>
                        <a:pt x="658" y="910"/>
                      </a:lnTo>
                      <a:lnTo>
                        <a:pt x="657" y="907"/>
                      </a:lnTo>
                      <a:lnTo>
                        <a:pt x="650" y="897"/>
                      </a:lnTo>
                      <a:lnTo>
                        <a:pt x="643" y="887"/>
                      </a:lnTo>
                      <a:lnTo>
                        <a:pt x="635" y="876"/>
                      </a:lnTo>
                      <a:lnTo>
                        <a:pt x="621" y="856"/>
                      </a:lnTo>
                      <a:lnTo>
                        <a:pt x="609" y="836"/>
                      </a:lnTo>
                      <a:lnTo>
                        <a:pt x="601" y="827"/>
                      </a:lnTo>
                      <a:lnTo>
                        <a:pt x="591" y="821"/>
                      </a:lnTo>
                      <a:lnTo>
                        <a:pt x="582" y="814"/>
                      </a:lnTo>
                      <a:lnTo>
                        <a:pt x="569" y="804"/>
                      </a:lnTo>
                      <a:lnTo>
                        <a:pt x="557" y="792"/>
                      </a:lnTo>
                      <a:lnTo>
                        <a:pt x="546" y="777"/>
                      </a:lnTo>
                      <a:lnTo>
                        <a:pt x="538" y="760"/>
                      </a:lnTo>
                      <a:lnTo>
                        <a:pt x="532" y="745"/>
                      </a:lnTo>
                      <a:lnTo>
                        <a:pt x="527" y="735"/>
                      </a:lnTo>
                      <a:lnTo>
                        <a:pt x="523" y="725"/>
                      </a:lnTo>
                      <a:lnTo>
                        <a:pt x="522" y="721"/>
                      </a:lnTo>
                      <a:lnTo>
                        <a:pt x="519" y="718"/>
                      </a:lnTo>
                      <a:lnTo>
                        <a:pt x="517" y="715"/>
                      </a:lnTo>
                      <a:lnTo>
                        <a:pt x="514" y="713"/>
                      </a:lnTo>
                      <a:lnTo>
                        <a:pt x="512" y="710"/>
                      </a:lnTo>
                      <a:lnTo>
                        <a:pt x="510" y="704"/>
                      </a:lnTo>
                      <a:lnTo>
                        <a:pt x="507" y="699"/>
                      </a:lnTo>
                      <a:lnTo>
                        <a:pt x="505" y="692"/>
                      </a:lnTo>
                      <a:lnTo>
                        <a:pt x="504" y="689"/>
                      </a:lnTo>
                      <a:lnTo>
                        <a:pt x="502" y="687"/>
                      </a:lnTo>
                      <a:lnTo>
                        <a:pt x="500" y="683"/>
                      </a:lnTo>
                      <a:lnTo>
                        <a:pt x="499" y="680"/>
                      </a:lnTo>
                      <a:lnTo>
                        <a:pt x="499" y="677"/>
                      </a:lnTo>
                      <a:lnTo>
                        <a:pt x="497" y="668"/>
                      </a:lnTo>
                      <a:lnTo>
                        <a:pt x="497" y="661"/>
                      </a:lnTo>
                      <a:lnTo>
                        <a:pt x="499" y="655"/>
                      </a:lnTo>
                      <a:lnTo>
                        <a:pt x="497" y="645"/>
                      </a:lnTo>
                      <a:lnTo>
                        <a:pt x="496" y="635"/>
                      </a:lnTo>
                      <a:lnTo>
                        <a:pt x="490" y="615"/>
                      </a:lnTo>
                      <a:lnTo>
                        <a:pt x="490" y="606"/>
                      </a:lnTo>
                      <a:lnTo>
                        <a:pt x="491" y="600"/>
                      </a:lnTo>
                      <a:lnTo>
                        <a:pt x="492" y="593"/>
                      </a:lnTo>
                      <a:lnTo>
                        <a:pt x="493" y="574"/>
                      </a:lnTo>
                      <a:lnTo>
                        <a:pt x="492" y="556"/>
                      </a:lnTo>
                      <a:lnTo>
                        <a:pt x="490" y="538"/>
                      </a:lnTo>
                      <a:lnTo>
                        <a:pt x="490" y="516"/>
                      </a:lnTo>
                      <a:lnTo>
                        <a:pt x="488" y="512"/>
                      </a:lnTo>
                      <a:lnTo>
                        <a:pt x="486" y="508"/>
                      </a:lnTo>
                      <a:lnTo>
                        <a:pt x="484" y="506"/>
                      </a:lnTo>
                      <a:lnTo>
                        <a:pt x="483" y="503"/>
                      </a:lnTo>
                      <a:lnTo>
                        <a:pt x="481" y="498"/>
                      </a:lnTo>
                      <a:lnTo>
                        <a:pt x="480" y="492"/>
                      </a:lnTo>
                      <a:lnTo>
                        <a:pt x="478" y="484"/>
                      </a:lnTo>
                      <a:lnTo>
                        <a:pt x="479" y="478"/>
                      </a:lnTo>
                      <a:lnTo>
                        <a:pt x="481" y="476"/>
                      </a:lnTo>
                      <a:lnTo>
                        <a:pt x="488" y="478"/>
                      </a:lnTo>
                      <a:lnTo>
                        <a:pt x="494" y="484"/>
                      </a:lnTo>
                      <a:lnTo>
                        <a:pt x="501" y="487"/>
                      </a:lnTo>
                      <a:lnTo>
                        <a:pt x="504" y="487"/>
                      </a:lnTo>
                      <a:lnTo>
                        <a:pt x="506" y="487"/>
                      </a:lnTo>
                      <a:lnTo>
                        <a:pt x="508" y="485"/>
                      </a:lnTo>
                      <a:lnTo>
                        <a:pt x="510" y="482"/>
                      </a:lnTo>
                      <a:lnTo>
                        <a:pt x="510" y="478"/>
                      </a:lnTo>
                      <a:lnTo>
                        <a:pt x="508" y="474"/>
                      </a:lnTo>
                      <a:lnTo>
                        <a:pt x="507" y="470"/>
                      </a:lnTo>
                      <a:lnTo>
                        <a:pt x="504" y="466"/>
                      </a:lnTo>
                      <a:lnTo>
                        <a:pt x="499" y="465"/>
                      </a:lnTo>
                      <a:lnTo>
                        <a:pt x="492" y="465"/>
                      </a:lnTo>
                      <a:lnTo>
                        <a:pt x="488" y="465"/>
                      </a:lnTo>
                      <a:lnTo>
                        <a:pt x="482" y="466"/>
                      </a:lnTo>
                      <a:lnTo>
                        <a:pt x="477" y="470"/>
                      </a:lnTo>
                      <a:lnTo>
                        <a:pt x="472" y="471"/>
                      </a:lnTo>
                      <a:lnTo>
                        <a:pt x="468" y="470"/>
                      </a:lnTo>
                      <a:lnTo>
                        <a:pt x="463" y="463"/>
                      </a:lnTo>
                      <a:lnTo>
                        <a:pt x="452" y="449"/>
                      </a:lnTo>
                      <a:lnTo>
                        <a:pt x="441" y="437"/>
                      </a:lnTo>
                      <a:lnTo>
                        <a:pt x="435" y="429"/>
                      </a:lnTo>
                      <a:lnTo>
                        <a:pt x="431" y="420"/>
                      </a:lnTo>
                      <a:lnTo>
                        <a:pt x="430" y="410"/>
                      </a:lnTo>
                      <a:lnTo>
                        <a:pt x="433" y="399"/>
                      </a:lnTo>
                      <a:lnTo>
                        <a:pt x="434" y="396"/>
                      </a:lnTo>
                      <a:lnTo>
                        <a:pt x="434" y="393"/>
                      </a:lnTo>
                      <a:lnTo>
                        <a:pt x="433" y="389"/>
                      </a:lnTo>
                      <a:lnTo>
                        <a:pt x="431" y="386"/>
                      </a:lnTo>
                      <a:lnTo>
                        <a:pt x="430" y="382"/>
                      </a:lnTo>
                      <a:lnTo>
                        <a:pt x="430" y="373"/>
                      </a:lnTo>
                      <a:lnTo>
                        <a:pt x="430" y="372"/>
                      </a:lnTo>
                      <a:lnTo>
                        <a:pt x="431" y="371"/>
                      </a:lnTo>
                      <a:lnTo>
                        <a:pt x="433" y="371"/>
                      </a:lnTo>
                      <a:lnTo>
                        <a:pt x="433" y="368"/>
                      </a:lnTo>
                      <a:lnTo>
                        <a:pt x="434" y="366"/>
                      </a:lnTo>
                      <a:lnTo>
                        <a:pt x="434" y="365"/>
                      </a:lnTo>
                      <a:lnTo>
                        <a:pt x="431" y="363"/>
                      </a:lnTo>
                      <a:lnTo>
                        <a:pt x="429" y="361"/>
                      </a:lnTo>
                      <a:lnTo>
                        <a:pt x="427" y="360"/>
                      </a:lnTo>
                      <a:lnTo>
                        <a:pt x="426" y="357"/>
                      </a:lnTo>
                      <a:lnTo>
                        <a:pt x="424" y="354"/>
                      </a:lnTo>
                      <a:lnTo>
                        <a:pt x="423" y="350"/>
                      </a:lnTo>
                      <a:lnTo>
                        <a:pt x="420" y="346"/>
                      </a:lnTo>
                      <a:lnTo>
                        <a:pt x="419" y="343"/>
                      </a:lnTo>
                      <a:lnTo>
                        <a:pt x="419" y="339"/>
                      </a:lnTo>
                      <a:lnTo>
                        <a:pt x="419" y="332"/>
                      </a:lnTo>
                      <a:lnTo>
                        <a:pt x="418" y="324"/>
                      </a:lnTo>
                      <a:lnTo>
                        <a:pt x="418" y="319"/>
                      </a:lnTo>
                      <a:lnTo>
                        <a:pt x="417" y="317"/>
                      </a:lnTo>
                      <a:lnTo>
                        <a:pt x="416" y="318"/>
                      </a:lnTo>
                      <a:lnTo>
                        <a:pt x="415" y="320"/>
                      </a:lnTo>
                      <a:lnTo>
                        <a:pt x="415" y="322"/>
                      </a:lnTo>
                      <a:lnTo>
                        <a:pt x="414" y="324"/>
                      </a:lnTo>
                      <a:lnTo>
                        <a:pt x="413" y="327"/>
                      </a:lnTo>
                      <a:lnTo>
                        <a:pt x="410" y="328"/>
                      </a:lnTo>
                      <a:lnTo>
                        <a:pt x="409" y="328"/>
                      </a:lnTo>
                      <a:lnTo>
                        <a:pt x="407" y="328"/>
                      </a:lnTo>
                      <a:lnTo>
                        <a:pt x="405" y="328"/>
                      </a:lnTo>
                      <a:lnTo>
                        <a:pt x="403" y="328"/>
                      </a:lnTo>
                      <a:lnTo>
                        <a:pt x="401" y="327"/>
                      </a:lnTo>
                      <a:lnTo>
                        <a:pt x="399" y="325"/>
                      </a:lnTo>
                      <a:lnTo>
                        <a:pt x="398" y="328"/>
                      </a:lnTo>
                      <a:lnTo>
                        <a:pt x="396" y="330"/>
                      </a:lnTo>
                      <a:lnTo>
                        <a:pt x="396" y="330"/>
                      </a:lnTo>
                      <a:lnTo>
                        <a:pt x="395" y="330"/>
                      </a:lnTo>
                      <a:lnTo>
                        <a:pt x="395" y="329"/>
                      </a:lnTo>
                      <a:lnTo>
                        <a:pt x="395" y="327"/>
                      </a:lnTo>
                      <a:lnTo>
                        <a:pt x="395" y="324"/>
                      </a:lnTo>
                      <a:lnTo>
                        <a:pt x="395" y="321"/>
                      </a:lnTo>
                      <a:lnTo>
                        <a:pt x="395" y="319"/>
                      </a:lnTo>
                      <a:lnTo>
                        <a:pt x="395" y="317"/>
                      </a:lnTo>
                      <a:lnTo>
                        <a:pt x="395" y="313"/>
                      </a:lnTo>
                      <a:lnTo>
                        <a:pt x="395" y="312"/>
                      </a:lnTo>
                      <a:lnTo>
                        <a:pt x="393" y="309"/>
                      </a:lnTo>
                      <a:lnTo>
                        <a:pt x="392" y="306"/>
                      </a:lnTo>
                      <a:lnTo>
                        <a:pt x="390" y="305"/>
                      </a:lnTo>
                      <a:lnTo>
                        <a:pt x="387" y="302"/>
                      </a:lnTo>
                      <a:lnTo>
                        <a:pt x="386" y="299"/>
                      </a:lnTo>
                      <a:lnTo>
                        <a:pt x="387" y="296"/>
                      </a:lnTo>
                      <a:lnTo>
                        <a:pt x="388" y="292"/>
                      </a:lnTo>
                      <a:lnTo>
                        <a:pt x="391" y="289"/>
                      </a:lnTo>
                      <a:lnTo>
                        <a:pt x="393" y="286"/>
                      </a:lnTo>
                      <a:lnTo>
                        <a:pt x="394" y="284"/>
                      </a:lnTo>
                      <a:lnTo>
                        <a:pt x="394" y="281"/>
                      </a:lnTo>
                      <a:lnTo>
                        <a:pt x="393" y="279"/>
                      </a:lnTo>
                      <a:lnTo>
                        <a:pt x="392" y="277"/>
                      </a:lnTo>
                      <a:lnTo>
                        <a:pt x="391" y="275"/>
                      </a:lnTo>
                      <a:lnTo>
                        <a:pt x="388" y="269"/>
                      </a:lnTo>
                      <a:lnTo>
                        <a:pt x="386" y="264"/>
                      </a:lnTo>
                      <a:lnTo>
                        <a:pt x="384" y="259"/>
                      </a:lnTo>
                      <a:lnTo>
                        <a:pt x="382" y="255"/>
                      </a:lnTo>
                      <a:lnTo>
                        <a:pt x="380" y="253"/>
                      </a:lnTo>
                      <a:lnTo>
                        <a:pt x="380" y="251"/>
                      </a:lnTo>
                      <a:lnTo>
                        <a:pt x="379" y="247"/>
                      </a:lnTo>
                      <a:lnTo>
                        <a:pt x="379" y="245"/>
                      </a:lnTo>
                      <a:lnTo>
                        <a:pt x="379" y="243"/>
                      </a:lnTo>
                      <a:lnTo>
                        <a:pt x="379" y="241"/>
                      </a:lnTo>
                      <a:lnTo>
                        <a:pt x="377" y="240"/>
                      </a:lnTo>
                      <a:lnTo>
                        <a:pt x="376" y="237"/>
                      </a:lnTo>
                      <a:lnTo>
                        <a:pt x="375" y="235"/>
                      </a:lnTo>
                      <a:lnTo>
                        <a:pt x="373" y="235"/>
                      </a:lnTo>
                      <a:lnTo>
                        <a:pt x="372" y="233"/>
                      </a:lnTo>
                      <a:lnTo>
                        <a:pt x="371" y="231"/>
                      </a:lnTo>
                      <a:lnTo>
                        <a:pt x="370" y="230"/>
                      </a:lnTo>
                      <a:lnTo>
                        <a:pt x="369" y="227"/>
                      </a:lnTo>
                      <a:lnTo>
                        <a:pt x="368" y="226"/>
                      </a:lnTo>
                      <a:lnTo>
                        <a:pt x="366" y="226"/>
                      </a:lnTo>
                      <a:lnTo>
                        <a:pt x="365" y="227"/>
                      </a:lnTo>
                      <a:lnTo>
                        <a:pt x="364" y="231"/>
                      </a:lnTo>
                      <a:lnTo>
                        <a:pt x="364" y="232"/>
                      </a:lnTo>
                      <a:lnTo>
                        <a:pt x="363" y="234"/>
                      </a:lnTo>
                      <a:lnTo>
                        <a:pt x="362" y="237"/>
                      </a:lnTo>
                      <a:lnTo>
                        <a:pt x="361" y="240"/>
                      </a:lnTo>
                      <a:lnTo>
                        <a:pt x="360" y="243"/>
                      </a:lnTo>
                      <a:lnTo>
                        <a:pt x="359" y="244"/>
                      </a:lnTo>
                      <a:lnTo>
                        <a:pt x="358" y="244"/>
                      </a:lnTo>
                      <a:lnTo>
                        <a:pt x="355" y="240"/>
                      </a:lnTo>
                      <a:lnTo>
                        <a:pt x="353" y="234"/>
                      </a:lnTo>
                      <a:lnTo>
                        <a:pt x="353" y="226"/>
                      </a:lnTo>
                      <a:lnTo>
                        <a:pt x="353" y="222"/>
                      </a:lnTo>
                      <a:lnTo>
                        <a:pt x="354" y="220"/>
                      </a:lnTo>
                      <a:lnTo>
                        <a:pt x="355" y="218"/>
                      </a:lnTo>
                      <a:lnTo>
                        <a:pt x="357" y="216"/>
                      </a:lnTo>
                      <a:lnTo>
                        <a:pt x="358" y="214"/>
                      </a:lnTo>
                      <a:lnTo>
                        <a:pt x="358" y="211"/>
                      </a:lnTo>
                      <a:lnTo>
                        <a:pt x="358" y="209"/>
                      </a:lnTo>
                      <a:lnTo>
                        <a:pt x="358" y="205"/>
                      </a:lnTo>
                      <a:lnTo>
                        <a:pt x="357" y="201"/>
                      </a:lnTo>
                      <a:lnTo>
                        <a:pt x="354" y="197"/>
                      </a:lnTo>
                      <a:lnTo>
                        <a:pt x="353" y="193"/>
                      </a:lnTo>
                      <a:lnTo>
                        <a:pt x="351" y="190"/>
                      </a:lnTo>
                      <a:lnTo>
                        <a:pt x="350" y="189"/>
                      </a:lnTo>
                      <a:lnTo>
                        <a:pt x="348" y="187"/>
                      </a:lnTo>
                      <a:lnTo>
                        <a:pt x="347" y="185"/>
                      </a:lnTo>
                      <a:lnTo>
                        <a:pt x="347" y="183"/>
                      </a:lnTo>
                      <a:lnTo>
                        <a:pt x="347" y="181"/>
                      </a:lnTo>
                      <a:lnTo>
                        <a:pt x="348" y="180"/>
                      </a:lnTo>
                      <a:lnTo>
                        <a:pt x="348" y="178"/>
                      </a:lnTo>
                      <a:lnTo>
                        <a:pt x="347" y="176"/>
                      </a:lnTo>
                      <a:lnTo>
                        <a:pt x="344" y="175"/>
                      </a:lnTo>
                      <a:lnTo>
                        <a:pt x="343" y="176"/>
                      </a:lnTo>
                      <a:lnTo>
                        <a:pt x="341" y="177"/>
                      </a:lnTo>
                      <a:lnTo>
                        <a:pt x="339" y="177"/>
                      </a:lnTo>
                      <a:lnTo>
                        <a:pt x="338" y="178"/>
                      </a:lnTo>
                      <a:lnTo>
                        <a:pt x="333" y="178"/>
                      </a:lnTo>
                      <a:lnTo>
                        <a:pt x="332" y="177"/>
                      </a:lnTo>
                      <a:lnTo>
                        <a:pt x="331" y="176"/>
                      </a:lnTo>
                      <a:lnTo>
                        <a:pt x="331" y="175"/>
                      </a:lnTo>
                      <a:lnTo>
                        <a:pt x="331" y="174"/>
                      </a:lnTo>
                      <a:lnTo>
                        <a:pt x="331" y="174"/>
                      </a:lnTo>
                      <a:lnTo>
                        <a:pt x="329" y="176"/>
                      </a:lnTo>
                      <a:lnTo>
                        <a:pt x="327" y="177"/>
                      </a:lnTo>
                      <a:lnTo>
                        <a:pt x="325" y="178"/>
                      </a:lnTo>
                      <a:lnTo>
                        <a:pt x="324" y="178"/>
                      </a:lnTo>
                      <a:lnTo>
                        <a:pt x="322" y="176"/>
                      </a:lnTo>
                      <a:lnTo>
                        <a:pt x="320" y="172"/>
                      </a:lnTo>
                      <a:lnTo>
                        <a:pt x="318" y="169"/>
                      </a:lnTo>
                      <a:lnTo>
                        <a:pt x="318" y="165"/>
                      </a:lnTo>
                      <a:lnTo>
                        <a:pt x="318" y="160"/>
                      </a:lnTo>
                      <a:lnTo>
                        <a:pt x="317" y="158"/>
                      </a:lnTo>
                      <a:lnTo>
                        <a:pt x="316" y="157"/>
                      </a:lnTo>
                      <a:lnTo>
                        <a:pt x="315" y="156"/>
                      </a:lnTo>
                      <a:lnTo>
                        <a:pt x="313" y="155"/>
                      </a:lnTo>
                      <a:lnTo>
                        <a:pt x="311" y="154"/>
                      </a:lnTo>
                      <a:lnTo>
                        <a:pt x="307" y="148"/>
                      </a:lnTo>
                      <a:lnTo>
                        <a:pt x="305" y="141"/>
                      </a:lnTo>
                      <a:lnTo>
                        <a:pt x="301" y="134"/>
                      </a:lnTo>
                      <a:lnTo>
                        <a:pt x="298" y="129"/>
                      </a:lnTo>
                      <a:lnTo>
                        <a:pt x="297" y="129"/>
                      </a:lnTo>
                      <a:lnTo>
                        <a:pt x="297" y="127"/>
                      </a:lnTo>
                      <a:lnTo>
                        <a:pt x="297" y="126"/>
                      </a:lnTo>
                      <a:lnTo>
                        <a:pt x="297" y="123"/>
                      </a:lnTo>
                      <a:lnTo>
                        <a:pt x="296" y="121"/>
                      </a:lnTo>
                      <a:lnTo>
                        <a:pt x="296" y="120"/>
                      </a:lnTo>
                      <a:lnTo>
                        <a:pt x="296" y="117"/>
                      </a:lnTo>
                      <a:lnTo>
                        <a:pt x="296" y="116"/>
                      </a:lnTo>
                      <a:lnTo>
                        <a:pt x="295" y="114"/>
                      </a:lnTo>
                      <a:lnTo>
                        <a:pt x="295" y="114"/>
                      </a:lnTo>
                      <a:lnTo>
                        <a:pt x="294" y="114"/>
                      </a:lnTo>
                      <a:lnTo>
                        <a:pt x="289" y="116"/>
                      </a:lnTo>
                      <a:lnTo>
                        <a:pt x="286" y="123"/>
                      </a:lnTo>
                      <a:lnTo>
                        <a:pt x="284" y="129"/>
                      </a:lnTo>
                      <a:lnTo>
                        <a:pt x="283" y="136"/>
                      </a:lnTo>
                      <a:lnTo>
                        <a:pt x="281" y="139"/>
                      </a:lnTo>
                      <a:lnTo>
                        <a:pt x="279" y="142"/>
                      </a:lnTo>
                      <a:lnTo>
                        <a:pt x="277" y="143"/>
                      </a:lnTo>
                      <a:lnTo>
                        <a:pt x="276" y="143"/>
                      </a:lnTo>
                      <a:lnTo>
                        <a:pt x="274" y="142"/>
                      </a:lnTo>
                      <a:lnTo>
                        <a:pt x="272" y="141"/>
                      </a:lnTo>
                      <a:lnTo>
                        <a:pt x="270" y="138"/>
                      </a:lnTo>
                      <a:lnTo>
                        <a:pt x="268" y="136"/>
                      </a:lnTo>
                      <a:lnTo>
                        <a:pt x="266" y="135"/>
                      </a:lnTo>
                      <a:lnTo>
                        <a:pt x="265" y="134"/>
                      </a:lnTo>
                      <a:lnTo>
                        <a:pt x="257" y="131"/>
                      </a:lnTo>
                      <a:lnTo>
                        <a:pt x="249" y="129"/>
                      </a:lnTo>
                      <a:lnTo>
                        <a:pt x="241" y="134"/>
                      </a:lnTo>
                      <a:lnTo>
                        <a:pt x="239" y="135"/>
                      </a:lnTo>
                      <a:lnTo>
                        <a:pt x="238" y="135"/>
                      </a:lnTo>
                      <a:lnTo>
                        <a:pt x="237" y="134"/>
                      </a:lnTo>
                      <a:lnTo>
                        <a:pt x="235" y="132"/>
                      </a:lnTo>
                      <a:lnTo>
                        <a:pt x="234" y="129"/>
                      </a:lnTo>
                      <a:lnTo>
                        <a:pt x="233" y="127"/>
                      </a:lnTo>
                      <a:lnTo>
                        <a:pt x="232" y="124"/>
                      </a:lnTo>
                      <a:lnTo>
                        <a:pt x="231" y="122"/>
                      </a:lnTo>
                      <a:lnTo>
                        <a:pt x="229" y="120"/>
                      </a:lnTo>
                      <a:lnTo>
                        <a:pt x="228" y="118"/>
                      </a:lnTo>
                      <a:lnTo>
                        <a:pt x="226" y="118"/>
                      </a:lnTo>
                      <a:lnTo>
                        <a:pt x="224" y="120"/>
                      </a:lnTo>
                      <a:lnTo>
                        <a:pt x="222" y="120"/>
                      </a:lnTo>
                      <a:lnTo>
                        <a:pt x="221" y="118"/>
                      </a:lnTo>
                      <a:lnTo>
                        <a:pt x="220" y="117"/>
                      </a:lnTo>
                      <a:lnTo>
                        <a:pt x="219" y="116"/>
                      </a:lnTo>
                      <a:lnTo>
                        <a:pt x="218" y="114"/>
                      </a:lnTo>
                      <a:lnTo>
                        <a:pt x="218" y="112"/>
                      </a:lnTo>
                      <a:lnTo>
                        <a:pt x="217" y="110"/>
                      </a:lnTo>
                      <a:lnTo>
                        <a:pt x="212" y="109"/>
                      </a:lnTo>
                      <a:lnTo>
                        <a:pt x="207" y="109"/>
                      </a:lnTo>
                      <a:lnTo>
                        <a:pt x="202" y="111"/>
                      </a:lnTo>
                      <a:lnTo>
                        <a:pt x="199" y="114"/>
                      </a:lnTo>
                      <a:lnTo>
                        <a:pt x="198" y="117"/>
                      </a:lnTo>
                      <a:lnTo>
                        <a:pt x="198" y="120"/>
                      </a:lnTo>
                      <a:lnTo>
                        <a:pt x="199" y="122"/>
                      </a:lnTo>
                      <a:lnTo>
                        <a:pt x="200" y="124"/>
                      </a:lnTo>
                      <a:lnTo>
                        <a:pt x="201" y="125"/>
                      </a:lnTo>
                      <a:lnTo>
                        <a:pt x="202" y="127"/>
                      </a:lnTo>
                      <a:lnTo>
                        <a:pt x="202" y="129"/>
                      </a:lnTo>
                      <a:lnTo>
                        <a:pt x="201" y="132"/>
                      </a:lnTo>
                      <a:lnTo>
                        <a:pt x="200" y="134"/>
                      </a:lnTo>
                      <a:lnTo>
                        <a:pt x="199" y="136"/>
                      </a:lnTo>
                      <a:lnTo>
                        <a:pt x="198" y="137"/>
                      </a:lnTo>
                      <a:lnTo>
                        <a:pt x="196" y="138"/>
                      </a:lnTo>
                      <a:lnTo>
                        <a:pt x="195" y="138"/>
                      </a:lnTo>
                      <a:lnTo>
                        <a:pt x="191" y="141"/>
                      </a:lnTo>
                      <a:lnTo>
                        <a:pt x="189" y="143"/>
                      </a:lnTo>
                      <a:lnTo>
                        <a:pt x="187" y="145"/>
                      </a:lnTo>
                      <a:lnTo>
                        <a:pt x="186" y="147"/>
                      </a:lnTo>
                      <a:lnTo>
                        <a:pt x="184" y="150"/>
                      </a:lnTo>
                      <a:lnTo>
                        <a:pt x="182" y="153"/>
                      </a:lnTo>
                      <a:lnTo>
                        <a:pt x="179" y="154"/>
                      </a:lnTo>
                      <a:lnTo>
                        <a:pt x="177" y="156"/>
                      </a:lnTo>
                      <a:lnTo>
                        <a:pt x="175" y="157"/>
                      </a:lnTo>
                      <a:lnTo>
                        <a:pt x="173" y="159"/>
                      </a:lnTo>
                      <a:lnTo>
                        <a:pt x="170" y="160"/>
                      </a:lnTo>
                      <a:lnTo>
                        <a:pt x="168" y="161"/>
                      </a:lnTo>
                      <a:lnTo>
                        <a:pt x="166" y="163"/>
                      </a:lnTo>
                      <a:lnTo>
                        <a:pt x="165" y="163"/>
                      </a:lnTo>
                      <a:lnTo>
                        <a:pt x="165" y="161"/>
                      </a:lnTo>
                      <a:lnTo>
                        <a:pt x="165" y="159"/>
                      </a:lnTo>
                      <a:lnTo>
                        <a:pt x="165" y="157"/>
                      </a:lnTo>
                      <a:lnTo>
                        <a:pt x="165" y="154"/>
                      </a:lnTo>
                      <a:lnTo>
                        <a:pt x="165" y="150"/>
                      </a:lnTo>
                      <a:lnTo>
                        <a:pt x="166" y="148"/>
                      </a:lnTo>
                      <a:lnTo>
                        <a:pt x="166" y="146"/>
                      </a:lnTo>
                      <a:lnTo>
                        <a:pt x="166" y="145"/>
                      </a:lnTo>
                      <a:lnTo>
                        <a:pt x="166" y="143"/>
                      </a:lnTo>
                      <a:lnTo>
                        <a:pt x="165" y="142"/>
                      </a:lnTo>
                      <a:lnTo>
                        <a:pt x="164" y="141"/>
                      </a:lnTo>
                      <a:lnTo>
                        <a:pt x="164" y="139"/>
                      </a:lnTo>
                      <a:lnTo>
                        <a:pt x="163" y="138"/>
                      </a:lnTo>
                      <a:lnTo>
                        <a:pt x="163" y="136"/>
                      </a:lnTo>
                      <a:lnTo>
                        <a:pt x="164" y="134"/>
                      </a:lnTo>
                      <a:lnTo>
                        <a:pt x="166" y="129"/>
                      </a:lnTo>
                      <a:lnTo>
                        <a:pt x="168" y="124"/>
                      </a:lnTo>
                      <a:lnTo>
                        <a:pt x="170" y="118"/>
                      </a:lnTo>
                      <a:lnTo>
                        <a:pt x="170" y="115"/>
                      </a:lnTo>
                      <a:lnTo>
                        <a:pt x="172" y="113"/>
                      </a:lnTo>
                      <a:lnTo>
                        <a:pt x="173" y="112"/>
                      </a:lnTo>
                      <a:lnTo>
                        <a:pt x="175" y="112"/>
                      </a:lnTo>
                      <a:lnTo>
                        <a:pt x="177" y="112"/>
                      </a:lnTo>
                      <a:lnTo>
                        <a:pt x="178" y="111"/>
                      </a:lnTo>
                      <a:lnTo>
                        <a:pt x="179" y="109"/>
                      </a:lnTo>
                      <a:lnTo>
                        <a:pt x="180" y="106"/>
                      </a:lnTo>
                      <a:lnTo>
                        <a:pt x="182" y="103"/>
                      </a:lnTo>
                      <a:lnTo>
                        <a:pt x="182" y="100"/>
                      </a:lnTo>
                      <a:lnTo>
                        <a:pt x="182" y="99"/>
                      </a:lnTo>
                      <a:lnTo>
                        <a:pt x="180" y="98"/>
                      </a:lnTo>
                      <a:lnTo>
                        <a:pt x="179" y="96"/>
                      </a:lnTo>
                      <a:lnTo>
                        <a:pt x="177" y="98"/>
                      </a:lnTo>
                      <a:lnTo>
                        <a:pt x="175" y="99"/>
                      </a:lnTo>
                      <a:lnTo>
                        <a:pt x="174" y="100"/>
                      </a:lnTo>
                      <a:lnTo>
                        <a:pt x="172" y="102"/>
                      </a:lnTo>
                      <a:lnTo>
                        <a:pt x="170" y="104"/>
                      </a:lnTo>
                      <a:lnTo>
                        <a:pt x="168" y="105"/>
                      </a:lnTo>
                      <a:lnTo>
                        <a:pt x="168" y="107"/>
                      </a:lnTo>
                      <a:lnTo>
                        <a:pt x="162" y="121"/>
                      </a:lnTo>
                      <a:lnTo>
                        <a:pt x="158" y="123"/>
                      </a:lnTo>
                      <a:lnTo>
                        <a:pt x="157" y="124"/>
                      </a:lnTo>
                      <a:lnTo>
                        <a:pt x="157" y="126"/>
                      </a:lnTo>
                      <a:lnTo>
                        <a:pt x="157" y="129"/>
                      </a:lnTo>
                      <a:lnTo>
                        <a:pt x="157" y="135"/>
                      </a:lnTo>
                      <a:lnTo>
                        <a:pt x="156" y="141"/>
                      </a:lnTo>
                      <a:lnTo>
                        <a:pt x="155" y="145"/>
                      </a:lnTo>
                      <a:lnTo>
                        <a:pt x="153" y="147"/>
                      </a:lnTo>
                      <a:lnTo>
                        <a:pt x="152" y="148"/>
                      </a:lnTo>
                      <a:lnTo>
                        <a:pt x="150" y="148"/>
                      </a:lnTo>
                      <a:lnTo>
                        <a:pt x="147" y="149"/>
                      </a:lnTo>
                      <a:lnTo>
                        <a:pt x="146" y="152"/>
                      </a:lnTo>
                      <a:lnTo>
                        <a:pt x="144" y="155"/>
                      </a:lnTo>
                      <a:lnTo>
                        <a:pt x="144" y="157"/>
                      </a:lnTo>
                      <a:lnTo>
                        <a:pt x="144" y="159"/>
                      </a:lnTo>
                      <a:lnTo>
                        <a:pt x="144" y="160"/>
                      </a:lnTo>
                      <a:lnTo>
                        <a:pt x="145" y="161"/>
                      </a:lnTo>
                      <a:lnTo>
                        <a:pt x="145" y="163"/>
                      </a:lnTo>
                      <a:lnTo>
                        <a:pt x="146" y="165"/>
                      </a:lnTo>
                      <a:lnTo>
                        <a:pt x="145" y="168"/>
                      </a:lnTo>
                      <a:lnTo>
                        <a:pt x="144" y="169"/>
                      </a:lnTo>
                      <a:lnTo>
                        <a:pt x="143" y="171"/>
                      </a:lnTo>
                      <a:lnTo>
                        <a:pt x="142" y="171"/>
                      </a:lnTo>
                      <a:lnTo>
                        <a:pt x="140" y="170"/>
                      </a:lnTo>
                      <a:lnTo>
                        <a:pt x="137" y="169"/>
                      </a:lnTo>
                      <a:lnTo>
                        <a:pt x="135" y="169"/>
                      </a:lnTo>
                      <a:lnTo>
                        <a:pt x="134" y="171"/>
                      </a:lnTo>
                      <a:lnTo>
                        <a:pt x="134" y="174"/>
                      </a:lnTo>
                      <a:lnTo>
                        <a:pt x="135" y="176"/>
                      </a:lnTo>
                      <a:lnTo>
                        <a:pt x="136" y="177"/>
                      </a:lnTo>
                      <a:lnTo>
                        <a:pt x="137" y="178"/>
                      </a:lnTo>
                      <a:lnTo>
                        <a:pt x="139" y="179"/>
                      </a:lnTo>
                      <a:lnTo>
                        <a:pt x="141" y="181"/>
                      </a:lnTo>
                      <a:lnTo>
                        <a:pt x="142" y="182"/>
                      </a:lnTo>
                      <a:lnTo>
                        <a:pt x="142" y="185"/>
                      </a:lnTo>
                      <a:lnTo>
                        <a:pt x="143" y="186"/>
                      </a:lnTo>
                      <a:lnTo>
                        <a:pt x="142" y="189"/>
                      </a:lnTo>
                      <a:lnTo>
                        <a:pt x="142" y="191"/>
                      </a:lnTo>
                      <a:lnTo>
                        <a:pt x="140" y="196"/>
                      </a:lnTo>
                      <a:lnTo>
                        <a:pt x="139" y="200"/>
                      </a:lnTo>
                      <a:lnTo>
                        <a:pt x="136" y="203"/>
                      </a:lnTo>
                      <a:lnTo>
                        <a:pt x="134" y="205"/>
                      </a:lnTo>
                      <a:lnTo>
                        <a:pt x="131" y="208"/>
                      </a:lnTo>
                      <a:lnTo>
                        <a:pt x="129" y="210"/>
                      </a:lnTo>
                      <a:lnTo>
                        <a:pt x="126" y="211"/>
                      </a:lnTo>
                      <a:lnTo>
                        <a:pt x="124" y="213"/>
                      </a:lnTo>
                      <a:lnTo>
                        <a:pt x="118" y="219"/>
                      </a:lnTo>
                      <a:lnTo>
                        <a:pt x="113" y="227"/>
                      </a:lnTo>
                      <a:lnTo>
                        <a:pt x="109" y="237"/>
                      </a:lnTo>
                      <a:lnTo>
                        <a:pt x="108" y="240"/>
                      </a:lnTo>
                      <a:lnTo>
                        <a:pt x="107" y="242"/>
                      </a:lnTo>
                      <a:lnTo>
                        <a:pt x="107" y="244"/>
                      </a:lnTo>
                      <a:lnTo>
                        <a:pt x="107" y="246"/>
                      </a:lnTo>
                      <a:lnTo>
                        <a:pt x="103" y="247"/>
                      </a:lnTo>
                      <a:lnTo>
                        <a:pt x="101" y="248"/>
                      </a:lnTo>
                      <a:lnTo>
                        <a:pt x="99" y="249"/>
                      </a:lnTo>
                      <a:lnTo>
                        <a:pt x="98" y="253"/>
                      </a:lnTo>
                      <a:lnTo>
                        <a:pt x="96" y="258"/>
                      </a:lnTo>
                      <a:lnTo>
                        <a:pt x="92" y="264"/>
                      </a:lnTo>
                      <a:lnTo>
                        <a:pt x="90" y="267"/>
                      </a:lnTo>
                      <a:lnTo>
                        <a:pt x="87" y="270"/>
                      </a:lnTo>
                      <a:lnTo>
                        <a:pt x="85" y="272"/>
                      </a:lnTo>
                      <a:lnTo>
                        <a:pt x="82" y="273"/>
                      </a:lnTo>
                      <a:lnTo>
                        <a:pt x="80" y="272"/>
                      </a:lnTo>
                      <a:lnTo>
                        <a:pt x="79" y="270"/>
                      </a:lnTo>
                      <a:lnTo>
                        <a:pt x="78" y="267"/>
                      </a:lnTo>
                      <a:lnTo>
                        <a:pt x="78" y="264"/>
                      </a:lnTo>
                      <a:lnTo>
                        <a:pt x="78" y="261"/>
                      </a:lnTo>
                      <a:lnTo>
                        <a:pt x="78" y="257"/>
                      </a:lnTo>
                      <a:lnTo>
                        <a:pt x="79" y="255"/>
                      </a:lnTo>
                      <a:lnTo>
                        <a:pt x="80" y="253"/>
                      </a:lnTo>
                      <a:lnTo>
                        <a:pt x="81" y="252"/>
                      </a:lnTo>
                      <a:lnTo>
                        <a:pt x="82" y="252"/>
                      </a:lnTo>
                      <a:lnTo>
                        <a:pt x="84" y="251"/>
                      </a:lnTo>
                      <a:lnTo>
                        <a:pt x="85" y="249"/>
                      </a:lnTo>
                      <a:lnTo>
                        <a:pt x="87" y="248"/>
                      </a:lnTo>
                      <a:lnTo>
                        <a:pt x="88" y="246"/>
                      </a:lnTo>
                      <a:lnTo>
                        <a:pt x="88" y="244"/>
                      </a:lnTo>
                      <a:lnTo>
                        <a:pt x="89" y="243"/>
                      </a:lnTo>
                      <a:lnTo>
                        <a:pt x="90" y="242"/>
                      </a:lnTo>
                      <a:lnTo>
                        <a:pt x="91" y="240"/>
                      </a:lnTo>
                      <a:lnTo>
                        <a:pt x="92" y="237"/>
                      </a:lnTo>
                      <a:lnTo>
                        <a:pt x="93" y="236"/>
                      </a:lnTo>
                      <a:lnTo>
                        <a:pt x="95" y="233"/>
                      </a:lnTo>
                      <a:lnTo>
                        <a:pt x="95" y="231"/>
                      </a:lnTo>
                      <a:lnTo>
                        <a:pt x="96" y="229"/>
                      </a:lnTo>
                      <a:lnTo>
                        <a:pt x="96" y="226"/>
                      </a:lnTo>
                      <a:lnTo>
                        <a:pt x="97" y="225"/>
                      </a:lnTo>
                      <a:lnTo>
                        <a:pt x="99" y="224"/>
                      </a:lnTo>
                      <a:lnTo>
                        <a:pt x="100" y="223"/>
                      </a:lnTo>
                      <a:lnTo>
                        <a:pt x="102" y="222"/>
                      </a:lnTo>
                      <a:lnTo>
                        <a:pt x="102" y="219"/>
                      </a:lnTo>
                      <a:lnTo>
                        <a:pt x="103" y="215"/>
                      </a:lnTo>
                      <a:lnTo>
                        <a:pt x="103" y="213"/>
                      </a:lnTo>
                      <a:lnTo>
                        <a:pt x="104" y="211"/>
                      </a:lnTo>
                      <a:lnTo>
                        <a:pt x="104" y="203"/>
                      </a:lnTo>
                      <a:lnTo>
                        <a:pt x="107" y="197"/>
                      </a:lnTo>
                      <a:lnTo>
                        <a:pt x="109" y="191"/>
                      </a:lnTo>
                      <a:lnTo>
                        <a:pt x="109" y="189"/>
                      </a:lnTo>
                      <a:lnTo>
                        <a:pt x="109" y="187"/>
                      </a:lnTo>
                      <a:lnTo>
                        <a:pt x="110" y="185"/>
                      </a:lnTo>
                      <a:lnTo>
                        <a:pt x="111" y="181"/>
                      </a:lnTo>
                      <a:lnTo>
                        <a:pt x="111" y="180"/>
                      </a:lnTo>
                      <a:lnTo>
                        <a:pt x="109" y="179"/>
                      </a:lnTo>
                      <a:lnTo>
                        <a:pt x="108" y="179"/>
                      </a:lnTo>
                      <a:lnTo>
                        <a:pt x="107" y="180"/>
                      </a:lnTo>
                      <a:lnTo>
                        <a:pt x="107" y="180"/>
                      </a:lnTo>
                      <a:lnTo>
                        <a:pt x="106" y="182"/>
                      </a:lnTo>
                      <a:lnTo>
                        <a:pt x="104" y="185"/>
                      </a:lnTo>
                      <a:lnTo>
                        <a:pt x="103" y="187"/>
                      </a:lnTo>
                      <a:lnTo>
                        <a:pt x="102" y="187"/>
                      </a:lnTo>
                      <a:lnTo>
                        <a:pt x="101" y="187"/>
                      </a:lnTo>
                      <a:lnTo>
                        <a:pt x="100" y="185"/>
                      </a:lnTo>
                      <a:lnTo>
                        <a:pt x="100" y="183"/>
                      </a:lnTo>
                      <a:lnTo>
                        <a:pt x="100" y="182"/>
                      </a:lnTo>
                      <a:lnTo>
                        <a:pt x="99" y="180"/>
                      </a:lnTo>
                      <a:lnTo>
                        <a:pt x="99" y="179"/>
                      </a:lnTo>
                      <a:lnTo>
                        <a:pt x="99" y="178"/>
                      </a:lnTo>
                      <a:lnTo>
                        <a:pt x="98" y="178"/>
                      </a:lnTo>
                      <a:lnTo>
                        <a:pt x="97" y="179"/>
                      </a:lnTo>
                      <a:lnTo>
                        <a:pt x="96" y="180"/>
                      </a:lnTo>
                      <a:lnTo>
                        <a:pt x="95" y="182"/>
                      </a:lnTo>
                      <a:lnTo>
                        <a:pt x="93" y="185"/>
                      </a:lnTo>
                      <a:lnTo>
                        <a:pt x="93" y="187"/>
                      </a:lnTo>
                      <a:lnTo>
                        <a:pt x="92" y="188"/>
                      </a:lnTo>
                      <a:lnTo>
                        <a:pt x="92" y="190"/>
                      </a:lnTo>
                      <a:lnTo>
                        <a:pt x="92" y="192"/>
                      </a:lnTo>
                      <a:lnTo>
                        <a:pt x="91" y="193"/>
                      </a:lnTo>
                      <a:lnTo>
                        <a:pt x="91" y="196"/>
                      </a:lnTo>
                      <a:lnTo>
                        <a:pt x="90" y="197"/>
                      </a:lnTo>
                      <a:lnTo>
                        <a:pt x="90" y="197"/>
                      </a:lnTo>
                      <a:lnTo>
                        <a:pt x="89" y="197"/>
                      </a:lnTo>
                      <a:lnTo>
                        <a:pt x="88" y="196"/>
                      </a:lnTo>
                      <a:lnTo>
                        <a:pt x="87" y="193"/>
                      </a:lnTo>
                      <a:lnTo>
                        <a:pt x="87" y="192"/>
                      </a:lnTo>
                      <a:lnTo>
                        <a:pt x="87" y="191"/>
                      </a:lnTo>
                      <a:lnTo>
                        <a:pt x="86" y="189"/>
                      </a:lnTo>
                      <a:lnTo>
                        <a:pt x="85" y="186"/>
                      </a:lnTo>
                      <a:lnTo>
                        <a:pt x="82" y="183"/>
                      </a:lnTo>
                      <a:lnTo>
                        <a:pt x="80" y="182"/>
                      </a:lnTo>
                      <a:lnTo>
                        <a:pt x="79" y="181"/>
                      </a:lnTo>
                      <a:lnTo>
                        <a:pt x="77" y="181"/>
                      </a:lnTo>
                      <a:lnTo>
                        <a:pt x="75" y="183"/>
                      </a:lnTo>
                      <a:lnTo>
                        <a:pt x="74" y="187"/>
                      </a:lnTo>
                      <a:lnTo>
                        <a:pt x="71" y="189"/>
                      </a:lnTo>
                      <a:lnTo>
                        <a:pt x="70" y="191"/>
                      </a:lnTo>
                      <a:lnTo>
                        <a:pt x="69" y="192"/>
                      </a:lnTo>
                      <a:lnTo>
                        <a:pt x="69" y="193"/>
                      </a:lnTo>
                      <a:lnTo>
                        <a:pt x="67" y="193"/>
                      </a:lnTo>
                      <a:lnTo>
                        <a:pt x="67" y="193"/>
                      </a:lnTo>
                      <a:lnTo>
                        <a:pt x="66" y="192"/>
                      </a:lnTo>
                      <a:lnTo>
                        <a:pt x="66" y="191"/>
                      </a:lnTo>
                      <a:lnTo>
                        <a:pt x="66" y="189"/>
                      </a:lnTo>
                      <a:lnTo>
                        <a:pt x="67" y="188"/>
                      </a:lnTo>
                      <a:lnTo>
                        <a:pt x="67" y="187"/>
                      </a:lnTo>
                      <a:lnTo>
                        <a:pt x="67" y="183"/>
                      </a:lnTo>
                      <a:lnTo>
                        <a:pt x="67" y="181"/>
                      </a:lnTo>
                      <a:lnTo>
                        <a:pt x="67" y="179"/>
                      </a:lnTo>
                      <a:lnTo>
                        <a:pt x="66" y="177"/>
                      </a:lnTo>
                      <a:lnTo>
                        <a:pt x="66" y="175"/>
                      </a:lnTo>
                      <a:lnTo>
                        <a:pt x="67" y="171"/>
                      </a:lnTo>
                      <a:lnTo>
                        <a:pt x="68" y="168"/>
                      </a:lnTo>
                      <a:lnTo>
                        <a:pt x="68" y="165"/>
                      </a:lnTo>
                      <a:lnTo>
                        <a:pt x="68" y="163"/>
                      </a:lnTo>
                      <a:lnTo>
                        <a:pt x="68" y="160"/>
                      </a:lnTo>
                      <a:lnTo>
                        <a:pt x="67" y="158"/>
                      </a:lnTo>
                      <a:lnTo>
                        <a:pt x="67" y="156"/>
                      </a:lnTo>
                      <a:lnTo>
                        <a:pt x="66" y="154"/>
                      </a:lnTo>
                      <a:lnTo>
                        <a:pt x="65" y="152"/>
                      </a:lnTo>
                      <a:lnTo>
                        <a:pt x="65" y="150"/>
                      </a:lnTo>
                      <a:lnTo>
                        <a:pt x="64" y="150"/>
                      </a:lnTo>
                      <a:lnTo>
                        <a:pt x="63" y="152"/>
                      </a:lnTo>
                      <a:lnTo>
                        <a:pt x="62" y="154"/>
                      </a:lnTo>
                      <a:lnTo>
                        <a:pt x="60" y="156"/>
                      </a:lnTo>
                      <a:lnTo>
                        <a:pt x="59" y="158"/>
                      </a:lnTo>
                      <a:lnTo>
                        <a:pt x="59" y="159"/>
                      </a:lnTo>
                      <a:lnTo>
                        <a:pt x="58" y="160"/>
                      </a:lnTo>
                      <a:lnTo>
                        <a:pt x="56" y="159"/>
                      </a:lnTo>
                      <a:lnTo>
                        <a:pt x="54" y="157"/>
                      </a:lnTo>
                      <a:lnTo>
                        <a:pt x="52" y="154"/>
                      </a:lnTo>
                      <a:lnTo>
                        <a:pt x="49" y="150"/>
                      </a:lnTo>
                      <a:lnTo>
                        <a:pt x="47" y="147"/>
                      </a:lnTo>
                      <a:lnTo>
                        <a:pt x="45" y="145"/>
                      </a:lnTo>
                      <a:lnTo>
                        <a:pt x="44" y="144"/>
                      </a:lnTo>
                      <a:lnTo>
                        <a:pt x="43" y="143"/>
                      </a:lnTo>
                      <a:lnTo>
                        <a:pt x="42" y="142"/>
                      </a:lnTo>
                      <a:lnTo>
                        <a:pt x="41" y="139"/>
                      </a:lnTo>
                      <a:lnTo>
                        <a:pt x="39" y="138"/>
                      </a:lnTo>
                      <a:lnTo>
                        <a:pt x="39" y="137"/>
                      </a:lnTo>
                      <a:lnTo>
                        <a:pt x="39" y="136"/>
                      </a:lnTo>
                      <a:lnTo>
                        <a:pt x="41" y="136"/>
                      </a:lnTo>
                      <a:lnTo>
                        <a:pt x="43" y="136"/>
                      </a:lnTo>
                      <a:lnTo>
                        <a:pt x="47" y="137"/>
                      </a:lnTo>
                      <a:lnTo>
                        <a:pt x="52" y="137"/>
                      </a:lnTo>
                      <a:lnTo>
                        <a:pt x="56" y="136"/>
                      </a:lnTo>
                      <a:lnTo>
                        <a:pt x="57" y="134"/>
                      </a:lnTo>
                      <a:lnTo>
                        <a:pt x="57" y="133"/>
                      </a:lnTo>
                      <a:lnTo>
                        <a:pt x="57" y="132"/>
                      </a:lnTo>
                      <a:lnTo>
                        <a:pt x="56" y="132"/>
                      </a:lnTo>
                      <a:lnTo>
                        <a:pt x="54" y="132"/>
                      </a:lnTo>
                      <a:lnTo>
                        <a:pt x="53" y="132"/>
                      </a:lnTo>
                      <a:lnTo>
                        <a:pt x="50" y="132"/>
                      </a:lnTo>
                      <a:lnTo>
                        <a:pt x="49" y="132"/>
                      </a:lnTo>
                      <a:lnTo>
                        <a:pt x="49" y="132"/>
                      </a:lnTo>
                      <a:lnTo>
                        <a:pt x="47" y="131"/>
                      </a:lnTo>
                      <a:lnTo>
                        <a:pt x="46" y="129"/>
                      </a:lnTo>
                      <a:lnTo>
                        <a:pt x="44" y="127"/>
                      </a:lnTo>
                      <a:lnTo>
                        <a:pt x="43" y="125"/>
                      </a:lnTo>
                      <a:lnTo>
                        <a:pt x="42" y="124"/>
                      </a:lnTo>
                      <a:lnTo>
                        <a:pt x="41" y="124"/>
                      </a:lnTo>
                      <a:lnTo>
                        <a:pt x="39" y="124"/>
                      </a:lnTo>
                      <a:lnTo>
                        <a:pt x="39" y="123"/>
                      </a:lnTo>
                      <a:lnTo>
                        <a:pt x="38" y="121"/>
                      </a:lnTo>
                      <a:lnTo>
                        <a:pt x="38" y="120"/>
                      </a:lnTo>
                      <a:lnTo>
                        <a:pt x="38" y="117"/>
                      </a:lnTo>
                      <a:lnTo>
                        <a:pt x="38" y="114"/>
                      </a:lnTo>
                      <a:lnTo>
                        <a:pt x="37" y="112"/>
                      </a:lnTo>
                      <a:lnTo>
                        <a:pt x="37" y="109"/>
                      </a:lnTo>
                      <a:lnTo>
                        <a:pt x="37" y="106"/>
                      </a:lnTo>
                      <a:lnTo>
                        <a:pt x="36" y="105"/>
                      </a:lnTo>
                      <a:lnTo>
                        <a:pt x="36" y="105"/>
                      </a:lnTo>
                      <a:lnTo>
                        <a:pt x="37" y="102"/>
                      </a:lnTo>
                      <a:lnTo>
                        <a:pt x="41" y="98"/>
                      </a:lnTo>
                      <a:lnTo>
                        <a:pt x="43" y="93"/>
                      </a:lnTo>
                      <a:lnTo>
                        <a:pt x="45" y="88"/>
                      </a:lnTo>
                      <a:lnTo>
                        <a:pt x="45" y="87"/>
                      </a:lnTo>
                      <a:lnTo>
                        <a:pt x="45" y="84"/>
                      </a:lnTo>
                      <a:lnTo>
                        <a:pt x="45" y="83"/>
                      </a:lnTo>
                      <a:lnTo>
                        <a:pt x="46" y="82"/>
                      </a:lnTo>
                      <a:lnTo>
                        <a:pt x="47" y="81"/>
                      </a:lnTo>
                      <a:lnTo>
                        <a:pt x="49" y="80"/>
                      </a:lnTo>
                      <a:lnTo>
                        <a:pt x="50" y="78"/>
                      </a:lnTo>
                      <a:lnTo>
                        <a:pt x="50" y="76"/>
                      </a:lnTo>
                      <a:lnTo>
                        <a:pt x="52" y="73"/>
                      </a:lnTo>
                      <a:lnTo>
                        <a:pt x="52" y="70"/>
                      </a:lnTo>
                      <a:lnTo>
                        <a:pt x="52" y="66"/>
                      </a:lnTo>
                      <a:lnTo>
                        <a:pt x="52" y="61"/>
                      </a:lnTo>
                      <a:lnTo>
                        <a:pt x="54" y="57"/>
                      </a:lnTo>
                      <a:lnTo>
                        <a:pt x="55" y="55"/>
                      </a:lnTo>
                      <a:lnTo>
                        <a:pt x="56" y="54"/>
                      </a:lnTo>
                      <a:lnTo>
                        <a:pt x="57" y="54"/>
                      </a:lnTo>
                      <a:lnTo>
                        <a:pt x="58" y="55"/>
                      </a:lnTo>
                      <a:lnTo>
                        <a:pt x="58" y="56"/>
                      </a:lnTo>
                      <a:lnTo>
                        <a:pt x="59" y="57"/>
                      </a:lnTo>
                      <a:lnTo>
                        <a:pt x="59" y="59"/>
                      </a:lnTo>
                      <a:lnTo>
                        <a:pt x="59" y="60"/>
                      </a:lnTo>
                      <a:lnTo>
                        <a:pt x="60" y="60"/>
                      </a:lnTo>
                      <a:lnTo>
                        <a:pt x="62" y="60"/>
                      </a:lnTo>
                      <a:lnTo>
                        <a:pt x="63" y="59"/>
                      </a:lnTo>
                      <a:lnTo>
                        <a:pt x="65" y="57"/>
                      </a:lnTo>
                      <a:lnTo>
                        <a:pt x="67" y="55"/>
                      </a:lnTo>
                      <a:lnTo>
                        <a:pt x="68" y="51"/>
                      </a:lnTo>
                      <a:lnTo>
                        <a:pt x="69" y="49"/>
                      </a:lnTo>
                      <a:lnTo>
                        <a:pt x="71" y="48"/>
                      </a:lnTo>
                      <a:lnTo>
                        <a:pt x="73" y="48"/>
                      </a:lnTo>
                      <a:lnTo>
                        <a:pt x="75" y="49"/>
                      </a:lnTo>
                      <a:lnTo>
                        <a:pt x="77" y="49"/>
                      </a:lnTo>
                      <a:lnTo>
                        <a:pt x="78" y="49"/>
                      </a:lnTo>
                      <a:lnTo>
                        <a:pt x="80" y="48"/>
                      </a:lnTo>
                      <a:lnTo>
                        <a:pt x="81" y="47"/>
                      </a:lnTo>
                      <a:lnTo>
                        <a:pt x="82" y="44"/>
                      </a:lnTo>
                      <a:lnTo>
                        <a:pt x="84" y="40"/>
                      </a:lnTo>
                      <a:lnTo>
                        <a:pt x="86" y="37"/>
                      </a:lnTo>
                      <a:lnTo>
                        <a:pt x="86" y="34"/>
                      </a:lnTo>
                      <a:lnTo>
                        <a:pt x="87" y="30"/>
                      </a:lnTo>
                      <a:lnTo>
                        <a:pt x="87" y="17"/>
                      </a:lnTo>
                      <a:lnTo>
                        <a:pt x="87" y="16"/>
                      </a:lnTo>
                      <a:lnTo>
                        <a:pt x="88" y="14"/>
                      </a:lnTo>
                      <a:lnTo>
                        <a:pt x="89" y="11"/>
                      </a:lnTo>
                      <a:lnTo>
                        <a:pt x="89" y="8"/>
                      </a:lnTo>
                      <a:lnTo>
                        <a:pt x="90" y="7"/>
                      </a:lnTo>
                      <a:lnTo>
                        <a:pt x="91" y="4"/>
                      </a:lnTo>
                      <a:lnTo>
                        <a:pt x="90" y="4"/>
                      </a:lnTo>
                      <a:lnTo>
                        <a:pt x="90" y="3"/>
                      </a:lnTo>
                      <a:lnTo>
                        <a:pt x="91" y="2"/>
                      </a:lnTo>
                      <a:lnTo>
                        <a:pt x="91" y="2"/>
                      </a:lnTo>
                      <a:lnTo>
                        <a:pt x="92" y="2"/>
                      </a:lnTo>
                      <a:lnTo>
                        <a:pt x="92" y="1"/>
                      </a:lnTo>
                      <a:lnTo>
                        <a:pt x="9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7" name="Freeform 34"/>
                <p:cNvSpPr>
                  <a:spLocks noEditPoints="1"/>
                </p:cNvSpPr>
                <p:nvPr/>
              </p:nvSpPr>
              <p:spPr bwMode="auto">
                <a:xfrm>
                  <a:off x="5640" y="775"/>
                  <a:ext cx="364" cy="127"/>
                </a:xfrm>
                <a:custGeom>
                  <a:avLst/>
                  <a:gdLst>
                    <a:gd name="T0" fmla="*/ 91 w 2549"/>
                    <a:gd name="T1" fmla="*/ 275 h 889"/>
                    <a:gd name="T2" fmla="*/ 225 w 2549"/>
                    <a:gd name="T3" fmla="*/ 221 h 889"/>
                    <a:gd name="T4" fmla="*/ 765 w 2549"/>
                    <a:gd name="T5" fmla="*/ 187 h 889"/>
                    <a:gd name="T6" fmla="*/ 835 w 2549"/>
                    <a:gd name="T7" fmla="*/ 167 h 889"/>
                    <a:gd name="T8" fmla="*/ 2285 w 2549"/>
                    <a:gd name="T9" fmla="*/ 155 h 889"/>
                    <a:gd name="T10" fmla="*/ 1753 w 2549"/>
                    <a:gd name="T11" fmla="*/ 120 h 889"/>
                    <a:gd name="T12" fmla="*/ 1785 w 2549"/>
                    <a:gd name="T13" fmla="*/ 131 h 889"/>
                    <a:gd name="T14" fmla="*/ 1835 w 2549"/>
                    <a:gd name="T15" fmla="*/ 147 h 889"/>
                    <a:gd name="T16" fmla="*/ 1787 w 2549"/>
                    <a:gd name="T17" fmla="*/ 226 h 889"/>
                    <a:gd name="T18" fmla="*/ 1752 w 2549"/>
                    <a:gd name="T19" fmla="*/ 167 h 889"/>
                    <a:gd name="T20" fmla="*/ 1744 w 2549"/>
                    <a:gd name="T21" fmla="*/ 130 h 889"/>
                    <a:gd name="T22" fmla="*/ 724 w 2549"/>
                    <a:gd name="T23" fmla="*/ 88 h 889"/>
                    <a:gd name="T24" fmla="*/ 724 w 2549"/>
                    <a:gd name="T25" fmla="*/ 153 h 889"/>
                    <a:gd name="T26" fmla="*/ 687 w 2549"/>
                    <a:gd name="T27" fmla="*/ 115 h 889"/>
                    <a:gd name="T28" fmla="*/ 1 w 2549"/>
                    <a:gd name="T29" fmla="*/ 98 h 889"/>
                    <a:gd name="T30" fmla="*/ 60 w 2549"/>
                    <a:gd name="T31" fmla="*/ 120 h 889"/>
                    <a:gd name="T32" fmla="*/ 89 w 2549"/>
                    <a:gd name="T33" fmla="*/ 76 h 889"/>
                    <a:gd name="T34" fmla="*/ 2549 w 2549"/>
                    <a:gd name="T35" fmla="*/ 442 h 889"/>
                    <a:gd name="T36" fmla="*/ 2216 w 2549"/>
                    <a:gd name="T37" fmla="*/ 682 h 889"/>
                    <a:gd name="T38" fmla="*/ 2095 w 2549"/>
                    <a:gd name="T39" fmla="*/ 732 h 889"/>
                    <a:gd name="T40" fmla="*/ 2058 w 2549"/>
                    <a:gd name="T41" fmla="*/ 748 h 889"/>
                    <a:gd name="T42" fmla="*/ 1975 w 2549"/>
                    <a:gd name="T43" fmla="*/ 852 h 889"/>
                    <a:gd name="T44" fmla="*/ 1983 w 2549"/>
                    <a:gd name="T45" fmla="*/ 768 h 889"/>
                    <a:gd name="T46" fmla="*/ 1966 w 2549"/>
                    <a:gd name="T47" fmla="*/ 666 h 889"/>
                    <a:gd name="T48" fmla="*/ 2014 w 2549"/>
                    <a:gd name="T49" fmla="*/ 628 h 889"/>
                    <a:gd name="T50" fmla="*/ 2047 w 2549"/>
                    <a:gd name="T51" fmla="*/ 551 h 889"/>
                    <a:gd name="T52" fmla="*/ 2076 w 2549"/>
                    <a:gd name="T53" fmla="*/ 449 h 889"/>
                    <a:gd name="T54" fmla="*/ 2104 w 2549"/>
                    <a:gd name="T55" fmla="*/ 519 h 889"/>
                    <a:gd name="T56" fmla="*/ 2139 w 2549"/>
                    <a:gd name="T57" fmla="*/ 515 h 889"/>
                    <a:gd name="T58" fmla="*/ 2173 w 2549"/>
                    <a:gd name="T59" fmla="*/ 462 h 889"/>
                    <a:gd name="T60" fmla="*/ 2186 w 2549"/>
                    <a:gd name="T61" fmla="*/ 399 h 889"/>
                    <a:gd name="T62" fmla="*/ 2178 w 2549"/>
                    <a:gd name="T63" fmla="*/ 386 h 889"/>
                    <a:gd name="T64" fmla="*/ 2147 w 2549"/>
                    <a:gd name="T65" fmla="*/ 345 h 889"/>
                    <a:gd name="T66" fmla="*/ 2140 w 2549"/>
                    <a:gd name="T67" fmla="*/ 227 h 889"/>
                    <a:gd name="T68" fmla="*/ 2133 w 2549"/>
                    <a:gd name="T69" fmla="*/ 376 h 889"/>
                    <a:gd name="T70" fmla="*/ 2103 w 2549"/>
                    <a:gd name="T71" fmla="*/ 496 h 889"/>
                    <a:gd name="T72" fmla="*/ 2095 w 2549"/>
                    <a:gd name="T73" fmla="*/ 426 h 889"/>
                    <a:gd name="T74" fmla="*/ 2073 w 2549"/>
                    <a:gd name="T75" fmla="*/ 416 h 889"/>
                    <a:gd name="T76" fmla="*/ 2025 w 2549"/>
                    <a:gd name="T77" fmla="*/ 353 h 889"/>
                    <a:gd name="T78" fmla="*/ 2067 w 2549"/>
                    <a:gd name="T79" fmla="*/ 245 h 889"/>
                    <a:gd name="T80" fmla="*/ 2082 w 2549"/>
                    <a:gd name="T81" fmla="*/ 131 h 889"/>
                    <a:gd name="T82" fmla="*/ 2096 w 2549"/>
                    <a:gd name="T83" fmla="*/ 99 h 889"/>
                    <a:gd name="T84" fmla="*/ 2110 w 2549"/>
                    <a:gd name="T85" fmla="*/ 70 h 889"/>
                    <a:gd name="T86" fmla="*/ 2133 w 2549"/>
                    <a:gd name="T87" fmla="*/ 51 h 889"/>
                    <a:gd name="T88" fmla="*/ 2161 w 2549"/>
                    <a:gd name="T89" fmla="*/ 67 h 889"/>
                    <a:gd name="T90" fmla="*/ 2194 w 2549"/>
                    <a:gd name="T91" fmla="*/ 124 h 889"/>
                    <a:gd name="T92" fmla="*/ 2249 w 2549"/>
                    <a:gd name="T93" fmla="*/ 227 h 889"/>
                    <a:gd name="T94" fmla="*/ 2220 w 2549"/>
                    <a:gd name="T95" fmla="*/ 239 h 889"/>
                    <a:gd name="T96" fmla="*/ 2241 w 2549"/>
                    <a:gd name="T97" fmla="*/ 267 h 889"/>
                    <a:gd name="T98" fmla="*/ 2264 w 2549"/>
                    <a:gd name="T99" fmla="*/ 233 h 889"/>
                    <a:gd name="T100" fmla="*/ 2271 w 2549"/>
                    <a:gd name="T101" fmla="*/ 197 h 889"/>
                    <a:gd name="T102" fmla="*/ 2315 w 2549"/>
                    <a:gd name="T103" fmla="*/ 188 h 889"/>
                    <a:gd name="T104" fmla="*/ 2346 w 2549"/>
                    <a:gd name="T105" fmla="*/ 180 h 889"/>
                    <a:gd name="T106" fmla="*/ 2348 w 2549"/>
                    <a:gd name="T107" fmla="*/ 156 h 889"/>
                    <a:gd name="T108" fmla="*/ 2369 w 2549"/>
                    <a:gd name="T109" fmla="*/ 128 h 889"/>
                    <a:gd name="T110" fmla="*/ 2390 w 2549"/>
                    <a:gd name="T111" fmla="*/ 113 h 889"/>
                    <a:gd name="T112" fmla="*/ 2398 w 2549"/>
                    <a:gd name="T113" fmla="*/ 256 h 889"/>
                    <a:gd name="T114" fmla="*/ 2430 w 2549"/>
                    <a:gd name="T115" fmla="*/ 237 h 889"/>
                    <a:gd name="T116" fmla="*/ 2405 w 2549"/>
                    <a:gd name="T117" fmla="*/ 154 h 889"/>
                    <a:gd name="T118" fmla="*/ 2407 w 2549"/>
                    <a:gd name="T119" fmla="*/ 127 h 889"/>
                    <a:gd name="T120" fmla="*/ 2412 w 2549"/>
                    <a:gd name="T121" fmla="*/ 99 h 889"/>
                    <a:gd name="T122" fmla="*/ 2447 w 2549"/>
                    <a:gd name="T123" fmla="*/ 172 h 889"/>
                    <a:gd name="T124" fmla="*/ 2437 w 2549"/>
                    <a:gd name="T125" fmla="*/ 6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49" h="889">
                      <a:moveTo>
                        <a:pt x="237" y="207"/>
                      </a:moveTo>
                      <a:lnTo>
                        <a:pt x="233" y="207"/>
                      </a:lnTo>
                      <a:lnTo>
                        <a:pt x="226" y="209"/>
                      </a:lnTo>
                      <a:lnTo>
                        <a:pt x="220" y="211"/>
                      </a:lnTo>
                      <a:lnTo>
                        <a:pt x="214" y="213"/>
                      </a:lnTo>
                      <a:lnTo>
                        <a:pt x="211" y="215"/>
                      </a:lnTo>
                      <a:lnTo>
                        <a:pt x="203" y="219"/>
                      </a:lnTo>
                      <a:lnTo>
                        <a:pt x="197" y="223"/>
                      </a:lnTo>
                      <a:lnTo>
                        <a:pt x="191" y="231"/>
                      </a:lnTo>
                      <a:lnTo>
                        <a:pt x="185" y="237"/>
                      </a:lnTo>
                      <a:lnTo>
                        <a:pt x="177" y="244"/>
                      </a:lnTo>
                      <a:lnTo>
                        <a:pt x="169" y="246"/>
                      </a:lnTo>
                      <a:lnTo>
                        <a:pt x="166" y="244"/>
                      </a:lnTo>
                      <a:lnTo>
                        <a:pt x="164" y="242"/>
                      </a:lnTo>
                      <a:lnTo>
                        <a:pt x="161" y="240"/>
                      </a:lnTo>
                      <a:lnTo>
                        <a:pt x="160" y="236"/>
                      </a:lnTo>
                      <a:lnTo>
                        <a:pt x="158" y="233"/>
                      </a:lnTo>
                      <a:lnTo>
                        <a:pt x="156" y="231"/>
                      </a:lnTo>
                      <a:lnTo>
                        <a:pt x="154" y="230"/>
                      </a:lnTo>
                      <a:lnTo>
                        <a:pt x="151" y="229"/>
                      </a:lnTo>
                      <a:lnTo>
                        <a:pt x="149" y="230"/>
                      </a:lnTo>
                      <a:lnTo>
                        <a:pt x="147" y="231"/>
                      </a:lnTo>
                      <a:lnTo>
                        <a:pt x="146" y="233"/>
                      </a:lnTo>
                      <a:lnTo>
                        <a:pt x="146" y="236"/>
                      </a:lnTo>
                      <a:lnTo>
                        <a:pt x="147" y="240"/>
                      </a:lnTo>
                      <a:lnTo>
                        <a:pt x="149" y="243"/>
                      </a:lnTo>
                      <a:lnTo>
                        <a:pt x="149" y="245"/>
                      </a:lnTo>
                      <a:lnTo>
                        <a:pt x="149" y="247"/>
                      </a:lnTo>
                      <a:lnTo>
                        <a:pt x="148" y="250"/>
                      </a:lnTo>
                      <a:lnTo>
                        <a:pt x="146" y="252"/>
                      </a:lnTo>
                      <a:lnTo>
                        <a:pt x="143" y="255"/>
                      </a:lnTo>
                      <a:lnTo>
                        <a:pt x="139" y="259"/>
                      </a:lnTo>
                      <a:lnTo>
                        <a:pt x="136" y="264"/>
                      </a:lnTo>
                      <a:lnTo>
                        <a:pt x="132" y="268"/>
                      </a:lnTo>
                      <a:lnTo>
                        <a:pt x="129" y="272"/>
                      </a:lnTo>
                      <a:lnTo>
                        <a:pt x="127" y="275"/>
                      </a:lnTo>
                      <a:lnTo>
                        <a:pt x="125" y="278"/>
                      </a:lnTo>
                      <a:lnTo>
                        <a:pt x="123" y="281"/>
                      </a:lnTo>
                      <a:lnTo>
                        <a:pt x="115" y="284"/>
                      </a:lnTo>
                      <a:lnTo>
                        <a:pt x="106" y="281"/>
                      </a:lnTo>
                      <a:lnTo>
                        <a:pt x="100" y="278"/>
                      </a:lnTo>
                      <a:lnTo>
                        <a:pt x="92" y="275"/>
                      </a:lnTo>
                      <a:lnTo>
                        <a:pt x="91" y="275"/>
                      </a:lnTo>
                      <a:lnTo>
                        <a:pt x="90" y="275"/>
                      </a:lnTo>
                      <a:lnTo>
                        <a:pt x="88" y="275"/>
                      </a:lnTo>
                      <a:lnTo>
                        <a:pt x="85" y="275"/>
                      </a:lnTo>
                      <a:lnTo>
                        <a:pt x="83" y="275"/>
                      </a:lnTo>
                      <a:lnTo>
                        <a:pt x="80" y="275"/>
                      </a:lnTo>
                      <a:lnTo>
                        <a:pt x="79" y="275"/>
                      </a:lnTo>
                      <a:lnTo>
                        <a:pt x="78" y="276"/>
                      </a:lnTo>
                      <a:lnTo>
                        <a:pt x="77" y="276"/>
                      </a:lnTo>
                      <a:lnTo>
                        <a:pt x="78" y="277"/>
                      </a:lnTo>
                      <a:lnTo>
                        <a:pt x="79" y="279"/>
                      </a:lnTo>
                      <a:lnTo>
                        <a:pt x="82" y="280"/>
                      </a:lnTo>
                      <a:lnTo>
                        <a:pt x="84" y="281"/>
                      </a:lnTo>
                      <a:lnTo>
                        <a:pt x="87" y="280"/>
                      </a:lnTo>
                      <a:lnTo>
                        <a:pt x="90" y="279"/>
                      </a:lnTo>
                      <a:lnTo>
                        <a:pt x="92" y="279"/>
                      </a:lnTo>
                      <a:lnTo>
                        <a:pt x="95" y="279"/>
                      </a:lnTo>
                      <a:lnTo>
                        <a:pt x="98" y="279"/>
                      </a:lnTo>
                      <a:lnTo>
                        <a:pt x="100" y="280"/>
                      </a:lnTo>
                      <a:lnTo>
                        <a:pt x="103" y="281"/>
                      </a:lnTo>
                      <a:lnTo>
                        <a:pt x="112" y="287"/>
                      </a:lnTo>
                      <a:lnTo>
                        <a:pt x="120" y="289"/>
                      </a:lnTo>
                      <a:lnTo>
                        <a:pt x="129" y="290"/>
                      </a:lnTo>
                      <a:lnTo>
                        <a:pt x="139" y="288"/>
                      </a:lnTo>
                      <a:lnTo>
                        <a:pt x="148" y="284"/>
                      </a:lnTo>
                      <a:lnTo>
                        <a:pt x="156" y="279"/>
                      </a:lnTo>
                      <a:lnTo>
                        <a:pt x="169" y="270"/>
                      </a:lnTo>
                      <a:lnTo>
                        <a:pt x="182" y="259"/>
                      </a:lnTo>
                      <a:lnTo>
                        <a:pt x="185" y="258"/>
                      </a:lnTo>
                      <a:lnTo>
                        <a:pt x="187" y="256"/>
                      </a:lnTo>
                      <a:lnTo>
                        <a:pt x="188" y="254"/>
                      </a:lnTo>
                      <a:lnTo>
                        <a:pt x="189" y="252"/>
                      </a:lnTo>
                      <a:lnTo>
                        <a:pt x="189" y="248"/>
                      </a:lnTo>
                      <a:lnTo>
                        <a:pt x="189" y="246"/>
                      </a:lnTo>
                      <a:lnTo>
                        <a:pt x="191" y="245"/>
                      </a:lnTo>
                      <a:lnTo>
                        <a:pt x="192" y="244"/>
                      </a:lnTo>
                      <a:lnTo>
                        <a:pt x="194" y="243"/>
                      </a:lnTo>
                      <a:lnTo>
                        <a:pt x="197" y="243"/>
                      </a:lnTo>
                      <a:lnTo>
                        <a:pt x="198" y="242"/>
                      </a:lnTo>
                      <a:lnTo>
                        <a:pt x="201" y="237"/>
                      </a:lnTo>
                      <a:lnTo>
                        <a:pt x="204" y="233"/>
                      </a:lnTo>
                      <a:lnTo>
                        <a:pt x="209" y="229"/>
                      </a:lnTo>
                      <a:lnTo>
                        <a:pt x="222" y="222"/>
                      </a:lnTo>
                      <a:lnTo>
                        <a:pt x="225" y="221"/>
                      </a:lnTo>
                      <a:lnTo>
                        <a:pt x="230" y="220"/>
                      </a:lnTo>
                      <a:lnTo>
                        <a:pt x="233" y="218"/>
                      </a:lnTo>
                      <a:lnTo>
                        <a:pt x="236" y="215"/>
                      </a:lnTo>
                      <a:lnTo>
                        <a:pt x="238" y="212"/>
                      </a:lnTo>
                      <a:lnTo>
                        <a:pt x="240" y="209"/>
                      </a:lnTo>
                      <a:lnTo>
                        <a:pt x="237" y="207"/>
                      </a:lnTo>
                      <a:close/>
                      <a:moveTo>
                        <a:pt x="1110" y="203"/>
                      </a:moveTo>
                      <a:lnTo>
                        <a:pt x="1116" y="203"/>
                      </a:lnTo>
                      <a:lnTo>
                        <a:pt x="1119" y="205"/>
                      </a:lnTo>
                      <a:lnTo>
                        <a:pt x="1120" y="210"/>
                      </a:lnTo>
                      <a:lnTo>
                        <a:pt x="1120" y="215"/>
                      </a:lnTo>
                      <a:lnTo>
                        <a:pt x="1119" y="220"/>
                      </a:lnTo>
                      <a:lnTo>
                        <a:pt x="1116" y="222"/>
                      </a:lnTo>
                      <a:lnTo>
                        <a:pt x="1113" y="220"/>
                      </a:lnTo>
                      <a:lnTo>
                        <a:pt x="1109" y="215"/>
                      </a:lnTo>
                      <a:lnTo>
                        <a:pt x="1107" y="210"/>
                      </a:lnTo>
                      <a:lnTo>
                        <a:pt x="1108" y="205"/>
                      </a:lnTo>
                      <a:lnTo>
                        <a:pt x="1110" y="203"/>
                      </a:lnTo>
                      <a:close/>
                      <a:moveTo>
                        <a:pt x="808" y="198"/>
                      </a:moveTo>
                      <a:lnTo>
                        <a:pt x="814" y="201"/>
                      </a:lnTo>
                      <a:lnTo>
                        <a:pt x="820" y="207"/>
                      </a:lnTo>
                      <a:lnTo>
                        <a:pt x="822" y="212"/>
                      </a:lnTo>
                      <a:lnTo>
                        <a:pt x="822" y="216"/>
                      </a:lnTo>
                      <a:lnTo>
                        <a:pt x="821" y="223"/>
                      </a:lnTo>
                      <a:lnTo>
                        <a:pt x="818" y="231"/>
                      </a:lnTo>
                      <a:lnTo>
                        <a:pt x="813" y="237"/>
                      </a:lnTo>
                      <a:lnTo>
                        <a:pt x="808" y="241"/>
                      </a:lnTo>
                      <a:lnTo>
                        <a:pt x="801" y="236"/>
                      </a:lnTo>
                      <a:lnTo>
                        <a:pt x="795" y="229"/>
                      </a:lnTo>
                      <a:lnTo>
                        <a:pt x="793" y="220"/>
                      </a:lnTo>
                      <a:lnTo>
                        <a:pt x="793" y="211"/>
                      </a:lnTo>
                      <a:lnTo>
                        <a:pt x="794" y="203"/>
                      </a:lnTo>
                      <a:lnTo>
                        <a:pt x="800" y="199"/>
                      </a:lnTo>
                      <a:lnTo>
                        <a:pt x="808" y="198"/>
                      </a:lnTo>
                      <a:close/>
                      <a:moveTo>
                        <a:pt x="736" y="185"/>
                      </a:moveTo>
                      <a:lnTo>
                        <a:pt x="740" y="186"/>
                      </a:lnTo>
                      <a:lnTo>
                        <a:pt x="744" y="187"/>
                      </a:lnTo>
                      <a:lnTo>
                        <a:pt x="748" y="187"/>
                      </a:lnTo>
                      <a:lnTo>
                        <a:pt x="751" y="187"/>
                      </a:lnTo>
                      <a:lnTo>
                        <a:pt x="755" y="186"/>
                      </a:lnTo>
                      <a:lnTo>
                        <a:pt x="758" y="186"/>
                      </a:lnTo>
                      <a:lnTo>
                        <a:pt x="761" y="187"/>
                      </a:lnTo>
                      <a:lnTo>
                        <a:pt x="765" y="187"/>
                      </a:lnTo>
                      <a:lnTo>
                        <a:pt x="765" y="194"/>
                      </a:lnTo>
                      <a:lnTo>
                        <a:pt x="761" y="199"/>
                      </a:lnTo>
                      <a:lnTo>
                        <a:pt x="755" y="202"/>
                      </a:lnTo>
                      <a:lnTo>
                        <a:pt x="748" y="205"/>
                      </a:lnTo>
                      <a:lnTo>
                        <a:pt x="743" y="208"/>
                      </a:lnTo>
                      <a:lnTo>
                        <a:pt x="742" y="210"/>
                      </a:lnTo>
                      <a:lnTo>
                        <a:pt x="740" y="213"/>
                      </a:lnTo>
                      <a:lnTo>
                        <a:pt x="738" y="216"/>
                      </a:lnTo>
                      <a:lnTo>
                        <a:pt x="736" y="219"/>
                      </a:lnTo>
                      <a:lnTo>
                        <a:pt x="734" y="221"/>
                      </a:lnTo>
                      <a:lnTo>
                        <a:pt x="732" y="222"/>
                      </a:lnTo>
                      <a:lnTo>
                        <a:pt x="729" y="221"/>
                      </a:lnTo>
                      <a:lnTo>
                        <a:pt x="728" y="219"/>
                      </a:lnTo>
                      <a:lnTo>
                        <a:pt x="727" y="216"/>
                      </a:lnTo>
                      <a:lnTo>
                        <a:pt x="725" y="213"/>
                      </a:lnTo>
                      <a:lnTo>
                        <a:pt x="724" y="210"/>
                      </a:lnTo>
                      <a:lnTo>
                        <a:pt x="723" y="208"/>
                      </a:lnTo>
                      <a:lnTo>
                        <a:pt x="724" y="203"/>
                      </a:lnTo>
                      <a:lnTo>
                        <a:pt x="725" y="199"/>
                      </a:lnTo>
                      <a:lnTo>
                        <a:pt x="727" y="196"/>
                      </a:lnTo>
                      <a:lnTo>
                        <a:pt x="729" y="191"/>
                      </a:lnTo>
                      <a:lnTo>
                        <a:pt x="732" y="191"/>
                      </a:lnTo>
                      <a:lnTo>
                        <a:pt x="733" y="189"/>
                      </a:lnTo>
                      <a:lnTo>
                        <a:pt x="734" y="187"/>
                      </a:lnTo>
                      <a:lnTo>
                        <a:pt x="735" y="186"/>
                      </a:lnTo>
                      <a:lnTo>
                        <a:pt x="736" y="185"/>
                      </a:lnTo>
                      <a:close/>
                      <a:moveTo>
                        <a:pt x="845" y="159"/>
                      </a:moveTo>
                      <a:lnTo>
                        <a:pt x="846" y="160"/>
                      </a:lnTo>
                      <a:lnTo>
                        <a:pt x="848" y="161"/>
                      </a:lnTo>
                      <a:lnTo>
                        <a:pt x="851" y="164"/>
                      </a:lnTo>
                      <a:lnTo>
                        <a:pt x="853" y="167"/>
                      </a:lnTo>
                      <a:lnTo>
                        <a:pt x="853" y="169"/>
                      </a:lnTo>
                      <a:lnTo>
                        <a:pt x="853" y="171"/>
                      </a:lnTo>
                      <a:lnTo>
                        <a:pt x="851" y="174"/>
                      </a:lnTo>
                      <a:lnTo>
                        <a:pt x="849" y="175"/>
                      </a:lnTo>
                      <a:lnTo>
                        <a:pt x="847" y="176"/>
                      </a:lnTo>
                      <a:lnTo>
                        <a:pt x="844" y="177"/>
                      </a:lnTo>
                      <a:lnTo>
                        <a:pt x="842" y="176"/>
                      </a:lnTo>
                      <a:lnTo>
                        <a:pt x="840" y="175"/>
                      </a:lnTo>
                      <a:lnTo>
                        <a:pt x="837" y="172"/>
                      </a:lnTo>
                      <a:lnTo>
                        <a:pt x="836" y="169"/>
                      </a:lnTo>
                      <a:lnTo>
                        <a:pt x="835" y="168"/>
                      </a:lnTo>
                      <a:lnTo>
                        <a:pt x="835" y="167"/>
                      </a:lnTo>
                      <a:lnTo>
                        <a:pt x="835" y="165"/>
                      </a:lnTo>
                      <a:lnTo>
                        <a:pt x="835" y="163"/>
                      </a:lnTo>
                      <a:lnTo>
                        <a:pt x="836" y="161"/>
                      </a:lnTo>
                      <a:lnTo>
                        <a:pt x="837" y="160"/>
                      </a:lnTo>
                      <a:lnTo>
                        <a:pt x="838" y="161"/>
                      </a:lnTo>
                      <a:lnTo>
                        <a:pt x="841" y="161"/>
                      </a:lnTo>
                      <a:lnTo>
                        <a:pt x="842" y="161"/>
                      </a:lnTo>
                      <a:lnTo>
                        <a:pt x="843" y="160"/>
                      </a:lnTo>
                      <a:lnTo>
                        <a:pt x="843" y="160"/>
                      </a:lnTo>
                      <a:lnTo>
                        <a:pt x="844" y="159"/>
                      </a:lnTo>
                      <a:lnTo>
                        <a:pt x="845" y="159"/>
                      </a:lnTo>
                      <a:close/>
                      <a:moveTo>
                        <a:pt x="865" y="149"/>
                      </a:moveTo>
                      <a:lnTo>
                        <a:pt x="868" y="149"/>
                      </a:lnTo>
                      <a:lnTo>
                        <a:pt x="871" y="150"/>
                      </a:lnTo>
                      <a:lnTo>
                        <a:pt x="874" y="153"/>
                      </a:lnTo>
                      <a:lnTo>
                        <a:pt x="876" y="154"/>
                      </a:lnTo>
                      <a:lnTo>
                        <a:pt x="878" y="156"/>
                      </a:lnTo>
                      <a:lnTo>
                        <a:pt x="878" y="158"/>
                      </a:lnTo>
                      <a:lnTo>
                        <a:pt x="878" y="160"/>
                      </a:lnTo>
                      <a:lnTo>
                        <a:pt x="876" y="161"/>
                      </a:lnTo>
                      <a:lnTo>
                        <a:pt x="873" y="163"/>
                      </a:lnTo>
                      <a:lnTo>
                        <a:pt x="870" y="163"/>
                      </a:lnTo>
                      <a:lnTo>
                        <a:pt x="867" y="161"/>
                      </a:lnTo>
                      <a:lnTo>
                        <a:pt x="865" y="160"/>
                      </a:lnTo>
                      <a:lnTo>
                        <a:pt x="863" y="159"/>
                      </a:lnTo>
                      <a:lnTo>
                        <a:pt x="862" y="158"/>
                      </a:lnTo>
                      <a:lnTo>
                        <a:pt x="860" y="156"/>
                      </a:lnTo>
                      <a:lnTo>
                        <a:pt x="860" y="155"/>
                      </a:lnTo>
                      <a:lnTo>
                        <a:pt x="859" y="154"/>
                      </a:lnTo>
                      <a:lnTo>
                        <a:pt x="858" y="153"/>
                      </a:lnTo>
                      <a:lnTo>
                        <a:pt x="857" y="152"/>
                      </a:lnTo>
                      <a:lnTo>
                        <a:pt x="858" y="150"/>
                      </a:lnTo>
                      <a:lnTo>
                        <a:pt x="859" y="149"/>
                      </a:lnTo>
                      <a:lnTo>
                        <a:pt x="862" y="149"/>
                      </a:lnTo>
                      <a:lnTo>
                        <a:pt x="865" y="149"/>
                      </a:lnTo>
                      <a:close/>
                      <a:moveTo>
                        <a:pt x="2272" y="143"/>
                      </a:moveTo>
                      <a:lnTo>
                        <a:pt x="2274" y="143"/>
                      </a:lnTo>
                      <a:lnTo>
                        <a:pt x="2276" y="144"/>
                      </a:lnTo>
                      <a:lnTo>
                        <a:pt x="2277" y="146"/>
                      </a:lnTo>
                      <a:lnTo>
                        <a:pt x="2279" y="148"/>
                      </a:lnTo>
                      <a:lnTo>
                        <a:pt x="2282" y="150"/>
                      </a:lnTo>
                      <a:lnTo>
                        <a:pt x="2284" y="153"/>
                      </a:lnTo>
                      <a:lnTo>
                        <a:pt x="2285" y="155"/>
                      </a:lnTo>
                      <a:lnTo>
                        <a:pt x="2286" y="156"/>
                      </a:lnTo>
                      <a:lnTo>
                        <a:pt x="2287" y="158"/>
                      </a:lnTo>
                      <a:lnTo>
                        <a:pt x="2287" y="159"/>
                      </a:lnTo>
                      <a:lnTo>
                        <a:pt x="2287" y="160"/>
                      </a:lnTo>
                      <a:lnTo>
                        <a:pt x="2288" y="161"/>
                      </a:lnTo>
                      <a:lnTo>
                        <a:pt x="2287" y="164"/>
                      </a:lnTo>
                      <a:lnTo>
                        <a:pt x="2286" y="166"/>
                      </a:lnTo>
                      <a:lnTo>
                        <a:pt x="2285" y="167"/>
                      </a:lnTo>
                      <a:lnTo>
                        <a:pt x="2284" y="168"/>
                      </a:lnTo>
                      <a:lnTo>
                        <a:pt x="2282" y="169"/>
                      </a:lnTo>
                      <a:lnTo>
                        <a:pt x="2281" y="170"/>
                      </a:lnTo>
                      <a:lnTo>
                        <a:pt x="2279" y="172"/>
                      </a:lnTo>
                      <a:lnTo>
                        <a:pt x="2279" y="172"/>
                      </a:lnTo>
                      <a:lnTo>
                        <a:pt x="2277" y="172"/>
                      </a:lnTo>
                      <a:lnTo>
                        <a:pt x="2276" y="171"/>
                      </a:lnTo>
                      <a:lnTo>
                        <a:pt x="2274" y="169"/>
                      </a:lnTo>
                      <a:lnTo>
                        <a:pt x="2273" y="167"/>
                      </a:lnTo>
                      <a:lnTo>
                        <a:pt x="2271" y="163"/>
                      </a:lnTo>
                      <a:lnTo>
                        <a:pt x="2271" y="143"/>
                      </a:lnTo>
                      <a:lnTo>
                        <a:pt x="2272" y="143"/>
                      </a:lnTo>
                      <a:close/>
                      <a:moveTo>
                        <a:pt x="847" y="132"/>
                      </a:moveTo>
                      <a:lnTo>
                        <a:pt x="849" y="132"/>
                      </a:lnTo>
                      <a:lnTo>
                        <a:pt x="853" y="133"/>
                      </a:lnTo>
                      <a:lnTo>
                        <a:pt x="855" y="134"/>
                      </a:lnTo>
                      <a:lnTo>
                        <a:pt x="856" y="135"/>
                      </a:lnTo>
                      <a:lnTo>
                        <a:pt x="856" y="136"/>
                      </a:lnTo>
                      <a:lnTo>
                        <a:pt x="855" y="136"/>
                      </a:lnTo>
                      <a:lnTo>
                        <a:pt x="853" y="137"/>
                      </a:lnTo>
                      <a:lnTo>
                        <a:pt x="851" y="137"/>
                      </a:lnTo>
                      <a:lnTo>
                        <a:pt x="848" y="138"/>
                      </a:lnTo>
                      <a:lnTo>
                        <a:pt x="846" y="138"/>
                      </a:lnTo>
                      <a:lnTo>
                        <a:pt x="843" y="137"/>
                      </a:lnTo>
                      <a:lnTo>
                        <a:pt x="841" y="136"/>
                      </a:lnTo>
                      <a:lnTo>
                        <a:pt x="841" y="135"/>
                      </a:lnTo>
                      <a:lnTo>
                        <a:pt x="841" y="134"/>
                      </a:lnTo>
                      <a:lnTo>
                        <a:pt x="843" y="133"/>
                      </a:lnTo>
                      <a:lnTo>
                        <a:pt x="844" y="132"/>
                      </a:lnTo>
                      <a:lnTo>
                        <a:pt x="847" y="132"/>
                      </a:lnTo>
                      <a:close/>
                      <a:moveTo>
                        <a:pt x="1746" y="114"/>
                      </a:moveTo>
                      <a:lnTo>
                        <a:pt x="1747" y="115"/>
                      </a:lnTo>
                      <a:lnTo>
                        <a:pt x="1749" y="116"/>
                      </a:lnTo>
                      <a:lnTo>
                        <a:pt x="1751" y="117"/>
                      </a:lnTo>
                      <a:lnTo>
                        <a:pt x="1753" y="120"/>
                      </a:lnTo>
                      <a:lnTo>
                        <a:pt x="1755" y="122"/>
                      </a:lnTo>
                      <a:lnTo>
                        <a:pt x="1759" y="124"/>
                      </a:lnTo>
                      <a:lnTo>
                        <a:pt x="1760" y="126"/>
                      </a:lnTo>
                      <a:lnTo>
                        <a:pt x="1761" y="128"/>
                      </a:lnTo>
                      <a:lnTo>
                        <a:pt x="1762" y="132"/>
                      </a:lnTo>
                      <a:lnTo>
                        <a:pt x="1763" y="134"/>
                      </a:lnTo>
                      <a:lnTo>
                        <a:pt x="1764" y="135"/>
                      </a:lnTo>
                      <a:lnTo>
                        <a:pt x="1766" y="137"/>
                      </a:lnTo>
                      <a:lnTo>
                        <a:pt x="1768" y="139"/>
                      </a:lnTo>
                      <a:lnTo>
                        <a:pt x="1768" y="141"/>
                      </a:lnTo>
                      <a:lnTo>
                        <a:pt x="1766" y="143"/>
                      </a:lnTo>
                      <a:lnTo>
                        <a:pt x="1766" y="144"/>
                      </a:lnTo>
                      <a:lnTo>
                        <a:pt x="1765" y="145"/>
                      </a:lnTo>
                      <a:lnTo>
                        <a:pt x="1765" y="146"/>
                      </a:lnTo>
                      <a:lnTo>
                        <a:pt x="1766" y="148"/>
                      </a:lnTo>
                      <a:lnTo>
                        <a:pt x="1768" y="149"/>
                      </a:lnTo>
                      <a:lnTo>
                        <a:pt x="1769" y="149"/>
                      </a:lnTo>
                      <a:lnTo>
                        <a:pt x="1770" y="148"/>
                      </a:lnTo>
                      <a:lnTo>
                        <a:pt x="1771" y="148"/>
                      </a:lnTo>
                      <a:lnTo>
                        <a:pt x="1772" y="147"/>
                      </a:lnTo>
                      <a:lnTo>
                        <a:pt x="1772" y="146"/>
                      </a:lnTo>
                      <a:lnTo>
                        <a:pt x="1772" y="144"/>
                      </a:lnTo>
                      <a:lnTo>
                        <a:pt x="1772" y="141"/>
                      </a:lnTo>
                      <a:lnTo>
                        <a:pt x="1772" y="137"/>
                      </a:lnTo>
                      <a:lnTo>
                        <a:pt x="1773" y="134"/>
                      </a:lnTo>
                      <a:lnTo>
                        <a:pt x="1774" y="133"/>
                      </a:lnTo>
                      <a:lnTo>
                        <a:pt x="1775" y="133"/>
                      </a:lnTo>
                      <a:lnTo>
                        <a:pt x="1776" y="134"/>
                      </a:lnTo>
                      <a:lnTo>
                        <a:pt x="1777" y="136"/>
                      </a:lnTo>
                      <a:lnTo>
                        <a:pt x="1779" y="138"/>
                      </a:lnTo>
                      <a:lnTo>
                        <a:pt x="1780" y="141"/>
                      </a:lnTo>
                      <a:lnTo>
                        <a:pt x="1781" y="142"/>
                      </a:lnTo>
                      <a:lnTo>
                        <a:pt x="1782" y="143"/>
                      </a:lnTo>
                      <a:lnTo>
                        <a:pt x="1783" y="144"/>
                      </a:lnTo>
                      <a:lnTo>
                        <a:pt x="1783" y="143"/>
                      </a:lnTo>
                      <a:lnTo>
                        <a:pt x="1783" y="142"/>
                      </a:lnTo>
                      <a:lnTo>
                        <a:pt x="1783" y="139"/>
                      </a:lnTo>
                      <a:lnTo>
                        <a:pt x="1783" y="137"/>
                      </a:lnTo>
                      <a:lnTo>
                        <a:pt x="1783" y="135"/>
                      </a:lnTo>
                      <a:lnTo>
                        <a:pt x="1783" y="133"/>
                      </a:lnTo>
                      <a:lnTo>
                        <a:pt x="1783" y="132"/>
                      </a:lnTo>
                      <a:lnTo>
                        <a:pt x="1784" y="131"/>
                      </a:lnTo>
                      <a:lnTo>
                        <a:pt x="1785" y="131"/>
                      </a:lnTo>
                      <a:lnTo>
                        <a:pt x="1787" y="130"/>
                      </a:lnTo>
                      <a:lnTo>
                        <a:pt x="1790" y="131"/>
                      </a:lnTo>
                      <a:lnTo>
                        <a:pt x="1791" y="132"/>
                      </a:lnTo>
                      <a:lnTo>
                        <a:pt x="1792" y="134"/>
                      </a:lnTo>
                      <a:lnTo>
                        <a:pt x="1793" y="136"/>
                      </a:lnTo>
                      <a:lnTo>
                        <a:pt x="1794" y="137"/>
                      </a:lnTo>
                      <a:lnTo>
                        <a:pt x="1795" y="139"/>
                      </a:lnTo>
                      <a:lnTo>
                        <a:pt x="1797" y="138"/>
                      </a:lnTo>
                      <a:lnTo>
                        <a:pt x="1800" y="137"/>
                      </a:lnTo>
                      <a:lnTo>
                        <a:pt x="1801" y="136"/>
                      </a:lnTo>
                      <a:lnTo>
                        <a:pt x="1803" y="135"/>
                      </a:lnTo>
                      <a:lnTo>
                        <a:pt x="1804" y="135"/>
                      </a:lnTo>
                      <a:lnTo>
                        <a:pt x="1806" y="135"/>
                      </a:lnTo>
                      <a:lnTo>
                        <a:pt x="1808" y="136"/>
                      </a:lnTo>
                      <a:lnTo>
                        <a:pt x="1811" y="136"/>
                      </a:lnTo>
                      <a:lnTo>
                        <a:pt x="1813" y="137"/>
                      </a:lnTo>
                      <a:lnTo>
                        <a:pt x="1814" y="135"/>
                      </a:lnTo>
                      <a:lnTo>
                        <a:pt x="1815" y="133"/>
                      </a:lnTo>
                      <a:lnTo>
                        <a:pt x="1816" y="130"/>
                      </a:lnTo>
                      <a:lnTo>
                        <a:pt x="1816" y="127"/>
                      </a:lnTo>
                      <a:lnTo>
                        <a:pt x="1817" y="126"/>
                      </a:lnTo>
                      <a:lnTo>
                        <a:pt x="1819" y="126"/>
                      </a:lnTo>
                      <a:lnTo>
                        <a:pt x="1823" y="128"/>
                      </a:lnTo>
                      <a:lnTo>
                        <a:pt x="1825" y="131"/>
                      </a:lnTo>
                      <a:lnTo>
                        <a:pt x="1826" y="133"/>
                      </a:lnTo>
                      <a:lnTo>
                        <a:pt x="1827" y="135"/>
                      </a:lnTo>
                      <a:lnTo>
                        <a:pt x="1828" y="136"/>
                      </a:lnTo>
                      <a:lnTo>
                        <a:pt x="1829" y="136"/>
                      </a:lnTo>
                      <a:lnTo>
                        <a:pt x="1830" y="136"/>
                      </a:lnTo>
                      <a:lnTo>
                        <a:pt x="1831" y="136"/>
                      </a:lnTo>
                      <a:lnTo>
                        <a:pt x="1834" y="135"/>
                      </a:lnTo>
                      <a:lnTo>
                        <a:pt x="1835" y="134"/>
                      </a:lnTo>
                      <a:lnTo>
                        <a:pt x="1836" y="134"/>
                      </a:lnTo>
                      <a:lnTo>
                        <a:pt x="1836" y="134"/>
                      </a:lnTo>
                      <a:lnTo>
                        <a:pt x="1836" y="135"/>
                      </a:lnTo>
                      <a:lnTo>
                        <a:pt x="1836" y="137"/>
                      </a:lnTo>
                      <a:lnTo>
                        <a:pt x="1836" y="138"/>
                      </a:lnTo>
                      <a:lnTo>
                        <a:pt x="1836" y="141"/>
                      </a:lnTo>
                      <a:lnTo>
                        <a:pt x="1836" y="142"/>
                      </a:lnTo>
                      <a:lnTo>
                        <a:pt x="1835" y="142"/>
                      </a:lnTo>
                      <a:lnTo>
                        <a:pt x="1834" y="143"/>
                      </a:lnTo>
                      <a:lnTo>
                        <a:pt x="1834" y="145"/>
                      </a:lnTo>
                      <a:lnTo>
                        <a:pt x="1835" y="147"/>
                      </a:lnTo>
                      <a:lnTo>
                        <a:pt x="1836" y="150"/>
                      </a:lnTo>
                      <a:lnTo>
                        <a:pt x="1838" y="154"/>
                      </a:lnTo>
                      <a:lnTo>
                        <a:pt x="1840" y="157"/>
                      </a:lnTo>
                      <a:lnTo>
                        <a:pt x="1842" y="160"/>
                      </a:lnTo>
                      <a:lnTo>
                        <a:pt x="1846" y="164"/>
                      </a:lnTo>
                      <a:lnTo>
                        <a:pt x="1847" y="168"/>
                      </a:lnTo>
                      <a:lnTo>
                        <a:pt x="1849" y="170"/>
                      </a:lnTo>
                      <a:lnTo>
                        <a:pt x="1850" y="172"/>
                      </a:lnTo>
                      <a:lnTo>
                        <a:pt x="1852" y="175"/>
                      </a:lnTo>
                      <a:lnTo>
                        <a:pt x="1853" y="177"/>
                      </a:lnTo>
                      <a:lnTo>
                        <a:pt x="1853" y="181"/>
                      </a:lnTo>
                      <a:lnTo>
                        <a:pt x="1853" y="183"/>
                      </a:lnTo>
                      <a:lnTo>
                        <a:pt x="1852" y="187"/>
                      </a:lnTo>
                      <a:lnTo>
                        <a:pt x="1851" y="189"/>
                      </a:lnTo>
                      <a:lnTo>
                        <a:pt x="1849" y="192"/>
                      </a:lnTo>
                      <a:lnTo>
                        <a:pt x="1849" y="193"/>
                      </a:lnTo>
                      <a:lnTo>
                        <a:pt x="1849" y="196"/>
                      </a:lnTo>
                      <a:lnTo>
                        <a:pt x="1849" y="199"/>
                      </a:lnTo>
                      <a:lnTo>
                        <a:pt x="1848" y="201"/>
                      </a:lnTo>
                      <a:lnTo>
                        <a:pt x="1847" y="203"/>
                      </a:lnTo>
                      <a:lnTo>
                        <a:pt x="1846" y="205"/>
                      </a:lnTo>
                      <a:lnTo>
                        <a:pt x="1844" y="207"/>
                      </a:lnTo>
                      <a:lnTo>
                        <a:pt x="1841" y="207"/>
                      </a:lnTo>
                      <a:lnTo>
                        <a:pt x="1838" y="208"/>
                      </a:lnTo>
                      <a:lnTo>
                        <a:pt x="1836" y="208"/>
                      </a:lnTo>
                      <a:lnTo>
                        <a:pt x="1834" y="210"/>
                      </a:lnTo>
                      <a:lnTo>
                        <a:pt x="1833" y="212"/>
                      </a:lnTo>
                      <a:lnTo>
                        <a:pt x="1831" y="214"/>
                      </a:lnTo>
                      <a:lnTo>
                        <a:pt x="1829" y="214"/>
                      </a:lnTo>
                      <a:lnTo>
                        <a:pt x="1827" y="216"/>
                      </a:lnTo>
                      <a:lnTo>
                        <a:pt x="1825" y="219"/>
                      </a:lnTo>
                      <a:lnTo>
                        <a:pt x="1822" y="219"/>
                      </a:lnTo>
                      <a:lnTo>
                        <a:pt x="1819" y="220"/>
                      </a:lnTo>
                      <a:lnTo>
                        <a:pt x="1817" y="221"/>
                      </a:lnTo>
                      <a:lnTo>
                        <a:pt x="1814" y="222"/>
                      </a:lnTo>
                      <a:lnTo>
                        <a:pt x="1813" y="224"/>
                      </a:lnTo>
                      <a:lnTo>
                        <a:pt x="1811" y="227"/>
                      </a:lnTo>
                      <a:lnTo>
                        <a:pt x="1809" y="233"/>
                      </a:lnTo>
                      <a:lnTo>
                        <a:pt x="1806" y="236"/>
                      </a:lnTo>
                      <a:lnTo>
                        <a:pt x="1802" y="237"/>
                      </a:lnTo>
                      <a:lnTo>
                        <a:pt x="1796" y="234"/>
                      </a:lnTo>
                      <a:lnTo>
                        <a:pt x="1791" y="230"/>
                      </a:lnTo>
                      <a:lnTo>
                        <a:pt x="1787" y="226"/>
                      </a:lnTo>
                      <a:lnTo>
                        <a:pt x="1785" y="223"/>
                      </a:lnTo>
                      <a:lnTo>
                        <a:pt x="1783" y="221"/>
                      </a:lnTo>
                      <a:lnTo>
                        <a:pt x="1780" y="218"/>
                      </a:lnTo>
                      <a:lnTo>
                        <a:pt x="1776" y="216"/>
                      </a:lnTo>
                      <a:lnTo>
                        <a:pt x="1773" y="216"/>
                      </a:lnTo>
                      <a:lnTo>
                        <a:pt x="1770" y="219"/>
                      </a:lnTo>
                      <a:lnTo>
                        <a:pt x="1766" y="220"/>
                      </a:lnTo>
                      <a:lnTo>
                        <a:pt x="1763" y="221"/>
                      </a:lnTo>
                      <a:lnTo>
                        <a:pt x="1761" y="219"/>
                      </a:lnTo>
                      <a:lnTo>
                        <a:pt x="1759" y="218"/>
                      </a:lnTo>
                      <a:lnTo>
                        <a:pt x="1757" y="215"/>
                      </a:lnTo>
                      <a:lnTo>
                        <a:pt x="1754" y="213"/>
                      </a:lnTo>
                      <a:lnTo>
                        <a:pt x="1752" y="210"/>
                      </a:lnTo>
                      <a:lnTo>
                        <a:pt x="1751" y="208"/>
                      </a:lnTo>
                      <a:lnTo>
                        <a:pt x="1751" y="204"/>
                      </a:lnTo>
                      <a:lnTo>
                        <a:pt x="1751" y="201"/>
                      </a:lnTo>
                      <a:lnTo>
                        <a:pt x="1752" y="199"/>
                      </a:lnTo>
                      <a:lnTo>
                        <a:pt x="1753" y="199"/>
                      </a:lnTo>
                      <a:lnTo>
                        <a:pt x="1755" y="198"/>
                      </a:lnTo>
                      <a:lnTo>
                        <a:pt x="1758" y="198"/>
                      </a:lnTo>
                      <a:lnTo>
                        <a:pt x="1759" y="199"/>
                      </a:lnTo>
                      <a:lnTo>
                        <a:pt x="1761" y="199"/>
                      </a:lnTo>
                      <a:lnTo>
                        <a:pt x="1762" y="199"/>
                      </a:lnTo>
                      <a:lnTo>
                        <a:pt x="1762" y="198"/>
                      </a:lnTo>
                      <a:lnTo>
                        <a:pt x="1763" y="197"/>
                      </a:lnTo>
                      <a:lnTo>
                        <a:pt x="1762" y="192"/>
                      </a:lnTo>
                      <a:lnTo>
                        <a:pt x="1761" y="189"/>
                      </a:lnTo>
                      <a:lnTo>
                        <a:pt x="1759" y="187"/>
                      </a:lnTo>
                      <a:lnTo>
                        <a:pt x="1757" y="185"/>
                      </a:lnTo>
                      <a:lnTo>
                        <a:pt x="1753" y="183"/>
                      </a:lnTo>
                      <a:lnTo>
                        <a:pt x="1749" y="181"/>
                      </a:lnTo>
                      <a:lnTo>
                        <a:pt x="1744" y="181"/>
                      </a:lnTo>
                      <a:lnTo>
                        <a:pt x="1740" y="181"/>
                      </a:lnTo>
                      <a:lnTo>
                        <a:pt x="1737" y="179"/>
                      </a:lnTo>
                      <a:lnTo>
                        <a:pt x="1736" y="176"/>
                      </a:lnTo>
                      <a:lnTo>
                        <a:pt x="1735" y="174"/>
                      </a:lnTo>
                      <a:lnTo>
                        <a:pt x="1736" y="170"/>
                      </a:lnTo>
                      <a:lnTo>
                        <a:pt x="1738" y="168"/>
                      </a:lnTo>
                      <a:lnTo>
                        <a:pt x="1740" y="167"/>
                      </a:lnTo>
                      <a:lnTo>
                        <a:pt x="1742" y="167"/>
                      </a:lnTo>
                      <a:lnTo>
                        <a:pt x="1746" y="167"/>
                      </a:lnTo>
                      <a:lnTo>
                        <a:pt x="1749" y="168"/>
                      </a:lnTo>
                      <a:lnTo>
                        <a:pt x="1752" y="167"/>
                      </a:lnTo>
                      <a:lnTo>
                        <a:pt x="1754" y="167"/>
                      </a:lnTo>
                      <a:lnTo>
                        <a:pt x="1757" y="165"/>
                      </a:lnTo>
                      <a:lnTo>
                        <a:pt x="1758" y="164"/>
                      </a:lnTo>
                      <a:lnTo>
                        <a:pt x="1759" y="161"/>
                      </a:lnTo>
                      <a:lnTo>
                        <a:pt x="1759" y="158"/>
                      </a:lnTo>
                      <a:lnTo>
                        <a:pt x="1758" y="155"/>
                      </a:lnTo>
                      <a:lnTo>
                        <a:pt x="1755" y="153"/>
                      </a:lnTo>
                      <a:lnTo>
                        <a:pt x="1753" y="150"/>
                      </a:lnTo>
                      <a:lnTo>
                        <a:pt x="1750" y="148"/>
                      </a:lnTo>
                      <a:lnTo>
                        <a:pt x="1747" y="147"/>
                      </a:lnTo>
                      <a:lnTo>
                        <a:pt x="1744" y="146"/>
                      </a:lnTo>
                      <a:lnTo>
                        <a:pt x="1742" y="146"/>
                      </a:lnTo>
                      <a:lnTo>
                        <a:pt x="1741" y="146"/>
                      </a:lnTo>
                      <a:lnTo>
                        <a:pt x="1739" y="147"/>
                      </a:lnTo>
                      <a:lnTo>
                        <a:pt x="1737" y="148"/>
                      </a:lnTo>
                      <a:lnTo>
                        <a:pt x="1736" y="150"/>
                      </a:lnTo>
                      <a:lnTo>
                        <a:pt x="1733" y="152"/>
                      </a:lnTo>
                      <a:lnTo>
                        <a:pt x="1731" y="152"/>
                      </a:lnTo>
                      <a:lnTo>
                        <a:pt x="1730" y="150"/>
                      </a:lnTo>
                      <a:lnTo>
                        <a:pt x="1728" y="149"/>
                      </a:lnTo>
                      <a:lnTo>
                        <a:pt x="1727" y="146"/>
                      </a:lnTo>
                      <a:lnTo>
                        <a:pt x="1726" y="144"/>
                      </a:lnTo>
                      <a:lnTo>
                        <a:pt x="1727" y="143"/>
                      </a:lnTo>
                      <a:lnTo>
                        <a:pt x="1727" y="142"/>
                      </a:lnTo>
                      <a:lnTo>
                        <a:pt x="1728" y="142"/>
                      </a:lnTo>
                      <a:lnTo>
                        <a:pt x="1730" y="141"/>
                      </a:lnTo>
                      <a:lnTo>
                        <a:pt x="1730" y="139"/>
                      </a:lnTo>
                      <a:lnTo>
                        <a:pt x="1731" y="139"/>
                      </a:lnTo>
                      <a:lnTo>
                        <a:pt x="1732" y="137"/>
                      </a:lnTo>
                      <a:lnTo>
                        <a:pt x="1732" y="135"/>
                      </a:lnTo>
                      <a:lnTo>
                        <a:pt x="1733" y="132"/>
                      </a:lnTo>
                      <a:lnTo>
                        <a:pt x="1733" y="128"/>
                      </a:lnTo>
                      <a:lnTo>
                        <a:pt x="1733" y="126"/>
                      </a:lnTo>
                      <a:lnTo>
                        <a:pt x="1733" y="124"/>
                      </a:lnTo>
                      <a:lnTo>
                        <a:pt x="1735" y="123"/>
                      </a:lnTo>
                      <a:lnTo>
                        <a:pt x="1736" y="122"/>
                      </a:lnTo>
                      <a:lnTo>
                        <a:pt x="1738" y="122"/>
                      </a:lnTo>
                      <a:lnTo>
                        <a:pt x="1739" y="123"/>
                      </a:lnTo>
                      <a:lnTo>
                        <a:pt x="1740" y="126"/>
                      </a:lnTo>
                      <a:lnTo>
                        <a:pt x="1741" y="127"/>
                      </a:lnTo>
                      <a:lnTo>
                        <a:pt x="1742" y="128"/>
                      </a:lnTo>
                      <a:lnTo>
                        <a:pt x="1743" y="130"/>
                      </a:lnTo>
                      <a:lnTo>
                        <a:pt x="1744" y="130"/>
                      </a:lnTo>
                      <a:lnTo>
                        <a:pt x="1746" y="130"/>
                      </a:lnTo>
                      <a:lnTo>
                        <a:pt x="1746" y="130"/>
                      </a:lnTo>
                      <a:lnTo>
                        <a:pt x="1744" y="128"/>
                      </a:lnTo>
                      <a:lnTo>
                        <a:pt x="1744" y="126"/>
                      </a:lnTo>
                      <a:lnTo>
                        <a:pt x="1744" y="124"/>
                      </a:lnTo>
                      <a:lnTo>
                        <a:pt x="1743" y="122"/>
                      </a:lnTo>
                      <a:lnTo>
                        <a:pt x="1743" y="120"/>
                      </a:lnTo>
                      <a:lnTo>
                        <a:pt x="1743" y="117"/>
                      </a:lnTo>
                      <a:lnTo>
                        <a:pt x="1743" y="115"/>
                      </a:lnTo>
                      <a:lnTo>
                        <a:pt x="1743" y="114"/>
                      </a:lnTo>
                      <a:lnTo>
                        <a:pt x="1746" y="114"/>
                      </a:lnTo>
                      <a:close/>
                      <a:moveTo>
                        <a:pt x="2415" y="76"/>
                      </a:moveTo>
                      <a:lnTo>
                        <a:pt x="2416" y="77"/>
                      </a:lnTo>
                      <a:lnTo>
                        <a:pt x="2417" y="79"/>
                      </a:lnTo>
                      <a:lnTo>
                        <a:pt x="2417" y="81"/>
                      </a:lnTo>
                      <a:lnTo>
                        <a:pt x="2417" y="84"/>
                      </a:lnTo>
                      <a:lnTo>
                        <a:pt x="2417" y="87"/>
                      </a:lnTo>
                      <a:lnTo>
                        <a:pt x="2417" y="89"/>
                      </a:lnTo>
                      <a:lnTo>
                        <a:pt x="2416" y="90"/>
                      </a:lnTo>
                      <a:lnTo>
                        <a:pt x="2416" y="90"/>
                      </a:lnTo>
                      <a:lnTo>
                        <a:pt x="2414" y="88"/>
                      </a:lnTo>
                      <a:lnTo>
                        <a:pt x="2413" y="85"/>
                      </a:lnTo>
                      <a:lnTo>
                        <a:pt x="2413" y="83"/>
                      </a:lnTo>
                      <a:lnTo>
                        <a:pt x="2412" y="80"/>
                      </a:lnTo>
                      <a:lnTo>
                        <a:pt x="2412" y="78"/>
                      </a:lnTo>
                      <a:lnTo>
                        <a:pt x="2413" y="77"/>
                      </a:lnTo>
                      <a:lnTo>
                        <a:pt x="2414" y="76"/>
                      </a:lnTo>
                      <a:lnTo>
                        <a:pt x="2415" y="76"/>
                      </a:lnTo>
                      <a:close/>
                      <a:moveTo>
                        <a:pt x="692" y="57"/>
                      </a:moveTo>
                      <a:lnTo>
                        <a:pt x="695" y="59"/>
                      </a:lnTo>
                      <a:lnTo>
                        <a:pt x="698" y="63"/>
                      </a:lnTo>
                      <a:lnTo>
                        <a:pt x="699" y="68"/>
                      </a:lnTo>
                      <a:lnTo>
                        <a:pt x="700" y="73"/>
                      </a:lnTo>
                      <a:lnTo>
                        <a:pt x="703" y="77"/>
                      </a:lnTo>
                      <a:lnTo>
                        <a:pt x="705" y="78"/>
                      </a:lnTo>
                      <a:lnTo>
                        <a:pt x="707" y="79"/>
                      </a:lnTo>
                      <a:lnTo>
                        <a:pt x="711" y="79"/>
                      </a:lnTo>
                      <a:lnTo>
                        <a:pt x="714" y="79"/>
                      </a:lnTo>
                      <a:lnTo>
                        <a:pt x="717" y="79"/>
                      </a:lnTo>
                      <a:lnTo>
                        <a:pt x="720" y="81"/>
                      </a:lnTo>
                      <a:lnTo>
                        <a:pt x="722" y="82"/>
                      </a:lnTo>
                      <a:lnTo>
                        <a:pt x="723" y="85"/>
                      </a:lnTo>
                      <a:lnTo>
                        <a:pt x="724" y="88"/>
                      </a:lnTo>
                      <a:lnTo>
                        <a:pt x="724" y="89"/>
                      </a:lnTo>
                      <a:lnTo>
                        <a:pt x="726" y="93"/>
                      </a:lnTo>
                      <a:lnTo>
                        <a:pt x="731" y="96"/>
                      </a:lnTo>
                      <a:lnTo>
                        <a:pt x="736" y="99"/>
                      </a:lnTo>
                      <a:lnTo>
                        <a:pt x="743" y="100"/>
                      </a:lnTo>
                      <a:lnTo>
                        <a:pt x="747" y="100"/>
                      </a:lnTo>
                      <a:lnTo>
                        <a:pt x="755" y="103"/>
                      </a:lnTo>
                      <a:lnTo>
                        <a:pt x="760" y="109"/>
                      </a:lnTo>
                      <a:lnTo>
                        <a:pt x="765" y="114"/>
                      </a:lnTo>
                      <a:lnTo>
                        <a:pt x="771" y="120"/>
                      </a:lnTo>
                      <a:lnTo>
                        <a:pt x="780" y="128"/>
                      </a:lnTo>
                      <a:lnTo>
                        <a:pt x="786" y="139"/>
                      </a:lnTo>
                      <a:lnTo>
                        <a:pt x="786" y="152"/>
                      </a:lnTo>
                      <a:lnTo>
                        <a:pt x="783" y="155"/>
                      </a:lnTo>
                      <a:lnTo>
                        <a:pt x="779" y="157"/>
                      </a:lnTo>
                      <a:lnTo>
                        <a:pt x="773" y="156"/>
                      </a:lnTo>
                      <a:lnTo>
                        <a:pt x="768" y="154"/>
                      </a:lnTo>
                      <a:lnTo>
                        <a:pt x="765" y="152"/>
                      </a:lnTo>
                      <a:lnTo>
                        <a:pt x="762" y="150"/>
                      </a:lnTo>
                      <a:lnTo>
                        <a:pt x="760" y="148"/>
                      </a:lnTo>
                      <a:lnTo>
                        <a:pt x="758" y="147"/>
                      </a:lnTo>
                      <a:lnTo>
                        <a:pt x="755" y="147"/>
                      </a:lnTo>
                      <a:lnTo>
                        <a:pt x="753" y="148"/>
                      </a:lnTo>
                      <a:lnTo>
                        <a:pt x="751" y="148"/>
                      </a:lnTo>
                      <a:lnTo>
                        <a:pt x="749" y="147"/>
                      </a:lnTo>
                      <a:lnTo>
                        <a:pt x="747" y="145"/>
                      </a:lnTo>
                      <a:lnTo>
                        <a:pt x="746" y="142"/>
                      </a:lnTo>
                      <a:lnTo>
                        <a:pt x="745" y="138"/>
                      </a:lnTo>
                      <a:lnTo>
                        <a:pt x="743" y="136"/>
                      </a:lnTo>
                      <a:lnTo>
                        <a:pt x="740" y="134"/>
                      </a:lnTo>
                      <a:lnTo>
                        <a:pt x="738" y="133"/>
                      </a:lnTo>
                      <a:lnTo>
                        <a:pt x="736" y="132"/>
                      </a:lnTo>
                      <a:lnTo>
                        <a:pt x="734" y="132"/>
                      </a:lnTo>
                      <a:lnTo>
                        <a:pt x="733" y="133"/>
                      </a:lnTo>
                      <a:lnTo>
                        <a:pt x="731" y="135"/>
                      </a:lnTo>
                      <a:lnTo>
                        <a:pt x="729" y="137"/>
                      </a:lnTo>
                      <a:lnTo>
                        <a:pt x="728" y="141"/>
                      </a:lnTo>
                      <a:lnTo>
                        <a:pt x="728" y="143"/>
                      </a:lnTo>
                      <a:lnTo>
                        <a:pt x="728" y="145"/>
                      </a:lnTo>
                      <a:lnTo>
                        <a:pt x="728" y="148"/>
                      </a:lnTo>
                      <a:lnTo>
                        <a:pt x="727" y="150"/>
                      </a:lnTo>
                      <a:lnTo>
                        <a:pt x="726" y="152"/>
                      </a:lnTo>
                      <a:lnTo>
                        <a:pt x="724" y="153"/>
                      </a:lnTo>
                      <a:lnTo>
                        <a:pt x="722" y="153"/>
                      </a:lnTo>
                      <a:lnTo>
                        <a:pt x="720" y="154"/>
                      </a:lnTo>
                      <a:lnTo>
                        <a:pt x="717" y="154"/>
                      </a:lnTo>
                      <a:lnTo>
                        <a:pt x="715" y="154"/>
                      </a:lnTo>
                      <a:lnTo>
                        <a:pt x="713" y="155"/>
                      </a:lnTo>
                      <a:lnTo>
                        <a:pt x="711" y="156"/>
                      </a:lnTo>
                      <a:lnTo>
                        <a:pt x="706" y="161"/>
                      </a:lnTo>
                      <a:lnTo>
                        <a:pt x="703" y="166"/>
                      </a:lnTo>
                      <a:lnTo>
                        <a:pt x="699" y="170"/>
                      </a:lnTo>
                      <a:lnTo>
                        <a:pt x="693" y="174"/>
                      </a:lnTo>
                      <a:lnTo>
                        <a:pt x="685" y="174"/>
                      </a:lnTo>
                      <a:lnTo>
                        <a:pt x="683" y="171"/>
                      </a:lnTo>
                      <a:lnTo>
                        <a:pt x="682" y="169"/>
                      </a:lnTo>
                      <a:lnTo>
                        <a:pt x="681" y="167"/>
                      </a:lnTo>
                      <a:lnTo>
                        <a:pt x="681" y="165"/>
                      </a:lnTo>
                      <a:lnTo>
                        <a:pt x="681" y="163"/>
                      </a:lnTo>
                      <a:lnTo>
                        <a:pt x="681" y="160"/>
                      </a:lnTo>
                      <a:lnTo>
                        <a:pt x="679" y="158"/>
                      </a:lnTo>
                      <a:lnTo>
                        <a:pt x="678" y="157"/>
                      </a:lnTo>
                      <a:lnTo>
                        <a:pt x="675" y="156"/>
                      </a:lnTo>
                      <a:lnTo>
                        <a:pt x="672" y="156"/>
                      </a:lnTo>
                      <a:lnTo>
                        <a:pt x="670" y="155"/>
                      </a:lnTo>
                      <a:lnTo>
                        <a:pt x="668" y="155"/>
                      </a:lnTo>
                      <a:lnTo>
                        <a:pt x="664" y="154"/>
                      </a:lnTo>
                      <a:lnTo>
                        <a:pt x="662" y="154"/>
                      </a:lnTo>
                      <a:lnTo>
                        <a:pt x="659" y="153"/>
                      </a:lnTo>
                      <a:lnTo>
                        <a:pt x="657" y="152"/>
                      </a:lnTo>
                      <a:lnTo>
                        <a:pt x="655" y="150"/>
                      </a:lnTo>
                      <a:lnTo>
                        <a:pt x="655" y="148"/>
                      </a:lnTo>
                      <a:lnTo>
                        <a:pt x="655" y="146"/>
                      </a:lnTo>
                      <a:lnTo>
                        <a:pt x="656" y="143"/>
                      </a:lnTo>
                      <a:lnTo>
                        <a:pt x="657" y="142"/>
                      </a:lnTo>
                      <a:lnTo>
                        <a:pt x="659" y="139"/>
                      </a:lnTo>
                      <a:lnTo>
                        <a:pt x="662" y="138"/>
                      </a:lnTo>
                      <a:lnTo>
                        <a:pt x="664" y="137"/>
                      </a:lnTo>
                      <a:lnTo>
                        <a:pt x="667" y="136"/>
                      </a:lnTo>
                      <a:lnTo>
                        <a:pt x="668" y="134"/>
                      </a:lnTo>
                      <a:lnTo>
                        <a:pt x="672" y="131"/>
                      </a:lnTo>
                      <a:lnTo>
                        <a:pt x="675" y="126"/>
                      </a:lnTo>
                      <a:lnTo>
                        <a:pt x="679" y="122"/>
                      </a:lnTo>
                      <a:lnTo>
                        <a:pt x="682" y="120"/>
                      </a:lnTo>
                      <a:lnTo>
                        <a:pt x="684" y="117"/>
                      </a:lnTo>
                      <a:lnTo>
                        <a:pt x="687" y="115"/>
                      </a:lnTo>
                      <a:lnTo>
                        <a:pt x="688" y="113"/>
                      </a:lnTo>
                      <a:lnTo>
                        <a:pt x="689" y="111"/>
                      </a:lnTo>
                      <a:lnTo>
                        <a:pt x="688" y="109"/>
                      </a:lnTo>
                      <a:lnTo>
                        <a:pt x="685" y="106"/>
                      </a:lnTo>
                      <a:lnTo>
                        <a:pt x="681" y="104"/>
                      </a:lnTo>
                      <a:lnTo>
                        <a:pt x="679" y="103"/>
                      </a:lnTo>
                      <a:lnTo>
                        <a:pt x="678" y="103"/>
                      </a:lnTo>
                      <a:lnTo>
                        <a:pt x="675" y="102"/>
                      </a:lnTo>
                      <a:lnTo>
                        <a:pt x="673" y="101"/>
                      </a:lnTo>
                      <a:lnTo>
                        <a:pt x="672" y="100"/>
                      </a:lnTo>
                      <a:lnTo>
                        <a:pt x="672" y="98"/>
                      </a:lnTo>
                      <a:lnTo>
                        <a:pt x="672" y="95"/>
                      </a:lnTo>
                      <a:lnTo>
                        <a:pt x="672" y="93"/>
                      </a:lnTo>
                      <a:lnTo>
                        <a:pt x="673" y="90"/>
                      </a:lnTo>
                      <a:lnTo>
                        <a:pt x="673" y="87"/>
                      </a:lnTo>
                      <a:lnTo>
                        <a:pt x="674" y="83"/>
                      </a:lnTo>
                      <a:lnTo>
                        <a:pt x="675" y="77"/>
                      </a:lnTo>
                      <a:lnTo>
                        <a:pt x="678" y="69"/>
                      </a:lnTo>
                      <a:lnTo>
                        <a:pt x="680" y="62"/>
                      </a:lnTo>
                      <a:lnTo>
                        <a:pt x="684" y="58"/>
                      </a:lnTo>
                      <a:lnTo>
                        <a:pt x="692" y="57"/>
                      </a:lnTo>
                      <a:close/>
                      <a:moveTo>
                        <a:pt x="87" y="49"/>
                      </a:moveTo>
                      <a:lnTo>
                        <a:pt x="84" y="49"/>
                      </a:lnTo>
                      <a:lnTo>
                        <a:pt x="82" y="50"/>
                      </a:lnTo>
                      <a:lnTo>
                        <a:pt x="80" y="51"/>
                      </a:lnTo>
                      <a:lnTo>
                        <a:pt x="77" y="52"/>
                      </a:lnTo>
                      <a:lnTo>
                        <a:pt x="74" y="54"/>
                      </a:lnTo>
                      <a:lnTo>
                        <a:pt x="71" y="57"/>
                      </a:lnTo>
                      <a:lnTo>
                        <a:pt x="68" y="59"/>
                      </a:lnTo>
                      <a:lnTo>
                        <a:pt x="65" y="61"/>
                      </a:lnTo>
                      <a:lnTo>
                        <a:pt x="61" y="63"/>
                      </a:lnTo>
                      <a:lnTo>
                        <a:pt x="58" y="66"/>
                      </a:lnTo>
                      <a:lnTo>
                        <a:pt x="54" y="69"/>
                      </a:lnTo>
                      <a:lnTo>
                        <a:pt x="50" y="71"/>
                      </a:lnTo>
                      <a:lnTo>
                        <a:pt x="46" y="74"/>
                      </a:lnTo>
                      <a:lnTo>
                        <a:pt x="34" y="78"/>
                      </a:lnTo>
                      <a:lnTo>
                        <a:pt x="22" y="83"/>
                      </a:lnTo>
                      <a:lnTo>
                        <a:pt x="18" y="85"/>
                      </a:lnTo>
                      <a:lnTo>
                        <a:pt x="13" y="88"/>
                      </a:lnTo>
                      <a:lnTo>
                        <a:pt x="6" y="89"/>
                      </a:lnTo>
                      <a:lnTo>
                        <a:pt x="2" y="91"/>
                      </a:lnTo>
                      <a:lnTo>
                        <a:pt x="0" y="96"/>
                      </a:lnTo>
                      <a:lnTo>
                        <a:pt x="1" y="98"/>
                      </a:lnTo>
                      <a:lnTo>
                        <a:pt x="2" y="99"/>
                      </a:lnTo>
                      <a:lnTo>
                        <a:pt x="4" y="99"/>
                      </a:lnTo>
                      <a:lnTo>
                        <a:pt x="5" y="99"/>
                      </a:lnTo>
                      <a:lnTo>
                        <a:pt x="7" y="98"/>
                      </a:lnTo>
                      <a:lnTo>
                        <a:pt x="8" y="96"/>
                      </a:lnTo>
                      <a:lnTo>
                        <a:pt x="13" y="93"/>
                      </a:lnTo>
                      <a:lnTo>
                        <a:pt x="16" y="91"/>
                      </a:lnTo>
                      <a:lnTo>
                        <a:pt x="20" y="90"/>
                      </a:lnTo>
                      <a:lnTo>
                        <a:pt x="24" y="90"/>
                      </a:lnTo>
                      <a:lnTo>
                        <a:pt x="28" y="88"/>
                      </a:lnTo>
                      <a:lnTo>
                        <a:pt x="31" y="87"/>
                      </a:lnTo>
                      <a:lnTo>
                        <a:pt x="36" y="84"/>
                      </a:lnTo>
                      <a:lnTo>
                        <a:pt x="39" y="83"/>
                      </a:lnTo>
                      <a:lnTo>
                        <a:pt x="41" y="83"/>
                      </a:lnTo>
                      <a:lnTo>
                        <a:pt x="44" y="83"/>
                      </a:lnTo>
                      <a:lnTo>
                        <a:pt x="46" y="84"/>
                      </a:lnTo>
                      <a:lnTo>
                        <a:pt x="48" y="85"/>
                      </a:lnTo>
                      <a:lnTo>
                        <a:pt x="50" y="88"/>
                      </a:lnTo>
                      <a:lnTo>
                        <a:pt x="50" y="90"/>
                      </a:lnTo>
                      <a:lnTo>
                        <a:pt x="50" y="96"/>
                      </a:lnTo>
                      <a:lnTo>
                        <a:pt x="48" y="102"/>
                      </a:lnTo>
                      <a:lnTo>
                        <a:pt x="45" y="106"/>
                      </a:lnTo>
                      <a:lnTo>
                        <a:pt x="39" y="110"/>
                      </a:lnTo>
                      <a:lnTo>
                        <a:pt x="33" y="115"/>
                      </a:lnTo>
                      <a:lnTo>
                        <a:pt x="27" y="121"/>
                      </a:lnTo>
                      <a:lnTo>
                        <a:pt x="25" y="127"/>
                      </a:lnTo>
                      <a:lnTo>
                        <a:pt x="28" y="134"/>
                      </a:lnTo>
                      <a:lnTo>
                        <a:pt x="33" y="136"/>
                      </a:lnTo>
                      <a:lnTo>
                        <a:pt x="37" y="135"/>
                      </a:lnTo>
                      <a:lnTo>
                        <a:pt x="42" y="132"/>
                      </a:lnTo>
                      <a:lnTo>
                        <a:pt x="47" y="127"/>
                      </a:lnTo>
                      <a:lnTo>
                        <a:pt x="50" y="123"/>
                      </a:lnTo>
                      <a:lnTo>
                        <a:pt x="52" y="120"/>
                      </a:lnTo>
                      <a:lnTo>
                        <a:pt x="54" y="116"/>
                      </a:lnTo>
                      <a:lnTo>
                        <a:pt x="55" y="114"/>
                      </a:lnTo>
                      <a:lnTo>
                        <a:pt x="57" y="111"/>
                      </a:lnTo>
                      <a:lnTo>
                        <a:pt x="59" y="110"/>
                      </a:lnTo>
                      <a:lnTo>
                        <a:pt x="61" y="110"/>
                      </a:lnTo>
                      <a:lnTo>
                        <a:pt x="62" y="111"/>
                      </a:lnTo>
                      <a:lnTo>
                        <a:pt x="62" y="112"/>
                      </a:lnTo>
                      <a:lnTo>
                        <a:pt x="61" y="114"/>
                      </a:lnTo>
                      <a:lnTo>
                        <a:pt x="61" y="116"/>
                      </a:lnTo>
                      <a:lnTo>
                        <a:pt x="60" y="120"/>
                      </a:lnTo>
                      <a:lnTo>
                        <a:pt x="58" y="123"/>
                      </a:lnTo>
                      <a:lnTo>
                        <a:pt x="57" y="126"/>
                      </a:lnTo>
                      <a:lnTo>
                        <a:pt x="55" y="130"/>
                      </a:lnTo>
                      <a:lnTo>
                        <a:pt x="56" y="132"/>
                      </a:lnTo>
                      <a:lnTo>
                        <a:pt x="60" y="131"/>
                      </a:lnTo>
                      <a:lnTo>
                        <a:pt x="65" y="128"/>
                      </a:lnTo>
                      <a:lnTo>
                        <a:pt x="69" y="124"/>
                      </a:lnTo>
                      <a:lnTo>
                        <a:pt x="72" y="121"/>
                      </a:lnTo>
                      <a:lnTo>
                        <a:pt x="74" y="119"/>
                      </a:lnTo>
                      <a:lnTo>
                        <a:pt x="78" y="114"/>
                      </a:lnTo>
                      <a:lnTo>
                        <a:pt x="80" y="111"/>
                      </a:lnTo>
                      <a:lnTo>
                        <a:pt x="81" y="105"/>
                      </a:lnTo>
                      <a:lnTo>
                        <a:pt x="81" y="101"/>
                      </a:lnTo>
                      <a:lnTo>
                        <a:pt x="82" y="100"/>
                      </a:lnTo>
                      <a:lnTo>
                        <a:pt x="83" y="98"/>
                      </a:lnTo>
                      <a:lnTo>
                        <a:pt x="83" y="96"/>
                      </a:lnTo>
                      <a:lnTo>
                        <a:pt x="84" y="95"/>
                      </a:lnTo>
                      <a:lnTo>
                        <a:pt x="85" y="94"/>
                      </a:lnTo>
                      <a:lnTo>
                        <a:pt x="87" y="95"/>
                      </a:lnTo>
                      <a:lnTo>
                        <a:pt x="88" y="96"/>
                      </a:lnTo>
                      <a:lnTo>
                        <a:pt x="94" y="96"/>
                      </a:lnTo>
                      <a:lnTo>
                        <a:pt x="99" y="92"/>
                      </a:lnTo>
                      <a:lnTo>
                        <a:pt x="103" y="85"/>
                      </a:lnTo>
                      <a:lnTo>
                        <a:pt x="105" y="79"/>
                      </a:lnTo>
                      <a:lnTo>
                        <a:pt x="106" y="76"/>
                      </a:lnTo>
                      <a:lnTo>
                        <a:pt x="109" y="73"/>
                      </a:lnTo>
                      <a:lnTo>
                        <a:pt x="111" y="72"/>
                      </a:lnTo>
                      <a:lnTo>
                        <a:pt x="113" y="70"/>
                      </a:lnTo>
                      <a:lnTo>
                        <a:pt x="114" y="68"/>
                      </a:lnTo>
                      <a:lnTo>
                        <a:pt x="114" y="66"/>
                      </a:lnTo>
                      <a:lnTo>
                        <a:pt x="114" y="63"/>
                      </a:lnTo>
                      <a:lnTo>
                        <a:pt x="113" y="62"/>
                      </a:lnTo>
                      <a:lnTo>
                        <a:pt x="111" y="62"/>
                      </a:lnTo>
                      <a:lnTo>
                        <a:pt x="109" y="62"/>
                      </a:lnTo>
                      <a:lnTo>
                        <a:pt x="106" y="62"/>
                      </a:lnTo>
                      <a:lnTo>
                        <a:pt x="105" y="63"/>
                      </a:lnTo>
                      <a:lnTo>
                        <a:pt x="103" y="66"/>
                      </a:lnTo>
                      <a:lnTo>
                        <a:pt x="100" y="68"/>
                      </a:lnTo>
                      <a:lnTo>
                        <a:pt x="99" y="70"/>
                      </a:lnTo>
                      <a:lnTo>
                        <a:pt x="96" y="72"/>
                      </a:lnTo>
                      <a:lnTo>
                        <a:pt x="94" y="74"/>
                      </a:lnTo>
                      <a:lnTo>
                        <a:pt x="91" y="74"/>
                      </a:lnTo>
                      <a:lnTo>
                        <a:pt x="89" y="76"/>
                      </a:lnTo>
                      <a:lnTo>
                        <a:pt x="87" y="76"/>
                      </a:lnTo>
                      <a:lnTo>
                        <a:pt x="83" y="77"/>
                      </a:lnTo>
                      <a:lnTo>
                        <a:pt x="78" y="74"/>
                      </a:lnTo>
                      <a:lnTo>
                        <a:pt x="76" y="71"/>
                      </a:lnTo>
                      <a:lnTo>
                        <a:pt x="76" y="67"/>
                      </a:lnTo>
                      <a:lnTo>
                        <a:pt x="77" y="61"/>
                      </a:lnTo>
                      <a:lnTo>
                        <a:pt x="81" y="57"/>
                      </a:lnTo>
                      <a:lnTo>
                        <a:pt x="82" y="56"/>
                      </a:lnTo>
                      <a:lnTo>
                        <a:pt x="84" y="55"/>
                      </a:lnTo>
                      <a:lnTo>
                        <a:pt x="87" y="54"/>
                      </a:lnTo>
                      <a:lnTo>
                        <a:pt x="88" y="51"/>
                      </a:lnTo>
                      <a:lnTo>
                        <a:pt x="89" y="51"/>
                      </a:lnTo>
                      <a:lnTo>
                        <a:pt x="89" y="50"/>
                      </a:lnTo>
                      <a:lnTo>
                        <a:pt x="88" y="50"/>
                      </a:lnTo>
                      <a:lnTo>
                        <a:pt x="87" y="49"/>
                      </a:lnTo>
                      <a:close/>
                      <a:moveTo>
                        <a:pt x="2366" y="47"/>
                      </a:moveTo>
                      <a:lnTo>
                        <a:pt x="2368" y="47"/>
                      </a:lnTo>
                      <a:lnTo>
                        <a:pt x="2369" y="48"/>
                      </a:lnTo>
                      <a:lnTo>
                        <a:pt x="2369" y="51"/>
                      </a:lnTo>
                      <a:lnTo>
                        <a:pt x="2370" y="52"/>
                      </a:lnTo>
                      <a:lnTo>
                        <a:pt x="2371" y="56"/>
                      </a:lnTo>
                      <a:lnTo>
                        <a:pt x="2372" y="59"/>
                      </a:lnTo>
                      <a:lnTo>
                        <a:pt x="2373" y="62"/>
                      </a:lnTo>
                      <a:lnTo>
                        <a:pt x="2373" y="65"/>
                      </a:lnTo>
                      <a:lnTo>
                        <a:pt x="2372" y="65"/>
                      </a:lnTo>
                      <a:lnTo>
                        <a:pt x="2371" y="63"/>
                      </a:lnTo>
                      <a:lnTo>
                        <a:pt x="2370" y="63"/>
                      </a:lnTo>
                      <a:lnTo>
                        <a:pt x="2369" y="62"/>
                      </a:lnTo>
                      <a:lnTo>
                        <a:pt x="2369" y="61"/>
                      </a:lnTo>
                      <a:lnTo>
                        <a:pt x="2366" y="60"/>
                      </a:lnTo>
                      <a:lnTo>
                        <a:pt x="2365" y="58"/>
                      </a:lnTo>
                      <a:lnTo>
                        <a:pt x="2365" y="56"/>
                      </a:lnTo>
                      <a:lnTo>
                        <a:pt x="2365" y="55"/>
                      </a:lnTo>
                      <a:lnTo>
                        <a:pt x="2365" y="52"/>
                      </a:lnTo>
                      <a:lnTo>
                        <a:pt x="2366" y="51"/>
                      </a:lnTo>
                      <a:lnTo>
                        <a:pt x="2366" y="48"/>
                      </a:lnTo>
                      <a:lnTo>
                        <a:pt x="2366" y="47"/>
                      </a:lnTo>
                      <a:close/>
                      <a:moveTo>
                        <a:pt x="2468" y="0"/>
                      </a:moveTo>
                      <a:lnTo>
                        <a:pt x="2493" y="84"/>
                      </a:lnTo>
                      <a:lnTo>
                        <a:pt x="2514" y="171"/>
                      </a:lnTo>
                      <a:lnTo>
                        <a:pt x="2530" y="259"/>
                      </a:lnTo>
                      <a:lnTo>
                        <a:pt x="2543" y="350"/>
                      </a:lnTo>
                      <a:lnTo>
                        <a:pt x="2549" y="442"/>
                      </a:lnTo>
                      <a:lnTo>
                        <a:pt x="2536" y="450"/>
                      </a:lnTo>
                      <a:lnTo>
                        <a:pt x="2523" y="458"/>
                      </a:lnTo>
                      <a:lnTo>
                        <a:pt x="2471" y="493"/>
                      </a:lnTo>
                      <a:lnTo>
                        <a:pt x="2418" y="534"/>
                      </a:lnTo>
                      <a:lnTo>
                        <a:pt x="2364" y="579"/>
                      </a:lnTo>
                      <a:lnTo>
                        <a:pt x="2308" y="626"/>
                      </a:lnTo>
                      <a:lnTo>
                        <a:pt x="2249" y="674"/>
                      </a:lnTo>
                      <a:lnTo>
                        <a:pt x="2249" y="673"/>
                      </a:lnTo>
                      <a:lnTo>
                        <a:pt x="2250" y="672"/>
                      </a:lnTo>
                      <a:lnTo>
                        <a:pt x="2251" y="671"/>
                      </a:lnTo>
                      <a:lnTo>
                        <a:pt x="2251" y="670"/>
                      </a:lnTo>
                      <a:lnTo>
                        <a:pt x="2251" y="669"/>
                      </a:lnTo>
                      <a:lnTo>
                        <a:pt x="2252" y="669"/>
                      </a:lnTo>
                      <a:lnTo>
                        <a:pt x="2253" y="667"/>
                      </a:lnTo>
                      <a:lnTo>
                        <a:pt x="2253" y="666"/>
                      </a:lnTo>
                      <a:lnTo>
                        <a:pt x="2253" y="663"/>
                      </a:lnTo>
                      <a:lnTo>
                        <a:pt x="2252" y="663"/>
                      </a:lnTo>
                      <a:lnTo>
                        <a:pt x="2251" y="663"/>
                      </a:lnTo>
                      <a:lnTo>
                        <a:pt x="2250" y="665"/>
                      </a:lnTo>
                      <a:lnTo>
                        <a:pt x="2249" y="666"/>
                      </a:lnTo>
                      <a:lnTo>
                        <a:pt x="2249" y="666"/>
                      </a:lnTo>
                      <a:lnTo>
                        <a:pt x="2244" y="671"/>
                      </a:lnTo>
                      <a:lnTo>
                        <a:pt x="2240" y="677"/>
                      </a:lnTo>
                      <a:lnTo>
                        <a:pt x="2235" y="681"/>
                      </a:lnTo>
                      <a:lnTo>
                        <a:pt x="2235" y="681"/>
                      </a:lnTo>
                      <a:lnTo>
                        <a:pt x="2234" y="682"/>
                      </a:lnTo>
                      <a:lnTo>
                        <a:pt x="2234" y="684"/>
                      </a:lnTo>
                      <a:lnTo>
                        <a:pt x="2233" y="685"/>
                      </a:lnTo>
                      <a:lnTo>
                        <a:pt x="2233" y="688"/>
                      </a:lnTo>
                      <a:lnTo>
                        <a:pt x="2230" y="690"/>
                      </a:lnTo>
                      <a:lnTo>
                        <a:pt x="2226" y="692"/>
                      </a:lnTo>
                      <a:lnTo>
                        <a:pt x="2222" y="694"/>
                      </a:lnTo>
                      <a:lnTo>
                        <a:pt x="2222" y="694"/>
                      </a:lnTo>
                      <a:lnTo>
                        <a:pt x="2219" y="696"/>
                      </a:lnTo>
                      <a:lnTo>
                        <a:pt x="2218" y="696"/>
                      </a:lnTo>
                      <a:lnTo>
                        <a:pt x="2218" y="696"/>
                      </a:lnTo>
                      <a:lnTo>
                        <a:pt x="2219" y="694"/>
                      </a:lnTo>
                      <a:lnTo>
                        <a:pt x="2219" y="693"/>
                      </a:lnTo>
                      <a:lnTo>
                        <a:pt x="2218" y="691"/>
                      </a:lnTo>
                      <a:lnTo>
                        <a:pt x="2218" y="690"/>
                      </a:lnTo>
                      <a:lnTo>
                        <a:pt x="2217" y="688"/>
                      </a:lnTo>
                      <a:lnTo>
                        <a:pt x="2217" y="684"/>
                      </a:lnTo>
                      <a:lnTo>
                        <a:pt x="2216" y="682"/>
                      </a:lnTo>
                      <a:lnTo>
                        <a:pt x="2215" y="681"/>
                      </a:lnTo>
                      <a:lnTo>
                        <a:pt x="2213" y="680"/>
                      </a:lnTo>
                      <a:lnTo>
                        <a:pt x="2211" y="681"/>
                      </a:lnTo>
                      <a:lnTo>
                        <a:pt x="2209" y="684"/>
                      </a:lnTo>
                      <a:lnTo>
                        <a:pt x="2207" y="689"/>
                      </a:lnTo>
                      <a:lnTo>
                        <a:pt x="2205" y="693"/>
                      </a:lnTo>
                      <a:lnTo>
                        <a:pt x="2202" y="699"/>
                      </a:lnTo>
                      <a:lnTo>
                        <a:pt x="2201" y="702"/>
                      </a:lnTo>
                      <a:lnTo>
                        <a:pt x="2200" y="706"/>
                      </a:lnTo>
                      <a:lnTo>
                        <a:pt x="2200" y="710"/>
                      </a:lnTo>
                      <a:lnTo>
                        <a:pt x="2198" y="714"/>
                      </a:lnTo>
                      <a:lnTo>
                        <a:pt x="2185" y="723"/>
                      </a:lnTo>
                      <a:lnTo>
                        <a:pt x="2186" y="722"/>
                      </a:lnTo>
                      <a:lnTo>
                        <a:pt x="2186" y="720"/>
                      </a:lnTo>
                      <a:lnTo>
                        <a:pt x="2187" y="717"/>
                      </a:lnTo>
                      <a:lnTo>
                        <a:pt x="2187" y="715"/>
                      </a:lnTo>
                      <a:lnTo>
                        <a:pt x="2188" y="713"/>
                      </a:lnTo>
                      <a:lnTo>
                        <a:pt x="2122" y="760"/>
                      </a:lnTo>
                      <a:lnTo>
                        <a:pt x="2122" y="759"/>
                      </a:lnTo>
                      <a:lnTo>
                        <a:pt x="2122" y="758"/>
                      </a:lnTo>
                      <a:lnTo>
                        <a:pt x="2121" y="755"/>
                      </a:lnTo>
                      <a:lnTo>
                        <a:pt x="2121" y="753"/>
                      </a:lnTo>
                      <a:lnTo>
                        <a:pt x="2120" y="750"/>
                      </a:lnTo>
                      <a:lnTo>
                        <a:pt x="2118" y="750"/>
                      </a:lnTo>
                      <a:lnTo>
                        <a:pt x="2117" y="750"/>
                      </a:lnTo>
                      <a:lnTo>
                        <a:pt x="2115" y="750"/>
                      </a:lnTo>
                      <a:lnTo>
                        <a:pt x="2114" y="749"/>
                      </a:lnTo>
                      <a:lnTo>
                        <a:pt x="2113" y="747"/>
                      </a:lnTo>
                      <a:lnTo>
                        <a:pt x="2113" y="745"/>
                      </a:lnTo>
                      <a:lnTo>
                        <a:pt x="2112" y="743"/>
                      </a:lnTo>
                      <a:lnTo>
                        <a:pt x="2111" y="739"/>
                      </a:lnTo>
                      <a:lnTo>
                        <a:pt x="2111" y="737"/>
                      </a:lnTo>
                      <a:lnTo>
                        <a:pt x="2111" y="734"/>
                      </a:lnTo>
                      <a:lnTo>
                        <a:pt x="2110" y="731"/>
                      </a:lnTo>
                      <a:lnTo>
                        <a:pt x="2109" y="730"/>
                      </a:lnTo>
                      <a:lnTo>
                        <a:pt x="2107" y="728"/>
                      </a:lnTo>
                      <a:lnTo>
                        <a:pt x="2106" y="730"/>
                      </a:lnTo>
                      <a:lnTo>
                        <a:pt x="2103" y="731"/>
                      </a:lnTo>
                      <a:lnTo>
                        <a:pt x="2101" y="731"/>
                      </a:lnTo>
                      <a:lnTo>
                        <a:pt x="2100" y="732"/>
                      </a:lnTo>
                      <a:lnTo>
                        <a:pt x="2098" y="733"/>
                      </a:lnTo>
                      <a:lnTo>
                        <a:pt x="2097" y="733"/>
                      </a:lnTo>
                      <a:lnTo>
                        <a:pt x="2095" y="732"/>
                      </a:lnTo>
                      <a:lnTo>
                        <a:pt x="2093" y="730"/>
                      </a:lnTo>
                      <a:lnTo>
                        <a:pt x="2092" y="727"/>
                      </a:lnTo>
                      <a:lnTo>
                        <a:pt x="2091" y="726"/>
                      </a:lnTo>
                      <a:lnTo>
                        <a:pt x="2090" y="725"/>
                      </a:lnTo>
                      <a:lnTo>
                        <a:pt x="2089" y="725"/>
                      </a:lnTo>
                      <a:lnTo>
                        <a:pt x="2088" y="725"/>
                      </a:lnTo>
                      <a:lnTo>
                        <a:pt x="2087" y="727"/>
                      </a:lnTo>
                      <a:lnTo>
                        <a:pt x="2087" y="730"/>
                      </a:lnTo>
                      <a:lnTo>
                        <a:pt x="2087" y="732"/>
                      </a:lnTo>
                      <a:lnTo>
                        <a:pt x="2087" y="734"/>
                      </a:lnTo>
                      <a:lnTo>
                        <a:pt x="2088" y="736"/>
                      </a:lnTo>
                      <a:lnTo>
                        <a:pt x="2089" y="738"/>
                      </a:lnTo>
                      <a:lnTo>
                        <a:pt x="2091" y="741"/>
                      </a:lnTo>
                      <a:lnTo>
                        <a:pt x="2096" y="753"/>
                      </a:lnTo>
                      <a:lnTo>
                        <a:pt x="2098" y="766"/>
                      </a:lnTo>
                      <a:lnTo>
                        <a:pt x="2098" y="771"/>
                      </a:lnTo>
                      <a:lnTo>
                        <a:pt x="2099" y="775"/>
                      </a:lnTo>
                      <a:lnTo>
                        <a:pt x="2100" y="777"/>
                      </a:lnTo>
                      <a:lnTo>
                        <a:pt x="2102" y="779"/>
                      </a:lnTo>
                      <a:lnTo>
                        <a:pt x="2104" y="781"/>
                      </a:lnTo>
                      <a:lnTo>
                        <a:pt x="2102" y="782"/>
                      </a:lnTo>
                      <a:lnTo>
                        <a:pt x="2101" y="781"/>
                      </a:lnTo>
                      <a:lnTo>
                        <a:pt x="2099" y="780"/>
                      </a:lnTo>
                      <a:lnTo>
                        <a:pt x="2097" y="780"/>
                      </a:lnTo>
                      <a:lnTo>
                        <a:pt x="2097" y="779"/>
                      </a:lnTo>
                      <a:lnTo>
                        <a:pt x="2096" y="778"/>
                      </a:lnTo>
                      <a:lnTo>
                        <a:pt x="2096" y="778"/>
                      </a:lnTo>
                      <a:lnTo>
                        <a:pt x="2095" y="778"/>
                      </a:lnTo>
                      <a:lnTo>
                        <a:pt x="2086" y="782"/>
                      </a:lnTo>
                      <a:lnTo>
                        <a:pt x="2079" y="787"/>
                      </a:lnTo>
                      <a:lnTo>
                        <a:pt x="2078" y="786"/>
                      </a:lnTo>
                      <a:lnTo>
                        <a:pt x="2077" y="782"/>
                      </a:lnTo>
                      <a:lnTo>
                        <a:pt x="2076" y="779"/>
                      </a:lnTo>
                      <a:lnTo>
                        <a:pt x="2075" y="769"/>
                      </a:lnTo>
                      <a:lnTo>
                        <a:pt x="2075" y="757"/>
                      </a:lnTo>
                      <a:lnTo>
                        <a:pt x="2074" y="746"/>
                      </a:lnTo>
                      <a:lnTo>
                        <a:pt x="2071" y="745"/>
                      </a:lnTo>
                      <a:lnTo>
                        <a:pt x="2069" y="743"/>
                      </a:lnTo>
                      <a:lnTo>
                        <a:pt x="2067" y="743"/>
                      </a:lnTo>
                      <a:lnTo>
                        <a:pt x="2064" y="742"/>
                      </a:lnTo>
                      <a:lnTo>
                        <a:pt x="2062" y="743"/>
                      </a:lnTo>
                      <a:lnTo>
                        <a:pt x="2060" y="745"/>
                      </a:lnTo>
                      <a:lnTo>
                        <a:pt x="2058" y="748"/>
                      </a:lnTo>
                      <a:lnTo>
                        <a:pt x="2056" y="752"/>
                      </a:lnTo>
                      <a:lnTo>
                        <a:pt x="2054" y="755"/>
                      </a:lnTo>
                      <a:lnTo>
                        <a:pt x="2052" y="758"/>
                      </a:lnTo>
                      <a:lnTo>
                        <a:pt x="2049" y="761"/>
                      </a:lnTo>
                      <a:lnTo>
                        <a:pt x="2047" y="766"/>
                      </a:lnTo>
                      <a:lnTo>
                        <a:pt x="2045" y="770"/>
                      </a:lnTo>
                      <a:lnTo>
                        <a:pt x="2042" y="772"/>
                      </a:lnTo>
                      <a:lnTo>
                        <a:pt x="2038" y="775"/>
                      </a:lnTo>
                      <a:lnTo>
                        <a:pt x="2037" y="776"/>
                      </a:lnTo>
                      <a:lnTo>
                        <a:pt x="2036" y="775"/>
                      </a:lnTo>
                      <a:lnTo>
                        <a:pt x="2036" y="774"/>
                      </a:lnTo>
                      <a:lnTo>
                        <a:pt x="2035" y="772"/>
                      </a:lnTo>
                      <a:lnTo>
                        <a:pt x="2034" y="770"/>
                      </a:lnTo>
                      <a:lnTo>
                        <a:pt x="2032" y="769"/>
                      </a:lnTo>
                      <a:lnTo>
                        <a:pt x="2028" y="769"/>
                      </a:lnTo>
                      <a:lnTo>
                        <a:pt x="2026" y="770"/>
                      </a:lnTo>
                      <a:lnTo>
                        <a:pt x="2024" y="771"/>
                      </a:lnTo>
                      <a:lnTo>
                        <a:pt x="2021" y="775"/>
                      </a:lnTo>
                      <a:lnTo>
                        <a:pt x="2019" y="777"/>
                      </a:lnTo>
                      <a:lnTo>
                        <a:pt x="2016" y="783"/>
                      </a:lnTo>
                      <a:lnTo>
                        <a:pt x="2016" y="790"/>
                      </a:lnTo>
                      <a:lnTo>
                        <a:pt x="2016" y="797"/>
                      </a:lnTo>
                      <a:lnTo>
                        <a:pt x="2016" y="800"/>
                      </a:lnTo>
                      <a:lnTo>
                        <a:pt x="2015" y="803"/>
                      </a:lnTo>
                      <a:lnTo>
                        <a:pt x="2014" y="805"/>
                      </a:lnTo>
                      <a:lnTo>
                        <a:pt x="2013" y="808"/>
                      </a:lnTo>
                      <a:lnTo>
                        <a:pt x="2012" y="810"/>
                      </a:lnTo>
                      <a:lnTo>
                        <a:pt x="2011" y="812"/>
                      </a:lnTo>
                      <a:lnTo>
                        <a:pt x="2010" y="813"/>
                      </a:lnTo>
                      <a:lnTo>
                        <a:pt x="2008" y="813"/>
                      </a:lnTo>
                      <a:lnTo>
                        <a:pt x="2006" y="813"/>
                      </a:lnTo>
                      <a:lnTo>
                        <a:pt x="2005" y="814"/>
                      </a:lnTo>
                      <a:lnTo>
                        <a:pt x="2002" y="816"/>
                      </a:lnTo>
                      <a:lnTo>
                        <a:pt x="1999" y="819"/>
                      </a:lnTo>
                      <a:lnTo>
                        <a:pt x="1995" y="823"/>
                      </a:lnTo>
                      <a:lnTo>
                        <a:pt x="1992" y="827"/>
                      </a:lnTo>
                      <a:lnTo>
                        <a:pt x="1990" y="832"/>
                      </a:lnTo>
                      <a:lnTo>
                        <a:pt x="1989" y="836"/>
                      </a:lnTo>
                      <a:lnTo>
                        <a:pt x="1987" y="841"/>
                      </a:lnTo>
                      <a:lnTo>
                        <a:pt x="1987" y="845"/>
                      </a:lnTo>
                      <a:lnTo>
                        <a:pt x="1986" y="850"/>
                      </a:lnTo>
                      <a:lnTo>
                        <a:pt x="1973" y="855"/>
                      </a:lnTo>
                      <a:lnTo>
                        <a:pt x="1975" y="852"/>
                      </a:lnTo>
                      <a:lnTo>
                        <a:pt x="1939" y="872"/>
                      </a:lnTo>
                      <a:lnTo>
                        <a:pt x="1903" y="889"/>
                      </a:lnTo>
                      <a:lnTo>
                        <a:pt x="1903" y="888"/>
                      </a:lnTo>
                      <a:lnTo>
                        <a:pt x="1902" y="887"/>
                      </a:lnTo>
                      <a:lnTo>
                        <a:pt x="1901" y="887"/>
                      </a:lnTo>
                      <a:lnTo>
                        <a:pt x="1901" y="883"/>
                      </a:lnTo>
                      <a:lnTo>
                        <a:pt x="1901" y="878"/>
                      </a:lnTo>
                      <a:lnTo>
                        <a:pt x="1903" y="874"/>
                      </a:lnTo>
                      <a:lnTo>
                        <a:pt x="1908" y="854"/>
                      </a:lnTo>
                      <a:lnTo>
                        <a:pt x="1913" y="836"/>
                      </a:lnTo>
                      <a:lnTo>
                        <a:pt x="1914" y="825"/>
                      </a:lnTo>
                      <a:lnTo>
                        <a:pt x="1915" y="814"/>
                      </a:lnTo>
                      <a:lnTo>
                        <a:pt x="1915" y="811"/>
                      </a:lnTo>
                      <a:lnTo>
                        <a:pt x="1914" y="808"/>
                      </a:lnTo>
                      <a:lnTo>
                        <a:pt x="1914" y="803"/>
                      </a:lnTo>
                      <a:lnTo>
                        <a:pt x="1913" y="799"/>
                      </a:lnTo>
                      <a:lnTo>
                        <a:pt x="1914" y="794"/>
                      </a:lnTo>
                      <a:lnTo>
                        <a:pt x="1916" y="788"/>
                      </a:lnTo>
                      <a:lnTo>
                        <a:pt x="1918" y="780"/>
                      </a:lnTo>
                      <a:lnTo>
                        <a:pt x="1919" y="777"/>
                      </a:lnTo>
                      <a:lnTo>
                        <a:pt x="1922" y="778"/>
                      </a:lnTo>
                      <a:lnTo>
                        <a:pt x="1924" y="779"/>
                      </a:lnTo>
                      <a:lnTo>
                        <a:pt x="1925" y="780"/>
                      </a:lnTo>
                      <a:lnTo>
                        <a:pt x="1927" y="781"/>
                      </a:lnTo>
                      <a:lnTo>
                        <a:pt x="1928" y="781"/>
                      </a:lnTo>
                      <a:lnTo>
                        <a:pt x="1931" y="782"/>
                      </a:lnTo>
                      <a:lnTo>
                        <a:pt x="1933" y="782"/>
                      </a:lnTo>
                      <a:lnTo>
                        <a:pt x="1935" y="781"/>
                      </a:lnTo>
                      <a:lnTo>
                        <a:pt x="1937" y="781"/>
                      </a:lnTo>
                      <a:lnTo>
                        <a:pt x="1939" y="779"/>
                      </a:lnTo>
                      <a:lnTo>
                        <a:pt x="1944" y="777"/>
                      </a:lnTo>
                      <a:lnTo>
                        <a:pt x="1948" y="776"/>
                      </a:lnTo>
                      <a:lnTo>
                        <a:pt x="1953" y="775"/>
                      </a:lnTo>
                      <a:lnTo>
                        <a:pt x="1955" y="777"/>
                      </a:lnTo>
                      <a:lnTo>
                        <a:pt x="1958" y="777"/>
                      </a:lnTo>
                      <a:lnTo>
                        <a:pt x="1960" y="777"/>
                      </a:lnTo>
                      <a:lnTo>
                        <a:pt x="1964" y="777"/>
                      </a:lnTo>
                      <a:lnTo>
                        <a:pt x="1969" y="778"/>
                      </a:lnTo>
                      <a:lnTo>
                        <a:pt x="1975" y="779"/>
                      </a:lnTo>
                      <a:lnTo>
                        <a:pt x="1981" y="775"/>
                      </a:lnTo>
                      <a:lnTo>
                        <a:pt x="1982" y="774"/>
                      </a:lnTo>
                      <a:lnTo>
                        <a:pt x="1983" y="770"/>
                      </a:lnTo>
                      <a:lnTo>
                        <a:pt x="1983" y="768"/>
                      </a:lnTo>
                      <a:lnTo>
                        <a:pt x="1983" y="765"/>
                      </a:lnTo>
                      <a:lnTo>
                        <a:pt x="1983" y="761"/>
                      </a:lnTo>
                      <a:lnTo>
                        <a:pt x="1984" y="759"/>
                      </a:lnTo>
                      <a:lnTo>
                        <a:pt x="1986" y="757"/>
                      </a:lnTo>
                      <a:lnTo>
                        <a:pt x="1986" y="755"/>
                      </a:lnTo>
                      <a:lnTo>
                        <a:pt x="1987" y="754"/>
                      </a:lnTo>
                      <a:lnTo>
                        <a:pt x="1987" y="752"/>
                      </a:lnTo>
                      <a:lnTo>
                        <a:pt x="1988" y="749"/>
                      </a:lnTo>
                      <a:lnTo>
                        <a:pt x="1988" y="746"/>
                      </a:lnTo>
                      <a:lnTo>
                        <a:pt x="1989" y="741"/>
                      </a:lnTo>
                      <a:lnTo>
                        <a:pt x="1990" y="736"/>
                      </a:lnTo>
                      <a:lnTo>
                        <a:pt x="1991" y="732"/>
                      </a:lnTo>
                      <a:lnTo>
                        <a:pt x="1990" y="725"/>
                      </a:lnTo>
                      <a:lnTo>
                        <a:pt x="1990" y="722"/>
                      </a:lnTo>
                      <a:lnTo>
                        <a:pt x="1990" y="718"/>
                      </a:lnTo>
                      <a:lnTo>
                        <a:pt x="1989" y="716"/>
                      </a:lnTo>
                      <a:lnTo>
                        <a:pt x="1988" y="713"/>
                      </a:lnTo>
                      <a:lnTo>
                        <a:pt x="1986" y="712"/>
                      </a:lnTo>
                      <a:lnTo>
                        <a:pt x="1986" y="711"/>
                      </a:lnTo>
                      <a:lnTo>
                        <a:pt x="1986" y="710"/>
                      </a:lnTo>
                      <a:lnTo>
                        <a:pt x="1984" y="709"/>
                      </a:lnTo>
                      <a:lnTo>
                        <a:pt x="1983" y="706"/>
                      </a:lnTo>
                      <a:lnTo>
                        <a:pt x="1983" y="705"/>
                      </a:lnTo>
                      <a:lnTo>
                        <a:pt x="1983" y="703"/>
                      </a:lnTo>
                      <a:lnTo>
                        <a:pt x="1984" y="701"/>
                      </a:lnTo>
                      <a:lnTo>
                        <a:pt x="1984" y="699"/>
                      </a:lnTo>
                      <a:lnTo>
                        <a:pt x="1984" y="696"/>
                      </a:lnTo>
                      <a:lnTo>
                        <a:pt x="1983" y="694"/>
                      </a:lnTo>
                      <a:lnTo>
                        <a:pt x="1981" y="692"/>
                      </a:lnTo>
                      <a:lnTo>
                        <a:pt x="1978" y="690"/>
                      </a:lnTo>
                      <a:lnTo>
                        <a:pt x="1975" y="688"/>
                      </a:lnTo>
                      <a:lnTo>
                        <a:pt x="1972" y="687"/>
                      </a:lnTo>
                      <a:lnTo>
                        <a:pt x="1971" y="685"/>
                      </a:lnTo>
                      <a:lnTo>
                        <a:pt x="1969" y="684"/>
                      </a:lnTo>
                      <a:lnTo>
                        <a:pt x="1967" y="683"/>
                      </a:lnTo>
                      <a:lnTo>
                        <a:pt x="1966" y="681"/>
                      </a:lnTo>
                      <a:lnTo>
                        <a:pt x="1965" y="678"/>
                      </a:lnTo>
                      <a:lnTo>
                        <a:pt x="1964" y="674"/>
                      </a:lnTo>
                      <a:lnTo>
                        <a:pt x="1964" y="672"/>
                      </a:lnTo>
                      <a:lnTo>
                        <a:pt x="1964" y="670"/>
                      </a:lnTo>
                      <a:lnTo>
                        <a:pt x="1964" y="668"/>
                      </a:lnTo>
                      <a:lnTo>
                        <a:pt x="1965" y="667"/>
                      </a:lnTo>
                      <a:lnTo>
                        <a:pt x="1966" y="666"/>
                      </a:lnTo>
                      <a:lnTo>
                        <a:pt x="1967" y="663"/>
                      </a:lnTo>
                      <a:lnTo>
                        <a:pt x="1969" y="662"/>
                      </a:lnTo>
                      <a:lnTo>
                        <a:pt x="1970" y="661"/>
                      </a:lnTo>
                      <a:lnTo>
                        <a:pt x="1972" y="660"/>
                      </a:lnTo>
                      <a:lnTo>
                        <a:pt x="1975" y="661"/>
                      </a:lnTo>
                      <a:lnTo>
                        <a:pt x="1976" y="662"/>
                      </a:lnTo>
                      <a:lnTo>
                        <a:pt x="1977" y="663"/>
                      </a:lnTo>
                      <a:lnTo>
                        <a:pt x="1979" y="665"/>
                      </a:lnTo>
                      <a:lnTo>
                        <a:pt x="1980" y="665"/>
                      </a:lnTo>
                      <a:lnTo>
                        <a:pt x="1982" y="666"/>
                      </a:lnTo>
                      <a:lnTo>
                        <a:pt x="1984" y="666"/>
                      </a:lnTo>
                      <a:lnTo>
                        <a:pt x="1987" y="665"/>
                      </a:lnTo>
                      <a:lnTo>
                        <a:pt x="1988" y="663"/>
                      </a:lnTo>
                      <a:lnTo>
                        <a:pt x="1989" y="660"/>
                      </a:lnTo>
                      <a:lnTo>
                        <a:pt x="1990" y="657"/>
                      </a:lnTo>
                      <a:lnTo>
                        <a:pt x="1989" y="651"/>
                      </a:lnTo>
                      <a:lnTo>
                        <a:pt x="1987" y="647"/>
                      </a:lnTo>
                      <a:lnTo>
                        <a:pt x="1986" y="643"/>
                      </a:lnTo>
                      <a:lnTo>
                        <a:pt x="1988" y="637"/>
                      </a:lnTo>
                      <a:lnTo>
                        <a:pt x="1989" y="636"/>
                      </a:lnTo>
                      <a:lnTo>
                        <a:pt x="1991" y="637"/>
                      </a:lnTo>
                      <a:lnTo>
                        <a:pt x="1992" y="638"/>
                      </a:lnTo>
                      <a:lnTo>
                        <a:pt x="1993" y="639"/>
                      </a:lnTo>
                      <a:lnTo>
                        <a:pt x="1994" y="639"/>
                      </a:lnTo>
                      <a:lnTo>
                        <a:pt x="1997" y="639"/>
                      </a:lnTo>
                      <a:lnTo>
                        <a:pt x="1998" y="639"/>
                      </a:lnTo>
                      <a:lnTo>
                        <a:pt x="1999" y="640"/>
                      </a:lnTo>
                      <a:lnTo>
                        <a:pt x="1999" y="641"/>
                      </a:lnTo>
                      <a:lnTo>
                        <a:pt x="2000" y="644"/>
                      </a:lnTo>
                      <a:lnTo>
                        <a:pt x="2001" y="645"/>
                      </a:lnTo>
                      <a:lnTo>
                        <a:pt x="2002" y="646"/>
                      </a:lnTo>
                      <a:lnTo>
                        <a:pt x="2004" y="646"/>
                      </a:lnTo>
                      <a:lnTo>
                        <a:pt x="2005" y="644"/>
                      </a:lnTo>
                      <a:lnTo>
                        <a:pt x="2005" y="641"/>
                      </a:lnTo>
                      <a:lnTo>
                        <a:pt x="2006" y="639"/>
                      </a:lnTo>
                      <a:lnTo>
                        <a:pt x="2006" y="638"/>
                      </a:lnTo>
                      <a:lnTo>
                        <a:pt x="2008" y="638"/>
                      </a:lnTo>
                      <a:lnTo>
                        <a:pt x="2009" y="638"/>
                      </a:lnTo>
                      <a:lnTo>
                        <a:pt x="2010" y="637"/>
                      </a:lnTo>
                      <a:lnTo>
                        <a:pt x="2011" y="635"/>
                      </a:lnTo>
                      <a:lnTo>
                        <a:pt x="2012" y="633"/>
                      </a:lnTo>
                      <a:lnTo>
                        <a:pt x="2013" y="630"/>
                      </a:lnTo>
                      <a:lnTo>
                        <a:pt x="2014" y="628"/>
                      </a:lnTo>
                      <a:lnTo>
                        <a:pt x="2014" y="626"/>
                      </a:lnTo>
                      <a:lnTo>
                        <a:pt x="2015" y="624"/>
                      </a:lnTo>
                      <a:lnTo>
                        <a:pt x="2015" y="621"/>
                      </a:lnTo>
                      <a:lnTo>
                        <a:pt x="2015" y="618"/>
                      </a:lnTo>
                      <a:lnTo>
                        <a:pt x="2015" y="616"/>
                      </a:lnTo>
                      <a:lnTo>
                        <a:pt x="2016" y="615"/>
                      </a:lnTo>
                      <a:lnTo>
                        <a:pt x="2017" y="612"/>
                      </a:lnTo>
                      <a:lnTo>
                        <a:pt x="2019" y="610"/>
                      </a:lnTo>
                      <a:lnTo>
                        <a:pt x="2019" y="607"/>
                      </a:lnTo>
                      <a:lnTo>
                        <a:pt x="2019" y="604"/>
                      </a:lnTo>
                      <a:lnTo>
                        <a:pt x="2020" y="603"/>
                      </a:lnTo>
                      <a:lnTo>
                        <a:pt x="2021" y="603"/>
                      </a:lnTo>
                      <a:lnTo>
                        <a:pt x="2021" y="604"/>
                      </a:lnTo>
                      <a:lnTo>
                        <a:pt x="2022" y="605"/>
                      </a:lnTo>
                      <a:lnTo>
                        <a:pt x="2022" y="606"/>
                      </a:lnTo>
                      <a:lnTo>
                        <a:pt x="2023" y="606"/>
                      </a:lnTo>
                      <a:lnTo>
                        <a:pt x="2023" y="606"/>
                      </a:lnTo>
                      <a:lnTo>
                        <a:pt x="2024" y="605"/>
                      </a:lnTo>
                      <a:lnTo>
                        <a:pt x="2025" y="603"/>
                      </a:lnTo>
                      <a:lnTo>
                        <a:pt x="2026" y="602"/>
                      </a:lnTo>
                      <a:lnTo>
                        <a:pt x="2027" y="602"/>
                      </a:lnTo>
                      <a:lnTo>
                        <a:pt x="2027" y="602"/>
                      </a:lnTo>
                      <a:lnTo>
                        <a:pt x="2028" y="601"/>
                      </a:lnTo>
                      <a:lnTo>
                        <a:pt x="2031" y="600"/>
                      </a:lnTo>
                      <a:lnTo>
                        <a:pt x="2032" y="600"/>
                      </a:lnTo>
                      <a:lnTo>
                        <a:pt x="2032" y="596"/>
                      </a:lnTo>
                      <a:lnTo>
                        <a:pt x="2033" y="593"/>
                      </a:lnTo>
                      <a:lnTo>
                        <a:pt x="2034" y="591"/>
                      </a:lnTo>
                      <a:lnTo>
                        <a:pt x="2036" y="590"/>
                      </a:lnTo>
                      <a:lnTo>
                        <a:pt x="2036" y="587"/>
                      </a:lnTo>
                      <a:lnTo>
                        <a:pt x="2036" y="585"/>
                      </a:lnTo>
                      <a:lnTo>
                        <a:pt x="2036" y="583"/>
                      </a:lnTo>
                      <a:lnTo>
                        <a:pt x="2036" y="580"/>
                      </a:lnTo>
                      <a:lnTo>
                        <a:pt x="2037" y="579"/>
                      </a:lnTo>
                      <a:lnTo>
                        <a:pt x="2038" y="575"/>
                      </a:lnTo>
                      <a:lnTo>
                        <a:pt x="2038" y="573"/>
                      </a:lnTo>
                      <a:lnTo>
                        <a:pt x="2039" y="570"/>
                      </a:lnTo>
                      <a:lnTo>
                        <a:pt x="2041" y="567"/>
                      </a:lnTo>
                      <a:lnTo>
                        <a:pt x="2041" y="562"/>
                      </a:lnTo>
                      <a:lnTo>
                        <a:pt x="2042" y="558"/>
                      </a:lnTo>
                      <a:lnTo>
                        <a:pt x="2043" y="553"/>
                      </a:lnTo>
                      <a:lnTo>
                        <a:pt x="2045" y="552"/>
                      </a:lnTo>
                      <a:lnTo>
                        <a:pt x="2047" y="551"/>
                      </a:lnTo>
                      <a:lnTo>
                        <a:pt x="2049" y="551"/>
                      </a:lnTo>
                      <a:lnTo>
                        <a:pt x="2052" y="549"/>
                      </a:lnTo>
                      <a:lnTo>
                        <a:pt x="2053" y="549"/>
                      </a:lnTo>
                      <a:lnTo>
                        <a:pt x="2054" y="548"/>
                      </a:lnTo>
                      <a:lnTo>
                        <a:pt x="2056" y="548"/>
                      </a:lnTo>
                      <a:lnTo>
                        <a:pt x="2057" y="547"/>
                      </a:lnTo>
                      <a:lnTo>
                        <a:pt x="2058" y="545"/>
                      </a:lnTo>
                      <a:lnTo>
                        <a:pt x="2059" y="542"/>
                      </a:lnTo>
                      <a:lnTo>
                        <a:pt x="2060" y="541"/>
                      </a:lnTo>
                      <a:lnTo>
                        <a:pt x="2062" y="541"/>
                      </a:lnTo>
                      <a:lnTo>
                        <a:pt x="2063" y="540"/>
                      </a:lnTo>
                      <a:lnTo>
                        <a:pt x="2065" y="540"/>
                      </a:lnTo>
                      <a:lnTo>
                        <a:pt x="2066" y="541"/>
                      </a:lnTo>
                      <a:lnTo>
                        <a:pt x="2067" y="541"/>
                      </a:lnTo>
                      <a:lnTo>
                        <a:pt x="2068" y="541"/>
                      </a:lnTo>
                      <a:lnTo>
                        <a:pt x="2069" y="540"/>
                      </a:lnTo>
                      <a:lnTo>
                        <a:pt x="2069" y="538"/>
                      </a:lnTo>
                      <a:lnTo>
                        <a:pt x="2070" y="534"/>
                      </a:lnTo>
                      <a:lnTo>
                        <a:pt x="2071" y="529"/>
                      </a:lnTo>
                      <a:lnTo>
                        <a:pt x="2071" y="525"/>
                      </a:lnTo>
                      <a:lnTo>
                        <a:pt x="2071" y="512"/>
                      </a:lnTo>
                      <a:lnTo>
                        <a:pt x="2071" y="510"/>
                      </a:lnTo>
                      <a:lnTo>
                        <a:pt x="2070" y="508"/>
                      </a:lnTo>
                      <a:lnTo>
                        <a:pt x="2070" y="505"/>
                      </a:lnTo>
                      <a:lnTo>
                        <a:pt x="2069" y="503"/>
                      </a:lnTo>
                      <a:lnTo>
                        <a:pt x="2069" y="502"/>
                      </a:lnTo>
                      <a:lnTo>
                        <a:pt x="2068" y="499"/>
                      </a:lnTo>
                      <a:lnTo>
                        <a:pt x="2067" y="496"/>
                      </a:lnTo>
                      <a:lnTo>
                        <a:pt x="2067" y="494"/>
                      </a:lnTo>
                      <a:lnTo>
                        <a:pt x="2067" y="491"/>
                      </a:lnTo>
                      <a:lnTo>
                        <a:pt x="2067" y="484"/>
                      </a:lnTo>
                      <a:lnTo>
                        <a:pt x="2066" y="482"/>
                      </a:lnTo>
                      <a:lnTo>
                        <a:pt x="2065" y="479"/>
                      </a:lnTo>
                      <a:lnTo>
                        <a:pt x="2065" y="476"/>
                      </a:lnTo>
                      <a:lnTo>
                        <a:pt x="2065" y="473"/>
                      </a:lnTo>
                      <a:lnTo>
                        <a:pt x="2065" y="465"/>
                      </a:lnTo>
                      <a:lnTo>
                        <a:pt x="2066" y="458"/>
                      </a:lnTo>
                      <a:lnTo>
                        <a:pt x="2069" y="451"/>
                      </a:lnTo>
                      <a:lnTo>
                        <a:pt x="2070" y="449"/>
                      </a:lnTo>
                      <a:lnTo>
                        <a:pt x="2071" y="448"/>
                      </a:lnTo>
                      <a:lnTo>
                        <a:pt x="2073" y="448"/>
                      </a:lnTo>
                      <a:lnTo>
                        <a:pt x="2075" y="449"/>
                      </a:lnTo>
                      <a:lnTo>
                        <a:pt x="2076" y="449"/>
                      </a:lnTo>
                      <a:lnTo>
                        <a:pt x="2077" y="447"/>
                      </a:lnTo>
                      <a:lnTo>
                        <a:pt x="2078" y="444"/>
                      </a:lnTo>
                      <a:lnTo>
                        <a:pt x="2080" y="442"/>
                      </a:lnTo>
                      <a:lnTo>
                        <a:pt x="2081" y="442"/>
                      </a:lnTo>
                      <a:lnTo>
                        <a:pt x="2081" y="442"/>
                      </a:lnTo>
                      <a:lnTo>
                        <a:pt x="2082" y="444"/>
                      </a:lnTo>
                      <a:lnTo>
                        <a:pt x="2082" y="447"/>
                      </a:lnTo>
                      <a:lnTo>
                        <a:pt x="2082" y="449"/>
                      </a:lnTo>
                      <a:lnTo>
                        <a:pt x="2082" y="451"/>
                      </a:lnTo>
                      <a:lnTo>
                        <a:pt x="2082" y="477"/>
                      </a:lnTo>
                      <a:lnTo>
                        <a:pt x="2081" y="477"/>
                      </a:lnTo>
                      <a:lnTo>
                        <a:pt x="2081" y="479"/>
                      </a:lnTo>
                      <a:lnTo>
                        <a:pt x="2080" y="480"/>
                      </a:lnTo>
                      <a:lnTo>
                        <a:pt x="2080" y="482"/>
                      </a:lnTo>
                      <a:lnTo>
                        <a:pt x="2080" y="497"/>
                      </a:lnTo>
                      <a:lnTo>
                        <a:pt x="2080" y="501"/>
                      </a:lnTo>
                      <a:lnTo>
                        <a:pt x="2079" y="504"/>
                      </a:lnTo>
                      <a:lnTo>
                        <a:pt x="2079" y="507"/>
                      </a:lnTo>
                      <a:lnTo>
                        <a:pt x="2080" y="509"/>
                      </a:lnTo>
                      <a:lnTo>
                        <a:pt x="2080" y="514"/>
                      </a:lnTo>
                      <a:lnTo>
                        <a:pt x="2081" y="518"/>
                      </a:lnTo>
                      <a:lnTo>
                        <a:pt x="2082" y="523"/>
                      </a:lnTo>
                      <a:lnTo>
                        <a:pt x="2084" y="527"/>
                      </a:lnTo>
                      <a:lnTo>
                        <a:pt x="2085" y="530"/>
                      </a:lnTo>
                      <a:lnTo>
                        <a:pt x="2086" y="534"/>
                      </a:lnTo>
                      <a:lnTo>
                        <a:pt x="2087" y="535"/>
                      </a:lnTo>
                      <a:lnTo>
                        <a:pt x="2089" y="536"/>
                      </a:lnTo>
                      <a:lnTo>
                        <a:pt x="2091" y="534"/>
                      </a:lnTo>
                      <a:lnTo>
                        <a:pt x="2092" y="532"/>
                      </a:lnTo>
                      <a:lnTo>
                        <a:pt x="2095" y="532"/>
                      </a:lnTo>
                      <a:lnTo>
                        <a:pt x="2096" y="531"/>
                      </a:lnTo>
                      <a:lnTo>
                        <a:pt x="2097" y="529"/>
                      </a:lnTo>
                      <a:lnTo>
                        <a:pt x="2098" y="527"/>
                      </a:lnTo>
                      <a:lnTo>
                        <a:pt x="2098" y="526"/>
                      </a:lnTo>
                      <a:lnTo>
                        <a:pt x="2099" y="525"/>
                      </a:lnTo>
                      <a:lnTo>
                        <a:pt x="2099" y="525"/>
                      </a:lnTo>
                      <a:lnTo>
                        <a:pt x="2101" y="524"/>
                      </a:lnTo>
                      <a:lnTo>
                        <a:pt x="2102" y="523"/>
                      </a:lnTo>
                      <a:lnTo>
                        <a:pt x="2102" y="521"/>
                      </a:lnTo>
                      <a:lnTo>
                        <a:pt x="2102" y="520"/>
                      </a:lnTo>
                      <a:lnTo>
                        <a:pt x="2103" y="519"/>
                      </a:lnTo>
                      <a:lnTo>
                        <a:pt x="2103" y="519"/>
                      </a:lnTo>
                      <a:lnTo>
                        <a:pt x="2104" y="519"/>
                      </a:lnTo>
                      <a:lnTo>
                        <a:pt x="2104" y="520"/>
                      </a:lnTo>
                      <a:lnTo>
                        <a:pt x="2104" y="523"/>
                      </a:lnTo>
                      <a:lnTo>
                        <a:pt x="2104" y="525"/>
                      </a:lnTo>
                      <a:lnTo>
                        <a:pt x="2107" y="527"/>
                      </a:lnTo>
                      <a:lnTo>
                        <a:pt x="2107" y="530"/>
                      </a:lnTo>
                      <a:lnTo>
                        <a:pt x="2107" y="532"/>
                      </a:lnTo>
                      <a:lnTo>
                        <a:pt x="2108" y="536"/>
                      </a:lnTo>
                      <a:lnTo>
                        <a:pt x="2109" y="538"/>
                      </a:lnTo>
                      <a:lnTo>
                        <a:pt x="2110" y="540"/>
                      </a:lnTo>
                      <a:lnTo>
                        <a:pt x="2111" y="541"/>
                      </a:lnTo>
                      <a:lnTo>
                        <a:pt x="2111" y="541"/>
                      </a:lnTo>
                      <a:lnTo>
                        <a:pt x="2111" y="540"/>
                      </a:lnTo>
                      <a:lnTo>
                        <a:pt x="2111" y="538"/>
                      </a:lnTo>
                      <a:lnTo>
                        <a:pt x="2112" y="537"/>
                      </a:lnTo>
                      <a:lnTo>
                        <a:pt x="2112" y="535"/>
                      </a:lnTo>
                      <a:lnTo>
                        <a:pt x="2112" y="532"/>
                      </a:lnTo>
                      <a:lnTo>
                        <a:pt x="2113" y="531"/>
                      </a:lnTo>
                      <a:lnTo>
                        <a:pt x="2114" y="532"/>
                      </a:lnTo>
                      <a:lnTo>
                        <a:pt x="2115" y="534"/>
                      </a:lnTo>
                      <a:lnTo>
                        <a:pt x="2117" y="534"/>
                      </a:lnTo>
                      <a:lnTo>
                        <a:pt x="2118" y="534"/>
                      </a:lnTo>
                      <a:lnTo>
                        <a:pt x="2120" y="531"/>
                      </a:lnTo>
                      <a:lnTo>
                        <a:pt x="2121" y="529"/>
                      </a:lnTo>
                      <a:lnTo>
                        <a:pt x="2121" y="528"/>
                      </a:lnTo>
                      <a:lnTo>
                        <a:pt x="2122" y="527"/>
                      </a:lnTo>
                      <a:lnTo>
                        <a:pt x="2123" y="526"/>
                      </a:lnTo>
                      <a:lnTo>
                        <a:pt x="2124" y="525"/>
                      </a:lnTo>
                      <a:lnTo>
                        <a:pt x="2125" y="523"/>
                      </a:lnTo>
                      <a:lnTo>
                        <a:pt x="2125" y="521"/>
                      </a:lnTo>
                      <a:lnTo>
                        <a:pt x="2126" y="520"/>
                      </a:lnTo>
                      <a:lnTo>
                        <a:pt x="2128" y="518"/>
                      </a:lnTo>
                      <a:lnTo>
                        <a:pt x="2129" y="516"/>
                      </a:lnTo>
                      <a:lnTo>
                        <a:pt x="2130" y="515"/>
                      </a:lnTo>
                      <a:lnTo>
                        <a:pt x="2132" y="513"/>
                      </a:lnTo>
                      <a:lnTo>
                        <a:pt x="2133" y="510"/>
                      </a:lnTo>
                      <a:lnTo>
                        <a:pt x="2135" y="509"/>
                      </a:lnTo>
                      <a:lnTo>
                        <a:pt x="2135" y="510"/>
                      </a:lnTo>
                      <a:lnTo>
                        <a:pt x="2136" y="510"/>
                      </a:lnTo>
                      <a:lnTo>
                        <a:pt x="2136" y="510"/>
                      </a:lnTo>
                      <a:lnTo>
                        <a:pt x="2137" y="512"/>
                      </a:lnTo>
                      <a:lnTo>
                        <a:pt x="2137" y="513"/>
                      </a:lnTo>
                      <a:lnTo>
                        <a:pt x="2139" y="514"/>
                      </a:lnTo>
                      <a:lnTo>
                        <a:pt x="2139" y="515"/>
                      </a:lnTo>
                      <a:lnTo>
                        <a:pt x="2140" y="516"/>
                      </a:lnTo>
                      <a:lnTo>
                        <a:pt x="2141" y="518"/>
                      </a:lnTo>
                      <a:lnTo>
                        <a:pt x="2141" y="519"/>
                      </a:lnTo>
                      <a:lnTo>
                        <a:pt x="2142" y="521"/>
                      </a:lnTo>
                      <a:lnTo>
                        <a:pt x="2143" y="523"/>
                      </a:lnTo>
                      <a:lnTo>
                        <a:pt x="2144" y="523"/>
                      </a:lnTo>
                      <a:lnTo>
                        <a:pt x="2145" y="523"/>
                      </a:lnTo>
                      <a:lnTo>
                        <a:pt x="2146" y="520"/>
                      </a:lnTo>
                      <a:lnTo>
                        <a:pt x="2146" y="519"/>
                      </a:lnTo>
                      <a:lnTo>
                        <a:pt x="2147" y="516"/>
                      </a:lnTo>
                      <a:lnTo>
                        <a:pt x="2147" y="514"/>
                      </a:lnTo>
                      <a:lnTo>
                        <a:pt x="2148" y="513"/>
                      </a:lnTo>
                      <a:lnTo>
                        <a:pt x="2151" y="512"/>
                      </a:lnTo>
                      <a:lnTo>
                        <a:pt x="2153" y="510"/>
                      </a:lnTo>
                      <a:lnTo>
                        <a:pt x="2154" y="507"/>
                      </a:lnTo>
                      <a:lnTo>
                        <a:pt x="2155" y="503"/>
                      </a:lnTo>
                      <a:lnTo>
                        <a:pt x="2155" y="498"/>
                      </a:lnTo>
                      <a:lnTo>
                        <a:pt x="2154" y="495"/>
                      </a:lnTo>
                      <a:lnTo>
                        <a:pt x="2154" y="492"/>
                      </a:lnTo>
                      <a:lnTo>
                        <a:pt x="2154" y="488"/>
                      </a:lnTo>
                      <a:lnTo>
                        <a:pt x="2154" y="485"/>
                      </a:lnTo>
                      <a:lnTo>
                        <a:pt x="2154" y="482"/>
                      </a:lnTo>
                      <a:lnTo>
                        <a:pt x="2154" y="469"/>
                      </a:lnTo>
                      <a:lnTo>
                        <a:pt x="2155" y="464"/>
                      </a:lnTo>
                      <a:lnTo>
                        <a:pt x="2156" y="460"/>
                      </a:lnTo>
                      <a:lnTo>
                        <a:pt x="2156" y="455"/>
                      </a:lnTo>
                      <a:lnTo>
                        <a:pt x="2156" y="452"/>
                      </a:lnTo>
                      <a:lnTo>
                        <a:pt x="2157" y="450"/>
                      </a:lnTo>
                      <a:lnTo>
                        <a:pt x="2157" y="449"/>
                      </a:lnTo>
                      <a:lnTo>
                        <a:pt x="2158" y="448"/>
                      </a:lnTo>
                      <a:lnTo>
                        <a:pt x="2158" y="447"/>
                      </a:lnTo>
                      <a:lnTo>
                        <a:pt x="2161" y="445"/>
                      </a:lnTo>
                      <a:lnTo>
                        <a:pt x="2162" y="445"/>
                      </a:lnTo>
                      <a:lnTo>
                        <a:pt x="2163" y="445"/>
                      </a:lnTo>
                      <a:lnTo>
                        <a:pt x="2164" y="448"/>
                      </a:lnTo>
                      <a:lnTo>
                        <a:pt x="2165" y="450"/>
                      </a:lnTo>
                      <a:lnTo>
                        <a:pt x="2166" y="452"/>
                      </a:lnTo>
                      <a:lnTo>
                        <a:pt x="2167" y="455"/>
                      </a:lnTo>
                      <a:lnTo>
                        <a:pt x="2168" y="458"/>
                      </a:lnTo>
                      <a:lnTo>
                        <a:pt x="2169" y="460"/>
                      </a:lnTo>
                      <a:lnTo>
                        <a:pt x="2170" y="461"/>
                      </a:lnTo>
                      <a:lnTo>
                        <a:pt x="2172" y="462"/>
                      </a:lnTo>
                      <a:lnTo>
                        <a:pt x="2173" y="462"/>
                      </a:lnTo>
                      <a:lnTo>
                        <a:pt x="2174" y="461"/>
                      </a:lnTo>
                      <a:lnTo>
                        <a:pt x="2174" y="459"/>
                      </a:lnTo>
                      <a:lnTo>
                        <a:pt x="2174" y="455"/>
                      </a:lnTo>
                      <a:lnTo>
                        <a:pt x="2175" y="449"/>
                      </a:lnTo>
                      <a:lnTo>
                        <a:pt x="2175" y="441"/>
                      </a:lnTo>
                      <a:lnTo>
                        <a:pt x="2174" y="433"/>
                      </a:lnTo>
                      <a:lnTo>
                        <a:pt x="2174" y="431"/>
                      </a:lnTo>
                      <a:lnTo>
                        <a:pt x="2173" y="431"/>
                      </a:lnTo>
                      <a:lnTo>
                        <a:pt x="2172" y="431"/>
                      </a:lnTo>
                      <a:lnTo>
                        <a:pt x="2172" y="432"/>
                      </a:lnTo>
                      <a:lnTo>
                        <a:pt x="2170" y="433"/>
                      </a:lnTo>
                      <a:lnTo>
                        <a:pt x="2169" y="433"/>
                      </a:lnTo>
                      <a:lnTo>
                        <a:pt x="2168" y="434"/>
                      </a:lnTo>
                      <a:lnTo>
                        <a:pt x="2165" y="434"/>
                      </a:lnTo>
                      <a:lnTo>
                        <a:pt x="2163" y="434"/>
                      </a:lnTo>
                      <a:lnTo>
                        <a:pt x="2161" y="433"/>
                      </a:lnTo>
                      <a:lnTo>
                        <a:pt x="2159" y="430"/>
                      </a:lnTo>
                      <a:lnTo>
                        <a:pt x="2158" y="428"/>
                      </a:lnTo>
                      <a:lnTo>
                        <a:pt x="2158" y="425"/>
                      </a:lnTo>
                      <a:lnTo>
                        <a:pt x="2159" y="421"/>
                      </a:lnTo>
                      <a:lnTo>
                        <a:pt x="2161" y="418"/>
                      </a:lnTo>
                      <a:lnTo>
                        <a:pt x="2161" y="416"/>
                      </a:lnTo>
                      <a:lnTo>
                        <a:pt x="2161" y="414"/>
                      </a:lnTo>
                      <a:lnTo>
                        <a:pt x="2161" y="410"/>
                      </a:lnTo>
                      <a:lnTo>
                        <a:pt x="2161" y="407"/>
                      </a:lnTo>
                      <a:lnTo>
                        <a:pt x="2162" y="405"/>
                      </a:lnTo>
                      <a:lnTo>
                        <a:pt x="2162" y="405"/>
                      </a:lnTo>
                      <a:lnTo>
                        <a:pt x="2163" y="405"/>
                      </a:lnTo>
                      <a:lnTo>
                        <a:pt x="2164" y="406"/>
                      </a:lnTo>
                      <a:lnTo>
                        <a:pt x="2165" y="407"/>
                      </a:lnTo>
                      <a:lnTo>
                        <a:pt x="2167" y="406"/>
                      </a:lnTo>
                      <a:lnTo>
                        <a:pt x="2169" y="405"/>
                      </a:lnTo>
                      <a:lnTo>
                        <a:pt x="2169" y="403"/>
                      </a:lnTo>
                      <a:lnTo>
                        <a:pt x="2170" y="400"/>
                      </a:lnTo>
                      <a:lnTo>
                        <a:pt x="2172" y="399"/>
                      </a:lnTo>
                      <a:lnTo>
                        <a:pt x="2173" y="398"/>
                      </a:lnTo>
                      <a:lnTo>
                        <a:pt x="2174" y="398"/>
                      </a:lnTo>
                      <a:lnTo>
                        <a:pt x="2176" y="398"/>
                      </a:lnTo>
                      <a:lnTo>
                        <a:pt x="2178" y="397"/>
                      </a:lnTo>
                      <a:lnTo>
                        <a:pt x="2180" y="396"/>
                      </a:lnTo>
                      <a:lnTo>
                        <a:pt x="2183" y="396"/>
                      </a:lnTo>
                      <a:lnTo>
                        <a:pt x="2185" y="397"/>
                      </a:lnTo>
                      <a:lnTo>
                        <a:pt x="2186" y="399"/>
                      </a:lnTo>
                      <a:lnTo>
                        <a:pt x="2187" y="400"/>
                      </a:lnTo>
                      <a:lnTo>
                        <a:pt x="2187" y="400"/>
                      </a:lnTo>
                      <a:lnTo>
                        <a:pt x="2189" y="401"/>
                      </a:lnTo>
                      <a:lnTo>
                        <a:pt x="2190" y="400"/>
                      </a:lnTo>
                      <a:lnTo>
                        <a:pt x="2191" y="399"/>
                      </a:lnTo>
                      <a:lnTo>
                        <a:pt x="2191" y="398"/>
                      </a:lnTo>
                      <a:lnTo>
                        <a:pt x="2193" y="397"/>
                      </a:lnTo>
                      <a:lnTo>
                        <a:pt x="2194" y="396"/>
                      </a:lnTo>
                      <a:lnTo>
                        <a:pt x="2195" y="395"/>
                      </a:lnTo>
                      <a:lnTo>
                        <a:pt x="2196" y="394"/>
                      </a:lnTo>
                      <a:lnTo>
                        <a:pt x="2198" y="392"/>
                      </a:lnTo>
                      <a:lnTo>
                        <a:pt x="2199" y="392"/>
                      </a:lnTo>
                      <a:lnTo>
                        <a:pt x="2200" y="393"/>
                      </a:lnTo>
                      <a:lnTo>
                        <a:pt x="2201" y="394"/>
                      </a:lnTo>
                      <a:lnTo>
                        <a:pt x="2202" y="394"/>
                      </a:lnTo>
                      <a:lnTo>
                        <a:pt x="2204" y="394"/>
                      </a:lnTo>
                      <a:lnTo>
                        <a:pt x="2204" y="394"/>
                      </a:lnTo>
                      <a:lnTo>
                        <a:pt x="2205" y="393"/>
                      </a:lnTo>
                      <a:lnTo>
                        <a:pt x="2205" y="392"/>
                      </a:lnTo>
                      <a:lnTo>
                        <a:pt x="2205" y="389"/>
                      </a:lnTo>
                      <a:lnTo>
                        <a:pt x="2205" y="388"/>
                      </a:lnTo>
                      <a:lnTo>
                        <a:pt x="2204" y="387"/>
                      </a:lnTo>
                      <a:lnTo>
                        <a:pt x="2204" y="387"/>
                      </a:lnTo>
                      <a:lnTo>
                        <a:pt x="2202" y="387"/>
                      </a:lnTo>
                      <a:lnTo>
                        <a:pt x="2201" y="387"/>
                      </a:lnTo>
                      <a:lnTo>
                        <a:pt x="2201" y="386"/>
                      </a:lnTo>
                      <a:lnTo>
                        <a:pt x="2200" y="384"/>
                      </a:lnTo>
                      <a:lnTo>
                        <a:pt x="2199" y="383"/>
                      </a:lnTo>
                      <a:lnTo>
                        <a:pt x="2198" y="383"/>
                      </a:lnTo>
                      <a:lnTo>
                        <a:pt x="2197" y="381"/>
                      </a:lnTo>
                      <a:lnTo>
                        <a:pt x="2197" y="381"/>
                      </a:lnTo>
                      <a:lnTo>
                        <a:pt x="2197" y="381"/>
                      </a:lnTo>
                      <a:lnTo>
                        <a:pt x="2196" y="383"/>
                      </a:lnTo>
                      <a:lnTo>
                        <a:pt x="2196" y="385"/>
                      </a:lnTo>
                      <a:lnTo>
                        <a:pt x="2194" y="386"/>
                      </a:lnTo>
                      <a:lnTo>
                        <a:pt x="2193" y="387"/>
                      </a:lnTo>
                      <a:lnTo>
                        <a:pt x="2191" y="387"/>
                      </a:lnTo>
                      <a:lnTo>
                        <a:pt x="2190" y="387"/>
                      </a:lnTo>
                      <a:lnTo>
                        <a:pt x="2187" y="387"/>
                      </a:lnTo>
                      <a:lnTo>
                        <a:pt x="2185" y="386"/>
                      </a:lnTo>
                      <a:lnTo>
                        <a:pt x="2183" y="385"/>
                      </a:lnTo>
                      <a:lnTo>
                        <a:pt x="2180" y="386"/>
                      </a:lnTo>
                      <a:lnTo>
                        <a:pt x="2178" y="386"/>
                      </a:lnTo>
                      <a:lnTo>
                        <a:pt x="2176" y="387"/>
                      </a:lnTo>
                      <a:lnTo>
                        <a:pt x="2175" y="386"/>
                      </a:lnTo>
                      <a:lnTo>
                        <a:pt x="2175" y="384"/>
                      </a:lnTo>
                      <a:lnTo>
                        <a:pt x="2174" y="383"/>
                      </a:lnTo>
                      <a:lnTo>
                        <a:pt x="2173" y="382"/>
                      </a:lnTo>
                      <a:lnTo>
                        <a:pt x="2172" y="383"/>
                      </a:lnTo>
                      <a:lnTo>
                        <a:pt x="2170" y="383"/>
                      </a:lnTo>
                      <a:lnTo>
                        <a:pt x="2170" y="385"/>
                      </a:lnTo>
                      <a:lnTo>
                        <a:pt x="2169" y="386"/>
                      </a:lnTo>
                      <a:lnTo>
                        <a:pt x="2168" y="388"/>
                      </a:lnTo>
                      <a:lnTo>
                        <a:pt x="2167" y="389"/>
                      </a:lnTo>
                      <a:lnTo>
                        <a:pt x="2165" y="390"/>
                      </a:lnTo>
                      <a:lnTo>
                        <a:pt x="2163" y="392"/>
                      </a:lnTo>
                      <a:lnTo>
                        <a:pt x="2161" y="392"/>
                      </a:lnTo>
                      <a:lnTo>
                        <a:pt x="2161" y="394"/>
                      </a:lnTo>
                      <a:lnTo>
                        <a:pt x="2158" y="395"/>
                      </a:lnTo>
                      <a:lnTo>
                        <a:pt x="2156" y="396"/>
                      </a:lnTo>
                      <a:lnTo>
                        <a:pt x="2156" y="392"/>
                      </a:lnTo>
                      <a:lnTo>
                        <a:pt x="2157" y="392"/>
                      </a:lnTo>
                      <a:lnTo>
                        <a:pt x="2157" y="392"/>
                      </a:lnTo>
                      <a:lnTo>
                        <a:pt x="2158" y="390"/>
                      </a:lnTo>
                      <a:lnTo>
                        <a:pt x="2158" y="389"/>
                      </a:lnTo>
                      <a:lnTo>
                        <a:pt x="2161" y="389"/>
                      </a:lnTo>
                      <a:lnTo>
                        <a:pt x="2161" y="387"/>
                      </a:lnTo>
                      <a:lnTo>
                        <a:pt x="2161" y="386"/>
                      </a:lnTo>
                      <a:lnTo>
                        <a:pt x="2158" y="383"/>
                      </a:lnTo>
                      <a:lnTo>
                        <a:pt x="2158" y="379"/>
                      </a:lnTo>
                      <a:lnTo>
                        <a:pt x="2157" y="376"/>
                      </a:lnTo>
                      <a:lnTo>
                        <a:pt x="2155" y="374"/>
                      </a:lnTo>
                      <a:lnTo>
                        <a:pt x="2154" y="372"/>
                      </a:lnTo>
                      <a:lnTo>
                        <a:pt x="2152" y="370"/>
                      </a:lnTo>
                      <a:lnTo>
                        <a:pt x="2152" y="368"/>
                      </a:lnTo>
                      <a:lnTo>
                        <a:pt x="2152" y="367"/>
                      </a:lnTo>
                      <a:lnTo>
                        <a:pt x="2151" y="365"/>
                      </a:lnTo>
                      <a:lnTo>
                        <a:pt x="2150" y="364"/>
                      </a:lnTo>
                      <a:lnTo>
                        <a:pt x="2148" y="363"/>
                      </a:lnTo>
                      <a:lnTo>
                        <a:pt x="2147" y="361"/>
                      </a:lnTo>
                      <a:lnTo>
                        <a:pt x="2147" y="359"/>
                      </a:lnTo>
                      <a:lnTo>
                        <a:pt x="2146" y="355"/>
                      </a:lnTo>
                      <a:lnTo>
                        <a:pt x="2146" y="352"/>
                      </a:lnTo>
                      <a:lnTo>
                        <a:pt x="2146" y="350"/>
                      </a:lnTo>
                      <a:lnTo>
                        <a:pt x="2146" y="347"/>
                      </a:lnTo>
                      <a:lnTo>
                        <a:pt x="2147" y="345"/>
                      </a:lnTo>
                      <a:lnTo>
                        <a:pt x="2147" y="342"/>
                      </a:lnTo>
                      <a:lnTo>
                        <a:pt x="2148" y="339"/>
                      </a:lnTo>
                      <a:lnTo>
                        <a:pt x="2147" y="329"/>
                      </a:lnTo>
                      <a:lnTo>
                        <a:pt x="2146" y="319"/>
                      </a:lnTo>
                      <a:lnTo>
                        <a:pt x="2146" y="299"/>
                      </a:lnTo>
                      <a:lnTo>
                        <a:pt x="2152" y="292"/>
                      </a:lnTo>
                      <a:lnTo>
                        <a:pt x="2153" y="291"/>
                      </a:lnTo>
                      <a:lnTo>
                        <a:pt x="2154" y="288"/>
                      </a:lnTo>
                      <a:lnTo>
                        <a:pt x="2155" y="286"/>
                      </a:lnTo>
                      <a:lnTo>
                        <a:pt x="2155" y="283"/>
                      </a:lnTo>
                      <a:lnTo>
                        <a:pt x="2156" y="279"/>
                      </a:lnTo>
                      <a:lnTo>
                        <a:pt x="2157" y="275"/>
                      </a:lnTo>
                      <a:lnTo>
                        <a:pt x="2158" y="272"/>
                      </a:lnTo>
                      <a:lnTo>
                        <a:pt x="2158" y="267"/>
                      </a:lnTo>
                      <a:lnTo>
                        <a:pt x="2161" y="263"/>
                      </a:lnTo>
                      <a:lnTo>
                        <a:pt x="2161" y="259"/>
                      </a:lnTo>
                      <a:lnTo>
                        <a:pt x="2161" y="256"/>
                      </a:lnTo>
                      <a:lnTo>
                        <a:pt x="2161" y="254"/>
                      </a:lnTo>
                      <a:lnTo>
                        <a:pt x="2163" y="252"/>
                      </a:lnTo>
                      <a:lnTo>
                        <a:pt x="2165" y="250"/>
                      </a:lnTo>
                      <a:lnTo>
                        <a:pt x="2165" y="247"/>
                      </a:lnTo>
                      <a:lnTo>
                        <a:pt x="2166" y="239"/>
                      </a:lnTo>
                      <a:lnTo>
                        <a:pt x="2163" y="230"/>
                      </a:lnTo>
                      <a:lnTo>
                        <a:pt x="2158" y="223"/>
                      </a:lnTo>
                      <a:lnTo>
                        <a:pt x="2156" y="221"/>
                      </a:lnTo>
                      <a:lnTo>
                        <a:pt x="2154" y="219"/>
                      </a:lnTo>
                      <a:lnTo>
                        <a:pt x="2152" y="219"/>
                      </a:lnTo>
                      <a:lnTo>
                        <a:pt x="2151" y="218"/>
                      </a:lnTo>
                      <a:lnTo>
                        <a:pt x="2150" y="218"/>
                      </a:lnTo>
                      <a:lnTo>
                        <a:pt x="2147" y="218"/>
                      </a:lnTo>
                      <a:lnTo>
                        <a:pt x="2146" y="219"/>
                      </a:lnTo>
                      <a:lnTo>
                        <a:pt x="2144" y="218"/>
                      </a:lnTo>
                      <a:lnTo>
                        <a:pt x="2143" y="218"/>
                      </a:lnTo>
                      <a:lnTo>
                        <a:pt x="2143" y="219"/>
                      </a:lnTo>
                      <a:lnTo>
                        <a:pt x="2143" y="220"/>
                      </a:lnTo>
                      <a:lnTo>
                        <a:pt x="2143" y="221"/>
                      </a:lnTo>
                      <a:lnTo>
                        <a:pt x="2143" y="223"/>
                      </a:lnTo>
                      <a:lnTo>
                        <a:pt x="2144" y="225"/>
                      </a:lnTo>
                      <a:lnTo>
                        <a:pt x="2143" y="225"/>
                      </a:lnTo>
                      <a:lnTo>
                        <a:pt x="2143" y="226"/>
                      </a:lnTo>
                      <a:lnTo>
                        <a:pt x="2142" y="226"/>
                      </a:lnTo>
                      <a:lnTo>
                        <a:pt x="2141" y="226"/>
                      </a:lnTo>
                      <a:lnTo>
                        <a:pt x="2140" y="227"/>
                      </a:lnTo>
                      <a:lnTo>
                        <a:pt x="2140" y="230"/>
                      </a:lnTo>
                      <a:lnTo>
                        <a:pt x="2139" y="239"/>
                      </a:lnTo>
                      <a:lnTo>
                        <a:pt x="2141" y="247"/>
                      </a:lnTo>
                      <a:lnTo>
                        <a:pt x="2142" y="258"/>
                      </a:lnTo>
                      <a:lnTo>
                        <a:pt x="2142" y="262"/>
                      </a:lnTo>
                      <a:lnTo>
                        <a:pt x="2142" y="265"/>
                      </a:lnTo>
                      <a:lnTo>
                        <a:pt x="2141" y="268"/>
                      </a:lnTo>
                      <a:lnTo>
                        <a:pt x="2140" y="270"/>
                      </a:lnTo>
                      <a:lnTo>
                        <a:pt x="2139" y="273"/>
                      </a:lnTo>
                      <a:lnTo>
                        <a:pt x="2137" y="275"/>
                      </a:lnTo>
                      <a:lnTo>
                        <a:pt x="2136" y="279"/>
                      </a:lnTo>
                      <a:lnTo>
                        <a:pt x="2135" y="284"/>
                      </a:lnTo>
                      <a:lnTo>
                        <a:pt x="2133" y="286"/>
                      </a:lnTo>
                      <a:lnTo>
                        <a:pt x="2131" y="289"/>
                      </a:lnTo>
                      <a:lnTo>
                        <a:pt x="2129" y="292"/>
                      </a:lnTo>
                      <a:lnTo>
                        <a:pt x="2126" y="295"/>
                      </a:lnTo>
                      <a:lnTo>
                        <a:pt x="2123" y="301"/>
                      </a:lnTo>
                      <a:lnTo>
                        <a:pt x="2121" y="308"/>
                      </a:lnTo>
                      <a:lnTo>
                        <a:pt x="2122" y="317"/>
                      </a:lnTo>
                      <a:lnTo>
                        <a:pt x="2122" y="321"/>
                      </a:lnTo>
                      <a:lnTo>
                        <a:pt x="2122" y="324"/>
                      </a:lnTo>
                      <a:lnTo>
                        <a:pt x="2123" y="328"/>
                      </a:lnTo>
                      <a:lnTo>
                        <a:pt x="2122" y="331"/>
                      </a:lnTo>
                      <a:lnTo>
                        <a:pt x="2122" y="334"/>
                      </a:lnTo>
                      <a:lnTo>
                        <a:pt x="2121" y="336"/>
                      </a:lnTo>
                      <a:lnTo>
                        <a:pt x="2121" y="339"/>
                      </a:lnTo>
                      <a:lnTo>
                        <a:pt x="2121" y="342"/>
                      </a:lnTo>
                      <a:lnTo>
                        <a:pt x="2122" y="345"/>
                      </a:lnTo>
                      <a:lnTo>
                        <a:pt x="2122" y="350"/>
                      </a:lnTo>
                      <a:lnTo>
                        <a:pt x="2122" y="354"/>
                      </a:lnTo>
                      <a:lnTo>
                        <a:pt x="2124" y="359"/>
                      </a:lnTo>
                      <a:lnTo>
                        <a:pt x="2124" y="361"/>
                      </a:lnTo>
                      <a:lnTo>
                        <a:pt x="2124" y="362"/>
                      </a:lnTo>
                      <a:lnTo>
                        <a:pt x="2125" y="364"/>
                      </a:lnTo>
                      <a:lnTo>
                        <a:pt x="2126" y="365"/>
                      </a:lnTo>
                      <a:lnTo>
                        <a:pt x="2129" y="367"/>
                      </a:lnTo>
                      <a:lnTo>
                        <a:pt x="2129" y="370"/>
                      </a:lnTo>
                      <a:lnTo>
                        <a:pt x="2129" y="372"/>
                      </a:lnTo>
                      <a:lnTo>
                        <a:pt x="2131" y="374"/>
                      </a:lnTo>
                      <a:lnTo>
                        <a:pt x="2131" y="374"/>
                      </a:lnTo>
                      <a:lnTo>
                        <a:pt x="2131" y="374"/>
                      </a:lnTo>
                      <a:lnTo>
                        <a:pt x="2131" y="375"/>
                      </a:lnTo>
                      <a:lnTo>
                        <a:pt x="2133" y="376"/>
                      </a:lnTo>
                      <a:lnTo>
                        <a:pt x="2134" y="378"/>
                      </a:lnTo>
                      <a:lnTo>
                        <a:pt x="2134" y="381"/>
                      </a:lnTo>
                      <a:lnTo>
                        <a:pt x="2134" y="384"/>
                      </a:lnTo>
                      <a:lnTo>
                        <a:pt x="2135" y="386"/>
                      </a:lnTo>
                      <a:lnTo>
                        <a:pt x="2135" y="389"/>
                      </a:lnTo>
                      <a:lnTo>
                        <a:pt x="2135" y="395"/>
                      </a:lnTo>
                      <a:lnTo>
                        <a:pt x="2134" y="401"/>
                      </a:lnTo>
                      <a:lnTo>
                        <a:pt x="2133" y="408"/>
                      </a:lnTo>
                      <a:lnTo>
                        <a:pt x="2131" y="411"/>
                      </a:lnTo>
                      <a:lnTo>
                        <a:pt x="2128" y="416"/>
                      </a:lnTo>
                      <a:lnTo>
                        <a:pt x="2124" y="422"/>
                      </a:lnTo>
                      <a:lnTo>
                        <a:pt x="2124" y="431"/>
                      </a:lnTo>
                      <a:lnTo>
                        <a:pt x="2124" y="433"/>
                      </a:lnTo>
                      <a:lnTo>
                        <a:pt x="2125" y="437"/>
                      </a:lnTo>
                      <a:lnTo>
                        <a:pt x="2124" y="440"/>
                      </a:lnTo>
                      <a:lnTo>
                        <a:pt x="2124" y="443"/>
                      </a:lnTo>
                      <a:lnTo>
                        <a:pt x="2124" y="447"/>
                      </a:lnTo>
                      <a:lnTo>
                        <a:pt x="2124" y="449"/>
                      </a:lnTo>
                      <a:lnTo>
                        <a:pt x="2125" y="451"/>
                      </a:lnTo>
                      <a:lnTo>
                        <a:pt x="2125" y="453"/>
                      </a:lnTo>
                      <a:lnTo>
                        <a:pt x="2126" y="455"/>
                      </a:lnTo>
                      <a:lnTo>
                        <a:pt x="2126" y="459"/>
                      </a:lnTo>
                      <a:lnTo>
                        <a:pt x="2126" y="462"/>
                      </a:lnTo>
                      <a:lnTo>
                        <a:pt x="2126" y="465"/>
                      </a:lnTo>
                      <a:lnTo>
                        <a:pt x="2126" y="469"/>
                      </a:lnTo>
                      <a:lnTo>
                        <a:pt x="2124" y="473"/>
                      </a:lnTo>
                      <a:lnTo>
                        <a:pt x="2123" y="477"/>
                      </a:lnTo>
                      <a:lnTo>
                        <a:pt x="2122" y="482"/>
                      </a:lnTo>
                      <a:lnTo>
                        <a:pt x="2121" y="484"/>
                      </a:lnTo>
                      <a:lnTo>
                        <a:pt x="2120" y="485"/>
                      </a:lnTo>
                      <a:lnTo>
                        <a:pt x="2119" y="485"/>
                      </a:lnTo>
                      <a:lnTo>
                        <a:pt x="2118" y="484"/>
                      </a:lnTo>
                      <a:lnTo>
                        <a:pt x="2117" y="483"/>
                      </a:lnTo>
                      <a:lnTo>
                        <a:pt x="2114" y="483"/>
                      </a:lnTo>
                      <a:lnTo>
                        <a:pt x="2113" y="483"/>
                      </a:lnTo>
                      <a:lnTo>
                        <a:pt x="2113" y="484"/>
                      </a:lnTo>
                      <a:lnTo>
                        <a:pt x="2111" y="487"/>
                      </a:lnTo>
                      <a:lnTo>
                        <a:pt x="2111" y="490"/>
                      </a:lnTo>
                      <a:lnTo>
                        <a:pt x="2110" y="493"/>
                      </a:lnTo>
                      <a:lnTo>
                        <a:pt x="2109" y="495"/>
                      </a:lnTo>
                      <a:lnTo>
                        <a:pt x="2107" y="495"/>
                      </a:lnTo>
                      <a:lnTo>
                        <a:pt x="2106" y="496"/>
                      </a:lnTo>
                      <a:lnTo>
                        <a:pt x="2103" y="496"/>
                      </a:lnTo>
                      <a:lnTo>
                        <a:pt x="2102" y="497"/>
                      </a:lnTo>
                      <a:lnTo>
                        <a:pt x="2101" y="499"/>
                      </a:lnTo>
                      <a:lnTo>
                        <a:pt x="2100" y="504"/>
                      </a:lnTo>
                      <a:lnTo>
                        <a:pt x="2099" y="507"/>
                      </a:lnTo>
                      <a:lnTo>
                        <a:pt x="2098" y="512"/>
                      </a:lnTo>
                      <a:lnTo>
                        <a:pt x="2096" y="514"/>
                      </a:lnTo>
                      <a:lnTo>
                        <a:pt x="2095" y="514"/>
                      </a:lnTo>
                      <a:lnTo>
                        <a:pt x="2092" y="514"/>
                      </a:lnTo>
                      <a:lnTo>
                        <a:pt x="2091" y="514"/>
                      </a:lnTo>
                      <a:lnTo>
                        <a:pt x="2089" y="514"/>
                      </a:lnTo>
                      <a:lnTo>
                        <a:pt x="2088" y="513"/>
                      </a:lnTo>
                      <a:lnTo>
                        <a:pt x="2087" y="512"/>
                      </a:lnTo>
                      <a:lnTo>
                        <a:pt x="2086" y="510"/>
                      </a:lnTo>
                      <a:lnTo>
                        <a:pt x="2086" y="508"/>
                      </a:lnTo>
                      <a:lnTo>
                        <a:pt x="2087" y="506"/>
                      </a:lnTo>
                      <a:lnTo>
                        <a:pt x="2087" y="504"/>
                      </a:lnTo>
                      <a:lnTo>
                        <a:pt x="2088" y="502"/>
                      </a:lnTo>
                      <a:lnTo>
                        <a:pt x="2088" y="499"/>
                      </a:lnTo>
                      <a:lnTo>
                        <a:pt x="2089" y="497"/>
                      </a:lnTo>
                      <a:lnTo>
                        <a:pt x="2089" y="486"/>
                      </a:lnTo>
                      <a:lnTo>
                        <a:pt x="2089" y="484"/>
                      </a:lnTo>
                      <a:lnTo>
                        <a:pt x="2089" y="483"/>
                      </a:lnTo>
                      <a:lnTo>
                        <a:pt x="2090" y="482"/>
                      </a:lnTo>
                      <a:lnTo>
                        <a:pt x="2090" y="482"/>
                      </a:lnTo>
                      <a:lnTo>
                        <a:pt x="2091" y="482"/>
                      </a:lnTo>
                      <a:lnTo>
                        <a:pt x="2092" y="482"/>
                      </a:lnTo>
                      <a:lnTo>
                        <a:pt x="2093" y="482"/>
                      </a:lnTo>
                      <a:lnTo>
                        <a:pt x="2095" y="481"/>
                      </a:lnTo>
                      <a:lnTo>
                        <a:pt x="2096" y="479"/>
                      </a:lnTo>
                      <a:lnTo>
                        <a:pt x="2097" y="476"/>
                      </a:lnTo>
                      <a:lnTo>
                        <a:pt x="2098" y="475"/>
                      </a:lnTo>
                      <a:lnTo>
                        <a:pt x="2098" y="470"/>
                      </a:lnTo>
                      <a:lnTo>
                        <a:pt x="2097" y="463"/>
                      </a:lnTo>
                      <a:lnTo>
                        <a:pt x="2096" y="455"/>
                      </a:lnTo>
                      <a:lnTo>
                        <a:pt x="2093" y="451"/>
                      </a:lnTo>
                      <a:lnTo>
                        <a:pt x="2092" y="449"/>
                      </a:lnTo>
                      <a:lnTo>
                        <a:pt x="2092" y="447"/>
                      </a:lnTo>
                      <a:lnTo>
                        <a:pt x="2090" y="443"/>
                      </a:lnTo>
                      <a:lnTo>
                        <a:pt x="2089" y="440"/>
                      </a:lnTo>
                      <a:lnTo>
                        <a:pt x="2089" y="436"/>
                      </a:lnTo>
                      <a:lnTo>
                        <a:pt x="2091" y="431"/>
                      </a:lnTo>
                      <a:lnTo>
                        <a:pt x="2093" y="429"/>
                      </a:lnTo>
                      <a:lnTo>
                        <a:pt x="2095" y="426"/>
                      </a:lnTo>
                      <a:lnTo>
                        <a:pt x="2097" y="422"/>
                      </a:lnTo>
                      <a:lnTo>
                        <a:pt x="2099" y="420"/>
                      </a:lnTo>
                      <a:lnTo>
                        <a:pt x="2100" y="417"/>
                      </a:lnTo>
                      <a:lnTo>
                        <a:pt x="2102" y="414"/>
                      </a:lnTo>
                      <a:lnTo>
                        <a:pt x="2102" y="411"/>
                      </a:lnTo>
                      <a:lnTo>
                        <a:pt x="2101" y="409"/>
                      </a:lnTo>
                      <a:lnTo>
                        <a:pt x="2100" y="407"/>
                      </a:lnTo>
                      <a:lnTo>
                        <a:pt x="2099" y="407"/>
                      </a:lnTo>
                      <a:lnTo>
                        <a:pt x="2098" y="408"/>
                      </a:lnTo>
                      <a:lnTo>
                        <a:pt x="2098" y="409"/>
                      </a:lnTo>
                      <a:lnTo>
                        <a:pt x="2098" y="411"/>
                      </a:lnTo>
                      <a:lnTo>
                        <a:pt x="2096" y="416"/>
                      </a:lnTo>
                      <a:lnTo>
                        <a:pt x="2095" y="419"/>
                      </a:lnTo>
                      <a:lnTo>
                        <a:pt x="2092" y="421"/>
                      </a:lnTo>
                      <a:lnTo>
                        <a:pt x="2091" y="425"/>
                      </a:lnTo>
                      <a:lnTo>
                        <a:pt x="2090" y="426"/>
                      </a:lnTo>
                      <a:lnTo>
                        <a:pt x="2089" y="426"/>
                      </a:lnTo>
                      <a:lnTo>
                        <a:pt x="2088" y="426"/>
                      </a:lnTo>
                      <a:lnTo>
                        <a:pt x="2087" y="425"/>
                      </a:lnTo>
                      <a:lnTo>
                        <a:pt x="2087" y="422"/>
                      </a:lnTo>
                      <a:lnTo>
                        <a:pt x="2087" y="420"/>
                      </a:lnTo>
                      <a:lnTo>
                        <a:pt x="2086" y="418"/>
                      </a:lnTo>
                      <a:lnTo>
                        <a:pt x="2085" y="415"/>
                      </a:lnTo>
                      <a:lnTo>
                        <a:pt x="2085" y="411"/>
                      </a:lnTo>
                      <a:lnTo>
                        <a:pt x="2085" y="405"/>
                      </a:lnTo>
                      <a:lnTo>
                        <a:pt x="2085" y="397"/>
                      </a:lnTo>
                      <a:lnTo>
                        <a:pt x="2084" y="390"/>
                      </a:lnTo>
                      <a:lnTo>
                        <a:pt x="2080" y="387"/>
                      </a:lnTo>
                      <a:lnTo>
                        <a:pt x="2079" y="387"/>
                      </a:lnTo>
                      <a:lnTo>
                        <a:pt x="2079" y="387"/>
                      </a:lnTo>
                      <a:lnTo>
                        <a:pt x="2079" y="389"/>
                      </a:lnTo>
                      <a:lnTo>
                        <a:pt x="2079" y="392"/>
                      </a:lnTo>
                      <a:lnTo>
                        <a:pt x="2080" y="394"/>
                      </a:lnTo>
                      <a:lnTo>
                        <a:pt x="2080" y="396"/>
                      </a:lnTo>
                      <a:lnTo>
                        <a:pt x="2080" y="398"/>
                      </a:lnTo>
                      <a:lnTo>
                        <a:pt x="2080" y="400"/>
                      </a:lnTo>
                      <a:lnTo>
                        <a:pt x="2079" y="401"/>
                      </a:lnTo>
                      <a:lnTo>
                        <a:pt x="2078" y="403"/>
                      </a:lnTo>
                      <a:lnTo>
                        <a:pt x="2077" y="404"/>
                      </a:lnTo>
                      <a:lnTo>
                        <a:pt x="2076" y="406"/>
                      </a:lnTo>
                      <a:lnTo>
                        <a:pt x="2075" y="408"/>
                      </a:lnTo>
                      <a:lnTo>
                        <a:pt x="2074" y="411"/>
                      </a:lnTo>
                      <a:lnTo>
                        <a:pt x="2073" y="416"/>
                      </a:lnTo>
                      <a:lnTo>
                        <a:pt x="2071" y="419"/>
                      </a:lnTo>
                      <a:lnTo>
                        <a:pt x="2069" y="422"/>
                      </a:lnTo>
                      <a:lnTo>
                        <a:pt x="2068" y="422"/>
                      </a:lnTo>
                      <a:lnTo>
                        <a:pt x="2067" y="422"/>
                      </a:lnTo>
                      <a:lnTo>
                        <a:pt x="2066" y="423"/>
                      </a:lnTo>
                      <a:lnTo>
                        <a:pt x="2065" y="425"/>
                      </a:lnTo>
                      <a:lnTo>
                        <a:pt x="2063" y="427"/>
                      </a:lnTo>
                      <a:lnTo>
                        <a:pt x="2060" y="428"/>
                      </a:lnTo>
                      <a:lnTo>
                        <a:pt x="2059" y="428"/>
                      </a:lnTo>
                      <a:lnTo>
                        <a:pt x="2057" y="428"/>
                      </a:lnTo>
                      <a:lnTo>
                        <a:pt x="2054" y="427"/>
                      </a:lnTo>
                      <a:lnTo>
                        <a:pt x="2052" y="425"/>
                      </a:lnTo>
                      <a:lnTo>
                        <a:pt x="2049" y="422"/>
                      </a:lnTo>
                      <a:lnTo>
                        <a:pt x="2047" y="422"/>
                      </a:lnTo>
                      <a:lnTo>
                        <a:pt x="2047" y="422"/>
                      </a:lnTo>
                      <a:lnTo>
                        <a:pt x="2046" y="421"/>
                      </a:lnTo>
                      <a:lnTo>
                        <a:pt x="2044" y="419"/>
                      </a:lnTo>
                      <a:lnTo>
                        <a:pt x="2043" y="418"/>
                      </a:lnTo>
                      <a:lnTo>
                        <a:pt x="2044" y="406"/>
                      </a:lnTo>
                      <a:lnTo>
                        <a:pt x="2045" y="396"/>
                      </a:lnTo>
                      <a:lnTo>
                        <a:pt x="2045" y="394"/>
                      </a:lnTo>
                      <a:lnTo>
                        <a:pt x="2044" y="392"/>
                      </a:lnTo>
                      <a:lnTo>
                        <a:pt x="2043" y="389"/>
                      </a:lnTo>
                      <a:lnTo>
                        <a:pt x="2042" y="387"/>
                      </a:lnTo>
                      <a:lnTo>
                        <a:pt x="2041" y="385"/>
                      </a:lnTo>
                      <a:lnTo>
                        <a:pt x="2041" y="382"/>
                      </a:lnTo>
                      <a:lnTo>
                        <a:pt x="2041" y="378"/>
                      </a:lnTo>
                      <a:lnTo>
                        <a:pt x="2041" y="375"/>
                      </a:lnTo>
                      <a:lnTo>
                        <a:pt x="2041" y="372"/>
                      </a:lnTo>
                      <a:lnTo>
                        <a:pt x="2039" y="368"/>
                      </a:lnTo>
                      <a:lnTo>
                        <a:pt x="2039" y="365"/>
                      </a:lnTo>
                      <a:lnTo>
                        <a:pt x="2038" y="363"/>
                      </a:lnTo>
                      <a:lnTo>
                        <a:pt x="2036" y="362"/>
                      </a:lnTo>
                      <a:lnTo>
                        <a:pt x="2035" y="362"/>
                      </a:lnTo>
                      <a:lnTo>
                        <a:pt x="2033" y="363"/>
                      </a:lnTo>
                      <a:lnTo>
                        <a:pt x="2032" y="363"/>
                      </a:lnTo>
                      <a:lnTo>
                        <a:pt x="2031" y="362"/>
                      </a:lnTo>
                      <a:lnTo>
                        <a:pt x="2028" y="361"/>
                      </a:lnTo>
                      <a:lnTo>
                        <a:pt x="2026" y="360"/>
                      </a:lnTo>
                      <a:lnTo>
                        <a:pt x="2025" y="357"/>
                      </a:lnTo>
                      <a:lnTo>
                        <a:pt x="2023" y="355"/>
                      </a:lnTo>
                      <a:lnTo>
                        <a:pt x="2023" y="352"/>
                      </a:lnTo>
                      <a:lnTo>
                        <a:pt x="2025" y="353"/>
                      </a:lnTo>
                      <a:lnTo>
                        <a:pt x="2027" y="354"/>
                      </a:lnTo>
                      <a:lnTo>
                        <a:pt x="2030" y="355"/>
                      </a:lnTo>
                      <a:lnTo>
                        <a:pt x="2032" y="355"/>
                      </a:lnTo>
                      <a:lnTo>
                        <a:pt x="2034" y="355"/>
                      </a:lnTo>
                      <a:lnTo>
                        <a:pt x="2036" y="354"/>
                      </a:lnTo>
                      <a:lnTo>
                        <a:pt x="2036" y="353"/>
                      </a:lnTo>
                      <a:lnTo>
                        <a:pt x="2036" y="351"/>
                      </a:lnTo>
                      <a:lnTo>
                        <a:pt x="2036" y="347"/>
                      </a:lnTo>
                      <a:lnTo>
                        <a:pt x="2035" y="345"/>
                      </a:lnTo>
                      <a:lnTo>
                        <a:pt x="2035" y="342"/>
                      </a:lnTo>
                      <a:lnTo>
                        <a:pt x="2034" y="339"/>
                      </a:lnTo>
                      <a:lnTo>
                        <a:pt x="2034" y="336"/>
                      </a:lnTo>
                      <a:lnTo>
                        <a:pt x="2034" y="308"/>
                      </a:lnTo>
                      <a:lnTo>
                        <a:pt x="2034" y="307"/>
                      </a:lnTo>
                      <a:lnTo>
                        <a:pt x="2034" y="306"/>
                      </a:lnTo>
                      <a:lnTo>
                        <a:pt x="2034" y="306"/>
                      </a:lnTo>
                      <a:lnTo>
                        <a:pt x="2035" y="306"/>
                      </a:lnTo>
                      <a:lnTo>
                        <a:pt x="2036" y="306"/>
                      </a:lnTo>
                      <a:lnTo>
                        <a:pt x="2037" y="306"/>
                      </a:lnTo>
                      <a:lnTo>
                        <a:pt x="2038" y="305"/>
                      </a:lnTo>
                      <a:lnTo>
                        <a:pt x="2038" y="302"/>
                      </a:lnTo>
                      <a:lnTo>
                        <a:pt x="2039" y="301"/>
                      </a:lnTo>
                      <a:lnTo>
                        <a:pt x="2041" y="299"/>
                      </a:lnTo>
                      <a:lnTo>
                        <a:pt x="2042" y="295"/>
                      </a:lnTo>
                      <a:lnTo>
                        <a:pt x="2044" y="290"/>
                      </a:lnTo>
                      <a:lnTo>
                        <a:pt x="2046" y="286"/>
                      </a:lnTo>
                      <a:lnTo>
                        <a:pt x="2049" y="281"/>
                      </a:lnTo>
                      <a:lnTo>
                        <a:pt x="2052" y="281"/>
                      </a:lnTo>
                      <a:lnTo>
                        <a:pt x="2054" y="281"/>
                      </a:lnTo>
                      <a:lnTo>
                        <a:pt x="2056" y="279"/>
                      </a:lnTo>
                      <a:lnTo>
                        <a:pt x="2056" y="279"/>
                      </a:lnTo>
                      <a:lnTo>
                        <a:pt x="2056" y="277"/>
                      </a:lnTo>
                      <a:lnTo>
                        <a:pt x="2057" y="274"/>
                      </a:lnTo>
                      <a:lnTo>
                        <a:pt x="2058" y="272"/>
                      </a:lnTo>
                      <a:lnTo>
                        <a:pt x="2059" y="267"/>
                      </a:lnTo>
                      <a:lnTo>
                        <a:pt x="2060" y="264"/>
                      </a:lnTo>
                      <a:lnTo>
                        <a:pt x="2063" y="261"/>
                      </a:lnTo>
                      <a:lnTo>
                        <a:pt x="2065" y="256"/>
                      </a:lnTo>
                      <a:lnTo>
                        <a:pt x="2065" y="254"/>
                      </a:lnTo>
                      <a:lnTo>
                        <a:pt x="2065" y="252"/>
                      </a:lnTo>
                      <a:lnTo>
                        <a:pt x="2066" y="248"/>
                      </a:lnTo>
                      <a:lnTo>
                        <a:pt x="2067" y="247"/>
                      </a:lnTo>
                      <a:lnTo>
                        <a:pt x="2067" y="245"/>
                      </a:lnTo>
                      <a:lnTo>
                        <a:pt x="2068" y="243"/>
                      </a:lnTo>
                      <a:lnTo>
                        <a:pt x="2069" y="242"/>
                      </a:lnTo>
                      <a:lnTo>
                        <a:pt x="2070" y="242"/>
                      </a:lnTo>
                      <a:lnTo>
                        <a:pt x="2071" y="241"/>
                      </a:lnTo>
                      <a:lnTo>
                        <a:pt x="2073" y="235"/>
                      </a:lnTo>
                      <a:lnTo>
                        <a:pt x="2074" y="227"/>
                      </a:lnTo>
                      <a:lnTo>
                        <a:pt x="2076" y="221"/>
                      </a:lnTo>
                      <a:lnTo>
                        <a:pt x="2076" y="210"/>
                      </a:lnTo>
                      <a:lnTo>
                        <a:pt x="2076" y="207"/>
                      </a:lnTo>
                      <a:lnTo>
                        <a:pt x="2077" y="204"/>
                      </a:lnTo>
                      <a:lnTo>
                        <a:pt x="2078" y="202"/>
                      </a:lnTo>
                      <a:lnTo>
                        <a:pt x="2078" y="201"/>
                      </a:lnTo>
                      <a:lnTo>
                        <a:pt x="2079" y="199"/>
                      </a:lnTo>
                      <a:lnTo>
                        <a:pt x="2079" y="198"/>
                      </a:lnTo>
                      <a:lnTo>
                        <a:pt x="2078" y="196"/>
                      </a:lnTo>
                      <a:lnTo>
                        <a:pt x="2078" y="193"/>
                      </a:lnTo>
                      <a:lnTo>
                        <a:pt x="2078" y="192"/>
                      </a:lnTo>
                      <a:lnTo>
                        <a:pt x="2077" y="190"/>
                      </a:lnTo>
                      <a:lnTo>
                        <a:pt x="2077" y="188"/>
                      </a:lnTo>
                      <a:lnTo>
                        <a:pt x="2077" y="186"/>
                      </a:lnTo>
                      <a:lnTo>
                        <a:pt x="2078" y="185"/>
                      </a:lnTo>
                      <a:lnTo>
                        <a:pt x="2078" y="183"/>
                      </a:lnTo>
                      <a:lnTo>
                        <a:pt x="2078" y="177"/>
                      </a:lnTo>
                      <a:lnTo>
                        <a:pt x="2078" y="176"/>
                      </a:lnTo>
                      <a:lnTo>
                        <a:pt x="2079" y="176"/>
                      </a:lnTo>
                      <a:lnTo>
                        <a:pt x="2079" y="176"/>
                      </a:lnTo>
                      <a:lnTo>
                        <a:pt x="2080" y="176"/>
                      </a:lnTo>
                      <a:lnTo>
                        <a:pt x="2080" y="175"/>
                      </a:lnTo>
                      <a:lnTo>
                        <a:pt x="2080" y="166"/>
                      </a:lnTo>
                      <a:lnTo>
                        <a:pt x="2081" y="165"/>
                      </a:lnTo>
                      <a:lnTo>
                        <a:pt x="2082" y="164"/>
                      </a:lnTo>
                      <a:lnTo>
                        <a:pt x="2084" y="163"/>
                      </a:lnTo>
                      <a:lnTo>
                        <a:pt x="2085" y="161"/>
                      </a:lnTo>
                      <a:lnTo>
                        <a:pt x="2085" y="144"/>
                      </a:lnTo>
                      <a:lnTo>
                        <a:pt x="2084" y="142"/>
                      </a:lnTo>
                      <a:lnTo>
                        <a:pt x="2082" y="141"/>
                      </a:lnTo>
                      <a:lnTo>
                        <a:pt x="2082" y="139"/>
                      </a:lnTo>
                      <a:lnTo>
                        <a:pt x="2082" y="138"/>
                      </a:lnTo>
                      <a:lnTo>
                        <a:pt x="2082" y="137"/>
                      </a:lnTo>
                      <a:lnTo>
                        <a:pt x="2081" y="136"/>
                      </a:lnTo>
                      <a:lnTo>
                        <a:pt x="2081" y="134"/>
                      </a:lnTo>
                      <a:lnTo>
                        <a:pt x="2081" y="133"/>
                      </a:lnTo>
                      <a:lnTo>
                        <a:pt x="2082" y="131"/>
                      </a:lnTo>
                      <a:lnTo>
                        <a:pt x="2084" y="127"/>
                      </a:lnTo>
                      <a:lnTo>
                        <a:pt x="2084" y="124"/>
                      </a:lnTo>
                      <a:lnTo>
                        <a:pt x="2082" y="121"/>
                      </a:lnTo>
                      <a:lnTo>
                        <a:pt x="2082" y="117"/>
                      </a:lnTo>
                      <a:lnTo>
                        <a:pt x="2082" y="113"/>
                      </a:lnTo>
                      <a:lnTo>
                        <a:pt x="2084" y="114"/>
                      </a:lnTo>
                      <a:lnTo>
                        <a:pt x="2084" y="115"/>
                      </a:lnTo>
                      <a:lnTo>
                        <a:pt x="2085" y="115"/>
                      </a:lnTo>
                      <a:lnTo>
                        <a:pt x="2085" y="114"/>
                      </a:lnTo>
                      <a:lnTo>
                        <a:pt x="2085" y="111"/>
                      </a:lnTo>
                      <a:lnTo>
                        <a:pt x="2085" y="111"/>
                      </a:lnTo>
                      <a:lnTo>
                        <a:pt x="2085" y="111"/>
                      </a:lnTo>
                      <a:lnTo>
                        <a:pt x="2086" y="113"/>
                      </a:lnTo>
                      <a:lnTo>
                        <a:pt x="2086" y="114"/>
                      </a:lnTo>
                      <a:lnTo>
                        <a:pt x="2087" y="116"/>
                      </a:lnTo>
                      <a:lnTo>
                        <a:pt x="2087" y="117"/>
                      </a:lnTo>
                      <a:lnTo>
                        <a:pt x="2087" y="119"/>
                      </a:lnTo>
                      <a:lnTo>
                        <a:pt x="2088" y="120"/>
                      </a:lnTo>
                      <a:lnTo>
                        <a:pt x="2088" y="121"/>
                      </a:lnTo>
                      <a:lnTo>
                        <a:pt x="2089" y="121"/>
                      </a:lnTo>
                      <a:lnTo>
                        <a:pt x="2089" y="120"/>
                      </a:lnTo>
                      <a:lnTo>
                        <a:pt x="2089" y="113"/>
                      </a:lnTo>
                      <a:lnTo>
                        <a:pt x="2089" y="112"/>
                      </a:lnTo>
                      <a:lnTo>
                        <a:pt x="2090" y="112"/>
                      </a:lnTo>
                      <a:lnTo>
                        <a:pt x="2090" y="112"/>
                      </a:lnTo>
                      <a:lnTo>
                        <a:pt x="2091" y="113"/>
                      </a:lnTo>
                      <a:lnTo>
                        <a:pt x="2092" y="113"/>
                      </a:lnTo>
                      <a:lnTo>
                        <a:pt x="2093" y="114"/>
                      </a:lnTo>
                      <a:lnTo>
                        <a:pt x="2093" y="113"/>
                      </a:lnTo>
                      <a:lnTo>
                        <a:pt x="2093" y="112"/>
                      </a:lnTo>
                      <a:lnTo>
                        <a:pt x="2092" y="109"/>
                      </a:lnTo>
                      <a:lnTo>
                        <a:pt x="2092" y="105"/>
                      </a:lnTo>
                      <a:lnTo>
                        <a:pt x="2091" y="103"/>
                      </a:lnTo>
                      <a:lnTo>
                        <a:pt x="2091" y="101"/>
                      </a:lnTo>
                      <a:lnTo>
                        <a:pt x="2091" y="100"/>
                      </a:lnTo>
                      <a:lnTo>
                        <a:pt x="2092" y="101"/>
                      </a:lnTo>
                      <a:lnTo>
                        <a:pt x="2092" y="101"/>
                      </a:lnTo>
                      <a:lnTo>
                        <a:pt x="2093" y="102"/>
                      </a:lnTo>
                      <a:lnTo>
                        <a:pt x="2095" y="103"/>
                      </a:lnTo>
                      <a:lnTo>
                        <a:pt x="2095" y="103"/>
                      </a:lnTo>
                      <a:lnTo>
                        <a:pt x="2096" y="102"/>
                      </a:lnTo>
                      <a:lnTo>
                        <a:pt x="2096" y="100"/>
                      </a:lnTo>
                      <a:lnTo>
                        <a:pt x="2096" y="99"/>
                      </a:lnTo>
                      <a:lnTo>
                        <a:pt x="2095" y="96"/>
                      </a:lnTo>
                      <a:lnTo>
                        <a:pt x="2095" y="95"/>
                      </a:lnTo>
                      <a:lnTo>
                        <a:pt x="2095" y="93"/>
                      </a:lnTo>
                      <a:lnTo>
                        <a:pt x="2095" y="92"/>
                      </a:lnTo>
                      <a:lnTo>
                        <a:pt x="2095" y="91"/>
                      </a:lnTo>
                      <a:lnTo>
                        <a:pt x="2096" y="91"/>
                      </a:lnTo>
                      <a:lnTo>
                        <a:pt x="2097" y="92"/>
                      </a:lnTo>
                      <a:lnTo>
                        <a:pt x="2097" y="92"/>
                      </a:lnTo>
                      <a:lnTo>
                        <a:pt x="2098" y="93"/>
                      </a:lnTo>
                      <a:lnTo>
                        <a:pt x="2098" y="93"/>
                      </a:lnTo>
                      <a:lnTo>
                        <a:pt x="2098" y="91"/>
                      </a:lnTo>
                      <a:lnTo>
                        <a:pt x="2098" y="80"/>
                      </a:lnTo>
                      <a:lnTo>
                        <a:pt x="2097" y="78"/>
                      </a:lnTo>
                      <a:lnTo>
                        <a:pt x="2097" y="76"/>
                      </a:lnTo>
                      <a:lnTo>
                        <a:pt x="2096" y="73"/>
                      </a:lnTo>
                      <a:lnTo>
                        <a:pt x="2096" y="71"/>
                      </a:lnTo>
                      <a:lnTo>
                        <a:pt x="2096" y="71"/>
                      </a:lnTo>
                      <a:lnTo>
                        <a:pt x="2097" y="72"/>
                      </a:lnTo>
                      <a:lnTo>
                        <a:pt x="2098" y="73"/>
                      </a:lnTo>
                      <a:lnTo>
                        <a:pt x="2099" y="74"/>
                      </a:lnTo>
                      <a:lnTo>
                        <a:pt x="2099" y="77"/>
                      </a:lnTo>
                      <a:lnTo>
                        <a:pt x="2100" y="78"/>
                      </a:lnTo>
                      <a:lnTo>
                        <a:pt x="2101" y="80"/>
                      </a:lnTo>
                      <a:lnTo>
                        <a:pt x="2102" y="80"/>
                      </a:lnTo>
                      <a:lnTo>
                        <a:pt x="2102" y="80"/>
                      </a:lnTo>
                      <a:lnTo>
                        <a:pt x="2102" y="79"/>
                      </a:lnTo>
                      <a:lnTo>
                        <a:pt x="2102" y="78"/>
                      </a:lnTo>
                      <a:lnTo>
                        <a:pt x="2102" y="77"/>
                      </a:lnTo>
                      <a:lnTo>
                        <a:pt x="2102" y="74"/>
                      </a:lnTo>
                      <a:lnTo>
                        <a:pt x="2102" y="73"/>
                      </a:lnTo>
                      <a:lnTo>
                        <a:pt x="2103" y="73"/>
                      </a:lnTo>
                      <a:lnTo>
                        <a:pt x="2104" y="73"/>
                      </a:lnTo>
                      <a:lnTo>
                        <a:pt x="2106" y="74"/>
                      </a:lnTo>
                      <a:lnTo>
                        <a:pt x="2106" y="76"/>
                      </a:lnTo>
                      <a:lnTo>
                        <a:pt x="2107" y="76"/>
                      </a:lnTo>
                      <a:lnTo>
                        <a:pt x="2108" y="78"/>
                      </a:lnTo>
                      <a:lnTo>
                        <a:pt x="2108" y="78"/>
                      </a:lnTo>
                      <a:lnTo>
                        <a:pt x="2109" y="77"/>
                      </a:lnTo>
                      <a:lnTo>
                        <a:pt x="2109" y="76"/>
                      </a:lnTo>
                      <a:lnTo>
                        <a:pt x="2109" y="74"/>
                      </a:lnTo>
                      <a:lnTo>
                        <a:pt x="2109" y="72"/>
                      </a:lnTo>
                      <a:lnTo>
                        <a:pt x="2109" y="71"/>
                      </a:lnTo>
                      <a:lnTo>
                        <a:pt x="2110" y="70"/>
                      </a:lnTo>
                      <a:lnTo>
                        <a:pt x="2111" y="69"/>
                      </a:lnTo>
                      <a:lnTo>
                        <a:pt x="2111" y="70"/>
                      </a:lnTo>
                      <a:lnTo>
                        <a:pt x="2111" y="72"/>
                      </a:lnTo>
                      <a:lnTo>
                        <a:pt x="2112" y="73"/>
                      </a:lnTo>
                      <a:lnTo>
                        <a:pt x="2113" y="74"/>
                      </a:lnTo>
                      <a:lnTo>
                        <a:pt x="2114" y="76"/>
                      </a:lnTo>
                      <a:lnTo>
                        <a:pt x="2114" y="74"/>
                      </a:lnTo>
                      <a:lnTo>
                        <a:pt x="2115" y="73"/>
                      </a:lnTo>
                      <a:lnTo>
                        <a:pt x="2115" y="72"/>
                      </a:lnTo>
                      <a:lnTo>
                        <a:pt x="2115" y="71"/>
                      </a:lnTo>
                      <a:lnTo>
                        <a:pt x="2115" y="71"/>
                      </a:lnTo>
                      <a:lnTo>
                        <a:pt x="2117" y="71"/>
                      </a:lnTo>
                      <a:lnTo>
                        <a:pt x="2118" y="71"/>
                      </a:lnTo>
                      <a:lnTo>
                        <a:pt x="2119" y="73"/>
                      </a:lnTo>
                      <a:lnTo>
                        <a:pt x="2120" y="74"/>
                      </a:lnTo>
                      <a:lnTo>
                        <a:pt x="2121" y="76"/>
                      </a:lnTo>
                      <a:lnTo>
                        <a:pt x="2121" y="77"/>
                      </a:lnTo>
                      <a:lnTo>
                        <a:pt x="2122" y="76"/>
                      </a:lnTo>
                      <a:lnTo>
                        <a:pt x="2122" y="74"/>
                      </a:lnTo>
                      <a:lnTo>
                        <a:pt x="2123" y="73"/>
                      </a:lnTo>
                      <a:lnTo>
                        <a:pt x="2123" y="72"/>
                      </a:lnTo>
                      <a:lnTo>
                        <a:pt x="2123" y="72"/>
                      </a:lnTo>
                      <a:lnTo>
                        <a:pt x="2124" y="71"/>
                      </a:lnTo>
                      <a:lnTo>
                        <a:pt x="2125" y="71"/>
                      </a:lnTo>
                      <a:lnTo>
                        <a:pt x="2125" y="70"/>
                      </a:lnTo>
                      <a:lnTo>
                        <a:pt x="2126" y="68"/>
                      </a:lnTo>
                      <a:lnTo>
                        <a:pt x="2126" y="65"/>
                      </a:lnTo>
                      <a:lnTo>
                        <a:pt x="2125" y="63"/>
                      </a:lnTo>
                      <a:lnTo>
                        <a:pt x="2125" y="62"/>
                      </a:lnTo>
                      <a:lnTo>
                        <a:pt x="2125" y="62"/>
                      </a:lnTo>
                      <a:lnTo>
                        <a:pt x="2125" y="62"/>
                      </a:lnTo>
                      <a:lnTo>
                        <a:pt x="2126" y="62"/>
                      </a:lnTo>
                      <a:lnTo>
                        <a:pt x="2128" y="65"/>
                      </a:lnTo>
                      <a:lnTo>
                        <a:pt x="2129" y="66"/>
                      </a:lnTo>
                      <a:lnTo>
                        <a:pt x="2130" y="66"/>
                      </a:lnTo>
                      <a:lnTo>
                        <a:pt x="2130" y="65"/>
                      </a:lnTo>
                      <a:lnTo>
                        <a:pt x="2131" y="62"/>
                      </a:lnTo>
                      <a:lnTo>
                        <a:pt x="2131" y="59"/>
                      </a:lnTo>
                      <a:lnTo>
                        <a:pt x="2131" y="56"/>
                      </a:lnTo>
                      <a:lnTo>
                        <a:pt x="2131" y="54"/>
                      </a:lnTo>
                      <a:lnTo>
                        <a:pt x="2132" y="52"/>
                      </a:lnTo>
                      <a:lnTo>
                        <a:pt x="2132" y="51"/>
                      </a:lnTo>
                      <a:lnTo>
                        <a:pt x="2133" y="51"/>
                      </a:lnTo>
                      <a:lnTo>
                        <a:pt x="2134" y="52"/>
                      </a:lnTo>
                      <a:lnTo>
                        <a:pt x="2135" y="54"/>
                      </a:lnTo>
                      <a:lnTo>
                        <a:pt x="2135" y="56"/>
                      </a:lnTo>
                      <a:lnTo>
                        <a:pt x="2135" y="57"/>
                      </a:lnTo>
                      <a:lnTo>
                        <a:pt x="2136" y="58"/>
                      </a:lnTo>
                      <a:lnTo>
                        <a:pt x="2136" y="59"/>
                      </a:lnTo>
                      <a:lnTo>
                        <a:pt x="2137" y="58"/>
                      </a:lnTo>
                      <a:lnTo>
                        <a:pt x="2137" y="58"/>
                      </a:lnTo>
                      <a:lnTo>
                        <a:pt x="2137" y="57"/>
                      </a:lnTo>
                      <a:lnTo>
                        <a:pt x="2137" y="56"/>
                      </a:lnTo>
                      <a:lnTo>
                        <a:pt x="2137" y="55"/>
                      </a:lnTo>
                      <a:lnTo>
                        <a:pt x="2139" y="54"/>
                      </a:lnTo>
                      <a:lnTo>
                        <a:pt x="2140" y="54"/>
                      </a:lnTo>
                      <a:lnTo>
                        <a:pt x="2140" y="55"/>
                      </a:lnTo>
                      <a:lnTo>
                        <a:pt x="2141" y="55"/>
                      </a:lnTo>
                      <a:lnTo>
                        <a:pt x="2142" y="56"/>
                      </a:lnTo>
                      <a:lnTo>
                        <a:pt x="2143" y="57"/>
                      </a:lnTo>
                      <a:lnTo>
                        <a:pt x="2143" y="57"/>
                      </a:lnTo>
                      <a:lnTo>
                        <a:pt x="2144" y="56"/>
                      </a:lnTo>
                      <a:lnTo>
                        <a:pt x="2144" y="55"/>
                      </a:lnTo>
                      <a:lnTo>
                        <a:pt x="2144" y="55"/>
                      </a:lnTo>
                      <a:lnTo>
                        <a:pt x="2145" y="55"/>
                      </a:lnTo>
                      <a:lnTo>
                        <a:pt x="2145" y="56"/>
                      </a:lnTo>
                      <a:lnTo>
                        <a:pt x="2145" y="56"/>
                      </a:lnTo>
                      <a:lnTo>
                        <a:pt x="2146" y="56"/>
                      </a:lnTo>
                      <a:lnTo>
                        <a:pt x="2151" y="56"/>
                      </a:lnTo>
                      <a:lnTo>
                        <a:pt x="2151" y="56"/>
                      </a:lnTo>
                      <a:lnTo>
                        <a:pt x="2151" y="55"/>
                      </a:lnTo>
                      <a:lnTo>
                        <a:pt x="2151" y="54"/>
                      </a:lnTo>
                      <a:lnTo>
                        <a:pt x="2151" y="52"/>
                      </a:lnTo>
                      <a:lnTo>
                        <a:pt x="2151" y="51"/>
                      </a:lnTo>
                      <a:lnTo>
                        <a:pt x="2152" y="52"/>
                      </a:lnTo>
                      <a:lnTo>
                        <a:pt x="2153" y="55"/>
                      </a:lnTo>
                      <a:lnTo>
                        <a:pt x="2154" y="57"/>
                      </a:lnTo>
                      <a:lnTo>
                        <a:pt x="2154" y="58"/>
                      </a:lnTo>
                      <a:lnTo>
                        <a:pt x="2156" y="60"/>
                      </a:lnTo>
                      <a:lnTo>
                        <a:pt x="2157" y="60"/>
                      </a:lnTo>
                      <a:lnTo>
                        <a:pt x="2158" y="61"/>
                      </a:lnTo>
                      <a:lnTo>
                        <a:pt x="2158" y="62"/>
                      </a:lnTo>
                      <a:lnTo>
                        <a:pt x="2161" y="63"/>
                      </a:lnTo>
                      <a:lnTo>
                        <a:pt x="2161" y="65"/>
                      </a:lnTo>
                      <a:lnTo>
                        <a:pt x="2161" y="66"/>
                      </a:lnTo>
                      <a:lnTo>
                        <a:pt x="2161" y="67"/>
                      </a:lnTo>
                      <a:lnTo>
                        <a:pt x="2163" y="68"/>
                      </a:lnTo>
                      <a:lnTo>
                        <a:pt x="2164" y="68"/>
                      </a:lnTo>
                      <a:lnTo>
                        <a:pt x="2165" y="68"/>
                      </a:lnTo>
                      <a:lnTo>
                        <a:pt x="2165" y="69"/>
                      </a:lnTo>
                      <a:lnTo>
                        <a:pt x="2165" y="69"/>
                      </a:lnTo>
                      <a:lnTo>
                        <a:pt x="2167" y="72"/>
                      </a:lnTo>
                      <a:lnTo>
                        <a:pt x="2167" y="74"/>
                      </a:lnTo>
                      <a:lnTo>
                        <a:pt x="2168" y="76"/>
                      </a:lnTo>
                      <a:lnTo>
                        <a:pt x="2169" y="76"/>
                      </a:lnTo>
                      <a:lnTo>
                        <a:pt x="2172" y="78"/>
                      </a:lnTo>
                      <a:lnTo>
                        <a:pt x="2174" y="80"/>
                      </a:lnTo>
                      <a:lnTo>
                        <a:pt x="2174" y="82"/>
                      </a:lnTo>
                      <a:lnTo>
                        <a:pt x="2176" y="84"/>
                      </a:lnTo>
                      <a:lnTo>
                        <a:pt x="2177" y="85"/>
                      </a:lnTo>
                      <a:lnTo>
                        <a:pt x="2177" y="88"/>
                      </a:lnTo>
                      <a:lnTo>
                        <a:pt x="2177" y="89"/>
                      </a:lnTo>
                      <a:lnTo>
                        <a:pt x="2176" y="89"/>
                      </a:lnTo>
                      <a:lnTo>
                        <a:pt x="2176" y="90"/>
                      </a:lnTo>
                      <a:lnTo>
                        <a:pt x="2176" y="90"/>
                      </a:lnTo>
                      <a:lnTo>
                        <a:pt x="2175" y="90"/>
                      </a:lnTo>
                      <a:lnTo>
                        <a:pt x="2174" y="90"/>
                      </a:lnTo>
                      <a:lnTo>
                        <a:pt x="2172" y="91"/>
                      </a:lnTo>
                      <a:lnTo>
                        <a:pt x="2173" y="93"/>
                      </a:lnTo>
                      <a:lnTo>
                        <a:pt x="2173" y="95"/>
                      </a:lnTo>
                      <a:lnTo>
                        <a:pt x="2174" y="99"/>
                      </a:lnTo>
                      <a:lnTo>
                        <a:pt x="2174" y="102"/>
                      </a:lnTo>
                      <a:lnTo>
                        <a:pt x="2175" y="105"/>
                      </a:lnTo>
                      <a:lnTo>
                        <a:pt x="2176" y="106"/>
                      </a:lnTo>
                      <a:lnTo>
                        <a:pt x="2177" y="109"/>
                      </a:lnTo>
                      <a:lnTo>
                        <a:pt x="2178" y="110"/>
                      </a:lnTo>
                      <a:lnTo>
                        <a:pt x="2179" y="111"/>
                      </a:lnTo>
                      <a:lnTo>
                        <a:pt x="2180" y="112"/>
                      </a:lnTo>
                      <a:lnTo>
                        <a:pt x="2180" y="113"/>
                      </a:lnTo>
                      <a:lnTo>
                        <a:pt x="2183" y="115"/>
                      </a:lnTo>
                      <a:lnTo>
                        <a:pt x="2185" y="116"/>
                      </a:lnTo>
                      <a:lnTo>
                        <a:pt x="2187" y="117"/>
                      </a:lnTo>
                      <a:lnTo>
                        <a:pt x="2189" y="120"/>
                      </a:lnTo>
                      <a:lnTo>
                        <a:pt x="2190" y="122"/>
                      </a:lnTo>
                      <a:lnTo>
                        <a:pt x="2193" y="123"/>
                      </a:lnTo>
                      <a:lnTo>
                        <a:pt x="2194" y="124"/>
                      </a:lnTo>
                      <a:lnTo>
                        <a:pt x="2194" y="124"/>
                      </a:lnTo>
                      <a:lnTo>
                        <a:pt x="2194" y="125"/>
                      </a:lnTo>
                      <a:lnTo>
                        <a:pt x="2194" y="124"/>
                      </a:lnTo>
                      <a:lnTo>
                        <a:pt x="2194" y="124"/>
                      </a:lnTo>
                      <a:lnTo>
                        <a:pt x="2194" y="123"/>
                      </a:lnTo>
                      <a:lnTo>
                        <a:pt x="2193" y="122"/>
                      </a:lnTo>
                      <a:lnTo>
                        <a:pt x="2194" y="121"/>
                      </a:lnTo>
                      <a:lnTo>
                        <a:pt x="2194" y="120"/>
                      </a:lnTo>
                      <a:lnTo>
                        <a:pt x="2196" y="121"/>
                      </a:lnTo>
                      <a:lnTo>
                        <a:pt x="2196" y="122"/>
                      </a:lnTo>
                      <a:lnTo>
                        <a:pt x="2197" y="123"/>
                      </a:lnTo>
                      <a:lnTo>
                        <a:pt x="2198" y="124"/>
                      </a:lnTo>
                      <a:lnTo>
                        <a:pt x="2199" y="125"/>
                      </a:lnTo>
                      <a:lnTo>
                        <a:pt x="2199" y="126"/>
                      </a:lnTo>
                      <a:lnTo>
                        <a:pt x="2200" y="126"/>
                      </a:lnTo>
                      <a:lnTo>
                        <a:pt x="2200" y="126"/>
                      </a:lnTo>
                      <a:lnTo>
                        <a:pt x="2202" y="127"/>
                      </a:lnTo>
                      <a:lnTo>
                        <a:pt x="2205" y="128"/>
                      </a:lnTo>
                      <a:lnTo>
                        <a:pt x="2207" y="131"/>
                      </a:lnTo>
                      <a:lnTo>
                        <a:pt x="2209" y="131"/>
                      </a:lnTo>
                      <a:lnTo>
                        <a:pt x="2210" y="130"/>
                      </a:lnTo>
                      <a:lnTo>
                        <a:pt x="2212" y="130"/>
                      </a:lnTo>
                      <a:lnTo>
                        <a:pt x="2213" y="131"/>
                      </a:lnTo>
                      <a:lnTo>
                        <a:pt x="2213" y="132"/>
                      </a:lnTo>
                      <a:lnTo>
                        <a:pt x="2215" y="133"/>
                      </a:lnTo>
                      <a:lnTo>
                        <a:pt x="2216" y="134"/>
                      </a:lnTo>
                      <a:lnTo>
                        <a:pt x="2216" y="136"/>
                      </a:lnTo>
                      <a:lnTo>
                        <a:pt x="2216" y="137"/>
                      </a:lnTo>
                      <a:lnTo>
                        <a:pt x="2219" y="143"/>
                      </a:lnTo>
                      <a:lnTo>
                        <a:pt x="2221" y="147"/>
                      </a:lnTo>
                      <a:lnTo>
                        <a:pt x="2224" y="152"/>
                      </a:lnTo>
                      <a:lnTo>
                        <a:pt x="2227" y="155"/>
                      </a:lnTo>
                      <a:lnTo>
                        <a:pt x="2228" y="158"/>
                      </a:lnTo>
                      <a:lnTo>
                        <a:pt x="2229" y="160"/>
                      </a:lnTo>
                      <a:lnTo>
                        <a:pt x="2230" y="163"/>
                      </a:lnTo>
                      <a:lnTo>
                        <a:pt x="2231" y="166"/>
                      </a:lnTo>
                      <a:lnTo>
                        <a:pt x="2233" y="169"/>
                      </a:lnTo>
                      <a:lnTo>
                        <a:pt x="2235" y="172"/>
                      </a:lnTo>
                      <a:lnTo>
                        <a:pt x="2238" y="175"/>
                      </a:lnTo>
                      <a:lnTo>
                        <a:pt x="2243" y="183"/>
                      </a:lnTo>
                      <a:lnTo>
                        <a:pt x="2249" y="196"/>
                      </a:lnTo>
                      <a:lnTo>
                        <a:pt x="2252" y="208"/>
                      </a:lnTo>
                      <a:lnTo>
                        <a:pt x="2251" y="221"/>
                      </a:lnTo>
                      <a:lnTo>
                        <a:pt x="2251" y="223"/>
                      </a:lnTo>
                      <a:lnTo>
                        <a:pt x="2250" y="225"/>
                      </a:lnTo>
                      <a:lnTo>
                        <a:pt x="2249" y="227"/>
                      </a:lnTo>
                      <a:lnTo>
                        <a:pt x="2249" y="230"/>
                      </a:lnTo>
                      <a:lnTo>
                        <a:pt x="2248" y="231"/>
                      </a:lnTo>
                      <a:lnTo>
                        <a:pt x="2245" y="230"/>
                      </a:lnTo>
                      <a:lnTo>
                        <a:pt x="2244" y="230"/>
                      </a:lnTo>
                      <a:lnTo>
                        <a:pt x="2242" y="230"/>
                      </a:lnTo>
                      <a:lnTo>
                        <a:pt x="2241" y="230"/>
                      </a:lnTo>
                      <a:lnTo>
                        <a:pt x="2240" y="231"/>
                      </a:lnTo>
                      <a:lnTo>
                        <a:pt x="2240" y="232"/>
                      </a:lnTo>
                      <a:lnTo>
                        <a:pt x="2239" y="232"/>
                      </a:lnTo>
                      <a:lnTo>
                        <a:pt x="2238" y="232"/>
                      </a:lnTo>
                      <a:lnTo>
                        <a:pt x="2235" y="231"/>
                      </a:lnTo>
                      <a:lnTo>
                        <a:pt x="2233" y="230"/>
                      </a:lnTo>
                      <a:lnTo>
                        <a:pt x="2231" y="227"/>
                      </a:lnTo>
                      <a:lnTo>
                        <a:pt x="2228" y="225"/>
                      </a:lnTo>
                      <a:lnTo>
                        <a:pt x="2224" y="223"/>
                      </a:lnTo>
                      <a:lnTo>
                        <a:pt x="2222" y="221"/>
                      </a:lnTo>
                      <a:lnTo>
                        <a:pt x="2221" y="220"/>
                      </a:lnTo>
                      <a:lnTo>
                        <a:pt x="2219" y="218"/>
                      </a:lnTo>
                      <a:lnTo>
                        <a:pt x="2218" y="215"/>
                      </a:lnTo>
                      <a:lnTo>
                        <a:pt x="2216" y="212"/>
                      </a:lnTo>
                      <a:lnTo>
                        <a:pt x="2211" y="205"/>
                      </a:lnTo>
                      <a:lnTo>
                        <a:pt x="2207" y="201"/>
                      </a:lnTo>
                      <a:lnTo>
                        <a:pt x="2202" y="197"/>
                      </a:lnTo>
                      <a:lnTo>
                        <a:pt x="2201" y="196"/>
                      </a:lnTo>
                      <a:lnTo>
                        <a:pt x="2200" y="197"/>
                      </a:lnTo>
                      <a:lnTo>
                        <a:pt x="2200" y="197"/>
                      </a:lnTo>
                      <a:lnTo>
                        <a:pt x="2200" y="198"/>
                      </a:lnTo>
                      <a:lnTo>
                        <a:pt x="2200" y="200"/>
                      </a:lnTo>
                      <a:lnTo>
                        <a:pt x="2200" y="201"/>
                      </a:lnTo>
                      <a:lnTo>
                        <a:pt x="2202" y="203"/>
                      </a:lnTo>
                      <a:lnTo>
                        <a:pt x="2205" y="205"/>
                      </a:lnTo>
                      <a:lnTo>
                        <a:pt x="2205" y="208"/>
                      </a:lnTo>
                      <a:lnTo>
                        <a:pt x="2207" y="210"/>
                      </a:lnTo>
                      <a:lnTo>
                        <a:pt x="2207" y="212"/>
                      </a:lnTo>
                      <a:lnTo>
                        <a:pt x="2208" y="214"/>
                      </a:lnTo>
                      <a:lnTo>
                        <a:pt x="2209" y="216"/>
                      </a:lnTo>
                      <a:lnTo>
                        <a:pt x="2210" y="219"/>
                      </a:lnTo>
                      <a:lnTo>
                        <a:pt x="2211" y="220"/>
                      </a:lnTo>
                      <a:lnTo>
                        <a:pt x="2213" y="221"/>
                      </a:lnTo>
                      <a:lnTo>
                        <a:pt x="2216" y="225"/>
                      </a:lnTo>
                      <a:lnTo>
                        <a:pt x="2217" y="230"/>
                      </a:lnTo>
                      <a:lnTo>
                        <a:pt x="2218" y="234"/>
                      </a:lnTo>
                      <a:lnTo>
                        <a:pt x="2220" y="239"/>
                      </a:lnTo>
                      <a:lnTo>
                        <a:pt x="2220" y="243"/>
                      </a:lnTo>
                      <a:lnTo>
                        <a:pt x="2220" y="247"/>
                      </a:lnTo>
                      <a:lnTo>
                        <a:pt x="2223" y="263"/>
                      </a:lnTo>
                      <a:lnTo>
                        <a:pt x="2224" y="277"/>
                      </a:lnTo>
                      <a:lnTo>
                        <a:pt x="2226" y="279"/>
                      </a:lnTo>
                      <a:lnTo>
                        <a:pt x="2227" y="280"/>
                      </a:lnTo>
                      <a:lnTo>
                        <a:pt x="2228" y="281"/>
                      </a:lnTo>
                      <a:lnTo>
                        <a:pt x="2229" y="281"/>
                      </a:lnTo>
                      <a:lnTo>
                        <a:pt x="2229" y="281"/>
                      </a:lnTo>
                      <a:lnTo>
                        <a:pt x="2231" y="284"/>
                      </a:lnTo>
                      <a:lnTo>
                        <a:pt x="2233" y="286"/>
                      </a:lnTo>
                      <a:lnTo>
                        <a:pt x="2233" y="288"/>
                      </a:lnTo>
                      <a:lnTo>
                        <a:pt x="2235" y="291"/>
                      </a:lnTo>
                      <a:lnTo>
                        <a:pt x="2238" y="294"/>
                      </a:lnTo>
                      <a:lnTo>
                        <a:pt x="2239" y="296"/>
                      </a:lnTo>
                      <a:lnTo>
                        <a:pt x="2241" y="297"/>
                      </a:lnTo>
                      <a:lnTo>
                        <a:pt x="2242" y="298"/>
                      </a:lnTo>
                      <a:lnTo>
                        <a:pt x="2243" y="297"/>
                      </a:lnTo>
                      <a:lnTo>
                        <a:pt x="2244" y="295"/>
                      </a:lnTo>
                      <a:lnTo>
                        <a:pt x="2244" y="292"/>
                      </a:lnTo>
                      <a:lnTo>
                        <a:pt x="2244" y="288"/>
                      </a:lnTo>
                      <a:lnTo>
                        <a:pt x="2242" y="284"/>
                      </a:lnTo>
                      <a:lnTo>
                        <a:pt x="2242" y="283"/>
                      </a:lnTo>
                      <a:lnTo>
                        <a:pt x="2241" y="281"/>
                      </a:lnTo>
                      <a:lnTo>
                        <a:pt x="2240" y="281"/>
                      </a:lnTo>
                      <a:lnTo>
                        <a:pt x="2239" y="280"/>
                      </a:lnTo>
                      <a:lnTo>
                        <a:pt x="2238" y="279"/>
                      </a:lnTo>
                      <a:lnTo>
                        <a:pt x="2237" y="279"/>
                      </a:lnTo>
                      <a:lnTo>
                        <a:pt x="2237" y="278"/>
                      </a:lnTo>
                      <a:lnTo>
                        <a:pt x="2235" y="276"/>
                      </a:lnTo>
                      <a:lnTo>
                        <a:pt x="2234" y="274"/>
                      </a:lnTo>
                      <a:lnTo>
                        <a:pt x="2233" y="272"/>
                      </a:lnTo>
                      <a:lnTo>
                        <a:pt x="2233" y="269"/>
                      </a:lnTo>
                      <a:lnTo>
                        <a:pt x="2232" y="267"/>
                      </a:lnTo>
                      <a:lnTo>
                        <a:pt x="2231" y="265"/>
                      </a:lnTo>
                      <a:lnTo>
                        <a:pt x="2231" y="263"/>
                      </a:lnTo>
                      <a:lnTo>
                        <a:pt x="2232" y="259"/>
                      </a:lnTo>
                      <a:lnTo>
                        <a:pt x="2233" y="258"/>
                      </a:lnTo>
                      <a:lnTo>
                        <a:pt x="2234" y="257"/>
                      </a:lnTo>
                      <a:lnTo>
                        <a:pt x="2237" y="258"/>
                      </a:lnTo>
                      <a:lnTo>
                        <a:pt x="2239" y="259"/>
                      </a:lnTo>
                      <a:lnTo>
                        <a:pt x="2240" y="263"/>
                      </a:lnTo>
                      <a:lnTo>
                        <a:pt x="2241" y="267"/>
                      </a:lnTo>
                      <a:lnTo>
                        <a:pt x="2242" y="270"/>
                      </a:lnTo>
                      <a:lnTo>
                        <a:pt x="2243" y="272"/>
                      </a:lnTo>
                      <a:lnTo>
                        <a:pt x="2245" y="274"/>
                      </a:lnTo>
                      <a:lnTo>
                        <a:pt x="2246" y="275"/>
                      </a:lnTo>
                      <a:lnTo>
                        <a:pt x="2249" y="275"/>
                      </a:lnTo>
                      <a:lnTo>
                        <a:pt x="2250" y="276"/>
                      </a:lnTo>
                      <a:lnTo>
                        <a:pt x="2251" y="276"/>
                      </a:lnTo>
                      <a:lnTo>
                        <a:pt x="2253" y="277"/>
                      </a:lnTo>
                      <a:lnTo>
                        <a:pt x="2254" y="278"/>
                      </a:lnTo>
                      <a:lnTo>
                        <a:pt x="2255" y="279"/>
                      </a:lnTo>
                      <a:lnTo>
                        <a:pt x="2256" y="280"/>
                      </a:lnTo>
                      <a:lnTo>
                        <a:pt x="2257" y="281"/>
                      </a:lnTo>
                      <a:lnTo>
                        <a:pt x="2257" y="280"/>
                      </a:lnTo>
                      <a:lnTo>
                        <a:pt x="2257" y="279"/>
                      </a:lnTo>
                      <a:lnTo>
                        <a:pt x="2255" y="274"/>
                      </a:lnTo>
                      <a:lnTo>
                        <a:pt x="2254" y="269"/>
                      </a:lnTo>
                      <a:lnTo>
                        <a:pt x="2253" y="265"/>
                      </a:lnTo>
                      <a:lnTo>
                        <a:pt x="2252" y="261"/>
                      </a:lnTo>
                      <a:lnTo>
                        <a:pt x="2250" y="256"/>
                      </a:lnTo>
                      <a:lnTo>
                        <a:pt x="2249" y="253"/>
                      </a:lnTo>
                      <a:lnTo>
                        <a:pt x="2249" y="250"/>
                      </a:lnTo>
                      <a:lnTo>
                        <a:pt x="2249" y="247"/>
                      </a:lnTo>
                      <a:lnTo>
                        <a:pt x="2249" y="245"/>
                      </a:lnTo>
                      <a:lnTo>
                        <a:pt x="2250" y="245"/>
                      </a:lnTo>
                      <a:lnTo>
                        <a:pt x="2252" y="244"/>
                      </a:lnTo>
                      <a:lnTo>
                        <a:pt x="2253" y="243"/>
                      </a:lnTo>
                      <a:lnTo>
                        <a:pt x="2253" y="241"/>
                      </a:lnTo>
                      <a:lnTo>
                        <a:pt x="2254" y="239"/>
                      </a:lnTo>
                      <a:lnTo>
                        <a:pt x="2255" y="235"/>
                      </a:lnTo>
                      <a:lnTo>
                        <a:pt x="2255" y="234"/>
                      </a:lnTo>
                      <a:lnTo>
                        <a:pt x="2256" y="232"/>
                      </a:lnTo>
                      <a:lnTo>
                        <a:pt x="2257" y="229"/>
                      </a:lnTo>
                      <a:lnTo>
                        <a:pt x="2257" y="225"/>
                      </a:lnTo>
                      <a:lnTo>
                        <a:pt x="2257" y="224"/>
                      </a:lnTo>
                      <a:lnTo>
                        <a:pt x="2257" y="223"/>
                      </a:lnTo>
                      <a:lnTo>
                        <a:pt x="2257" y="222"/>
                      </a:lnTo>
                      <a:lnTo>
                        <a:pt x="2259" y="222"/>
                      </a:lnTo>
                      <a:lnTo>
                        <a:pt x="2260" y="223"/>
                      </a:lnTo>
                      <a:lnTo>
                        <a:pt x="2260" y="225"/>
                      </a:lnTo>
                      <a:lnTo>
                        <a:pt x="2261" y="227"/>
                      </a:lnTo>
                      <a:lnTo>
                        <a:pt x="2263" y="230"/>
                      </a:lnTo>
                      <a:lnTo>
                        <a:pt x="2264" y="232"/>
                      </a:lnTo>
                      <a:lnTo>
                        <a:pt x="2264" y="233"/>
                      </a:lnTo>
                      <a:lnTo>
                        <a:pt x="2265" y="234"/>
                      </a:lnTo>
                      <a:lnTo>
                        <a:pt x="2267" y="234"/>
                      </a:lnTo>
                      <a:lnTo>
                        <a:pt x="2268" y="236"/>
                      </a:lnTo>
                      <a:lnTo>
                        <a:pt x="2268" y="237"/>
                      </a:lnTo>
                      <a:lnTo>
                        <a:pt x="2270" y="237"/>
                      </a:lnTo>
                      <a:lnTo>
                        <a:pt x="2271" y="237"/>
                      </a:lnTo>
                      <a:lnTo>
                        <a:pt x="2271" y="236"/>
                      </a:lnTo>
                      <a:lnTo>
                        <a:pt x="2271" y="225"/>
                      </a:lnTo>
                      <a:lnTo>
                        <a:pt x="2271" y="221"/>
                      </a:lnTo>
                      <a:lnTo>
                        <a:pt x="2270" y="218"/>
                      </a:lnTo>
                      <a:lnTo>
                        <a:pt x="2267" y="213"/>
                      </a:lnTo>
                      <a:lnTo>
                        <a:pt x="2266" y="210"/>
                      </a:lnTo>
                      <a:lnTo>
                        <a:pt x="2266" y="208"/>
                      </a:lnTo>
                      <a:lnTo>
                        <a:pt x="2265" y="203"/>
                      </a:lnTo>
                      <a:lnTo>
                        <a:pt x="2264" y="199"/>
                      </a:lnTo>
                      <a:lnTo>
                        <a:pt x="2264" y="194"/>
                      </a:lnTo>
                      <a:lnTo>
                        <a:pt x="2264" y="188"/>
                      </a:lnTo>
                      <a:lnTo>
                        <a:pt x="2263" y="183"/>
                      </a:lnTo>
                      <a:lnTo>
                        <a:pt x="2262" y="179"/>
                      </a:lnTo>
                      <a:lnTo>
                        <a:pt x="2262" y="176"/>
                      </a:lnTo>
                      <a:lnTo>
                        <a:pt x="2262" y="174"/>
                      </a:lnTo>
                      <a:lnTo>
                        <a:pt x="2261" y="171"/>
                      </a:lnTo>
                      <a:lnTo>
                        <a:pt x="2260" y="168"/>
                      </a:lnTo>
                      <a:lnTo>
                        <a:pt x="2257" y="164"/>
                      </a:lnTo>
                      <a:lnTo>
                        <a:pt x="2260" y="166"/>
                      </a:lnTo>
                      <a:lnTo>
                        <a:pt x="2262" y="168"/>
                      </a:lnTo>
                      <a:lnTo>
                        <a:pt x="2264" y="169"/>
                      </a:lnTo>
                      <a:lnTo>
                        <a:pt x="2266" y="170"/>
                      </a:lnTo>
                      <a:lnTo>
                        <a:pt x="2267" y="171"/>
                      </a:lnTo>
                      <a:lnTo>
                        <a:pt x="2270" y="172"/>
                      </a:lnTo>
                      <a:lnTo>
                        <a:pt x="2271" y="174"/>
                      </a:lnTo>
                      <a:lnTo>
                        <a:pt x="2271" y="175"/>
                      </a:lnTo>
                      <a:lnTo>
                        <a:pt x="2273" y="179"/>
                      </a:lnTo>
                      <a:lnTo>
                        <a:pt x="2274" y="183"/>
                      </a:lnTo>
                      <a:lnTo>
                        <a:pt x="2275" y="188"/>
                      </a:lnTo>
                      <a:lnTo>
                        <a:pt x="2275" y="191"/>
                      </a:lnTo>
                      <a:lnTo>
                        <a:pt x="2275" y="192"/>
                      </a:lnTo>
                      <a:lnTo>
                        <a:pt x="2275" y="194"/>
                      </a:lnTo>
                      <a:lnTo>
                        <a:pt x="2274" y="194"/>
                      </a:lnTo>
                      <a:lnTo>
                        <a:pt x="2273" y="194"/>
                      </a:lnTo>
                      <a:lnTo>
                        <a:pt x="2273" y="196"/>
                      </a:lnTo>
                      <a:lnTo>
                        <a:pt x="2272" y="196"/>
                      </a:lnTo>
                      <a:lnTo>
                        <a:pt x="2271" y="197"/>
                      </a:lnTo>
                      <a:lnTo>
                        <a:pt x="2271" y="199"/>
                      </a:lnTo>
                      <a:lnTo>
                        <a:pt x="2272" y="205"/>
                      </a:lnTo>
                      <a:lnTo>
                        <a:pt x="2275" y="213"/>
                      </a:lnTo>
                      <a:lnTo>
                        <a:pt x="2277" y="219"/>
                      </a:lnTo>
                      <a:lnTo>
                        <a:pt x="2278" y="221"/>
                      </a:lnTo>
                      <a:lnTo>
                        <a:pt x="2279" y="223"/>
                      </a:lnTo>
                      <a:lnTo>
                        <a:pt x="2281" y="223"/>
                      </a:lnTo>
                      <a:lnTo>
                        <a:pt x="2283" y="223"/>
                      </a:lnTo>
                      <a:lnTo>
                        <a:pt x="2284" y="222"/>
                      </a:lnTo>
                      <a:lnTo>
                        <a:pt x="2285" y="220"/>
                      </a:lnTo>
                      <a:lnTo>
                        <a:pt x="2286" y="219"/>
                      </a:lnTo>
                      <a:lnTo>
                        <a:pt x="2287" y="215"/>
                      </a:lnTo>
                      <a:lnTo>
                        <a:pt x="2286" y="212"/>
                      </a:lnTo>
                      <a:lnTo>
                        <a:pt x="2286" y="209"/>
                      </a:lnTo>
                      <a:lnTo>
                        <a:pt x="2285" y="204"/>
                      </a:lnTo>
                      <a:lnTo>
                        <a:pt x="2286" y="201"/>
                      </a:lnTo>
                      <a:lnTo>
                        <a:pt x="2286" y="199"/>
                      </a:lnTo>
                      <a:lnTo>
                        <a:pt x="2287" y="197"/>
                      </a:lnTo>
                      <a:lnTo>
                        <a:pt x="2289" y="194"/>
                      </a:lnTo>
                      <a:lnTo>
                        <a:pt x="2292" y="193"/>
                      </a:lnTo>
                      <a:lnTo>
                        <a:pt x="2293" y="192"/>
                      </a:lnTo>
                      <a:lnTo>
                        <a:pt x="2294" y="189"/>
                      </a:lnTo>
                      <a:lnTo>
                        <a:pt x="2296" y="186"/>
                      </a:lnTo>
                      <a:lnTo>
                        <a:pt x="2298" y="185"/>
                      </a:lnTo>
                      <a:lnTo>
                        <a:pt x="2299" y="182"/>
                      </a:lnTo>
                      <a:lnTo>
                        <a:pt x="2302" y="181"/>
                      </a:lnTo>
                      <a:lnTo>
                        <a:pt x="2303" y="180"/>
                      </a:lnTo>
                      <a:lnTo>
                        <a:pt x="2305" y="179"/>
                      </a:lnTo>
                      <a:lnTo>
                        <a:pt x="2305" y="177"/>
                      </a:lnTo>
                      <a:lnTo>
                        <a:pt x="2306" y="175"/>
                      </a:lnTo>
                      <a:lnTo>
                        <a:pt x="2307" y="172"/>
                      </a:lnTo>
                      <a:lnTo>
                        <a:pt x="2308" y="170"/>
                      </a:lnTo>
                      <a:lnTo>
                        <a:pt x="2310" y="168"/>
                      </a:lnTo>
                      <a:lnTo>
                        <a:pt x="2311" y="169"/>
                      </a:lnTo>
                      <a:lnTo>
                        <a:pt x="2311" y="170"/>
                      </a:lnTo>
                      <a:lnTo>
                        <a:pt x="2313" y="172"/>
                      </a:lnTo>
                      <a:lnTo>
                        <a:pt x="2313" y="175"/>
                      </a:lnTo>
                      <a:lnTo>
                        <a:pt x="2313" y="177"/>
                      </a:lnTo>
                      <a:lnTo>
                        <a:pt x="2313" y="179"/>
                      </a:lnTo>
                      <a:lnTo>
                        <a:pt x="2313" y="181"/>
                      </a:lnTo>
                      <a:lnTo>
                        <a:pt x="2313" y="183"/>
                      </a:lnTo>
                      <a:lnTo>
                        <a:pt x="2314" y="186"/>
                      </a:lnTo>
                      <a:lnTo>
                        <a:pt x="2315" y="188"/>
                      </a:lnTo>
                      <a:lnTo>
                        <a:pt x="2315" y="189"/>
                      </a:lnTo>
                      <a:lnTo>
                        <a:pt x="2316" y="190"/>
                      </a:lnTo>
                      <a:lnTo>
                        <a:pt x="2317" y="191"/>
                      </a:lnTo>
                      <a:lnTo>
                        <a:pt x="2319" y="190"/>
                      </a:lnTo>
                      <a:lnTo>
                        <a:pt x="2319" y="183"/>
                      </a:lnTo>
                      <a:lnTo>
                        <a:pt x="2320" y="182"/>
                      </a:lnTo>
                      <a:lnTo>
                        <a:pt x="2321" y="182"/>
                      </a:lnTo>
                      <a:lnTo>
                        <a:pt x="2321" y="180"/>
                      </a:lnTo>
                      <a:lnTo>
                        <a:pt x="2321" y="179"/>
                      </a:lnTo>
                      <a:lnTo>
                        <a:pt x="2322" y="178"/>
                      </a:lnTo>
                      <a:lnTo>
                        <a:pt x="2324" y="179"/>
                      </a:lnTo>
                      <a:lnTo>
                        <a:pt x="2325" y="180"/>
                      </a:lnTo>
                      <a:lnTo>
                        <a:pt x="2327" y="181"/>
                      </a:lnTo>
                      <a:lnTo>
                        <a:pt x="2328" y="183"/>
                      </a:lnTo>
                      <a:lnTo>
                        <a:pt x="2328" y="183"/>
                      </a:lnTo>
                      <a:lnTo>
                        <a:pt x="2329" y="183"/>
                      </a:lnTo>
                      <a:lnTo>
                        <a:pt x="2329" y="182"/>
                      </a:lnTo>
                      <a:lnTo>
                        <a:pt x="2330" y="181"/>
                      </a:lnTo>
                      <a:lnTo>
                        <a:pt x="2331" y="180"/>
                      </a:lnTo>
                      <a:lnTo>
                        <a:pt x="2331" y="179"/>
                      </a:lnTo>
                      <a:lnTo>
                        <a:pt x="2332" y="177"/>
                      </a:lnTo>
                      <a:lnTo>
                        <a:pt x="2333" y="175"/>
                      </a:lnTo>
                      <a:lnTo>
                        <a:pt x="2335" y="172"/>
                      </a:lnTo>
                      <a:lnTo>
                        <a:pt x="2335" y="171"/>
                      </a:lnTo>
                      <a:lnTo>
                        <a:pt x="2336" y="171"/>
                      </a:lnTo>
                      <a:lnTo>
                        <a:pt x="2337" y="172"/>
                      </a:lnTo>
                      <a:lnTo>
                        <a:pt x="2338" y="176"/>
                      </a:lnTo>
                      <a:lnTo>
                        <a:pt x="2338" y="179"/>
                      </a:lnTo>
                      <a:lnTo>
                        <a:pt x="2338" y="182"/>
                      </a:lnTo>
                      <a:lnTo>
                        <a:pt x="2338" y="186"/>
                      </a:lnTo>
                      <a:lnTo>
                        <a:pt x="2339" y="190"/>
                      </a:lnTo>
                      <a:lnTo>
                        <a:pt x="2340" y="192"/>
                      </a:lnTo>
                      <a:lnTo>
                        <a:pt x="2341" y="193"/>
                      </a:lnTo>
                      <a:lnTo>
                        <a:pt x="2342" y="193"/>
                      </a:lnTo>
                      <a:lnTo>
                        <a:pt x="2342" y="192"/>
                      </a:lnTo>
                      <a:lnTo>
                        <a:pt x="2343" y="190"/>
                      </a:lnTo>
                      <a:lnTo>
                        <a:pt x="2343" y="188"/>
                      </a:lnTo>
                      <a:lnTo>
                        <a:pt x="2343" y="186"/>
                      </a:lnTo>
                      <a:lnTo>
                        <a:pt x="2343" y="183"/>
                      </a:lnTo>
                      <a:lnTo>
                        <a:pt x="2343" y="182"/>
                      </a:lnTo>
                      <a:lnTo>
                        <a:pt x="2344" y="181"/>
                      </a:lnTo>
                      <a:lnTo>
                        <a:pt x="2344" y="181"/>
                      </a:lnTo>
                      <a:lnTo>
                        <a:pt x="2346" y="180"/>
                      </a:lnTo>
                      <a:lnTo>
                        <a:pt x="2346" y="179"/>
                      </a:lnTo>
                      <a:lnTo>
                        <a:pt x="2346" y="177"/>
                      </a:lnTo>
                      <a:lnTo>
                        <a:pt x="2346" y="175"/>
                      </a:lnTo>
                      <a:lnTo>
                        <a:pt x="2344" y="171"/>
                      </a:lnTo>
                      <a:lnTo>
                        <a:pt x="2343" y="168"/>
                      </a:lnTo>
                      <a:lnTo>
                        <a:pt x="2342" y="166"/>
                      </a:lnTo>
                      <a:lnTo>
                        <a:pt x="2341" y="163"/>
                      </a:lnTo>
                      <a:lnTo>
                        <a:pt x="2341" y="159"/>
                      </a:lnTo>
                      <a:lnTo>
                        <a:pt x="2340" y="157"/>
                      </a:lnTo>
                      <a:lnTo>
                        <a:pt x="2340" y="156"/>
                      </a:lnTo>
                      <a:lnTo>
                        <a:pt x="2339" y="155"/>
                      </a:lnTo>
                      <a:lnTo>
                        <a:pt x="2338" y="154"/>
                      </a:lnTo>
                      <a:lnTo>
                        <a:pt x="2337" y="153"/>
                      </a:lnTo>
                      <a:lnTo>
                        <a:pt x="2337" y="153"/>
                      </a:lnTo>
                      <a:lnTo>
                        <a:pt x="2336" y="150"/>
                      </a:lnTo>
                      <a:lnTo>
                        <a:pt x="2335" y="149"/>
                      </a:lnTo>
                      <a:lnTo>
                        <a:pt x="2333" y="147"/>
                      </a:lnTo>
                      <a:lnTo>
                        <a:pt x="2332" y="146"/>
                      </a:lnTo>
                      <a:lnTo>
                        <a:pt x="2332" y="144"/>
                      </a:lnTo>
                      <a:lnTo>
                        <a:pt x="2331" y="142"/>
                      </a:lnTo>
                      <a:lnTo>
                        <a:pt x="2330" y="138"/>
                      </a:lnTo>
                      <a:lnTo>
                        <a:pt x="2330" y="136"/>
                      </a:lnTo>
                      <a:lnTo>
                        <a:pt x="2330" y="133"/>
                      </a:lnTo>
                      <a:lnTo>
                        <a:pt x="2329" y="132"/>
                      </a:lnTo>
                      <a:lnTo>
                        <a:pt x="2330" y="132"/>
                      </a:lnTo>
                      <a:lnTo>
                        <a:pt x="2330" y="132"/>
                      </a:lnTo>
                      <a:lnTo>
                        <a:pt x="2331" y="133"/>
                      </a:lnTo>
                      <a:lnTo>
                        <a:pt x="2332" y="135"/>
                      </a:lnTo>
                      <a:lnTo>
                        <a:pt x="2333" y="137"/>
                      </a:lnTo>
                      <a:lnTo>
                        <a:pt x="2335" y="138"/>
                      </a:lnTo>
                      <a:lnTo>
                        <a:pt x="2336" y="141"/>
                      </a:lnTo>
                      <a:lnTo>
                        <a:pt x="2337" y="142"/>
                      </a:lnTo>
                      <a:lnTo>
                        <a:pt x="2337" y="142"/>
                      </a:lnTo>
                      <a:lnTo>
                        <a:pt x="2337" y="144"/>
                      </a:lnTo>
                      <a:lnTo>
                        <a:pt x="2338" y="146"/>
                      </a:lnTo>
                      <a:lnTo>
                        <a:pt x="2339" y="148"/>
                      </a:lnTo>
                      <a:lnTo>
                        <a:pt x="2341" y="150"/>
                      </a:lnTo>
                      <a:lnTo>
                        <a:pt x="2341" y="152"/>
                      </a:lnTo>
                      <a:lnTo>
                        <a:pt x="2341" y="154"/>
                      </a:lnTo>
                      <a:lnTo>
                        <a:pt x="2342" y="155"/>
                      </a:lnTo>
                      <a:lnTo>
                        <a:pt x="2343" y="155"/>
                      </a:lnTo>
                      <a:lnTo>
                        <a:pt x="2346" y="155"/>
                      </a:lnTo>
                      <a:lnTo>
                        <a:pt x="2348" y="156"/>
                      </a:lnTo>
                      <a:lnTo>
                        <a:pt x="2351" y="157"/>
                      </a:lnTo>
                      <a:lnTo>
                        <a:pt x="2354" y="159"/>
                      </a:lnTo>
                      <a:lnTo>
                        <a:pt x="2359" y="164"/>
                      </a:lnTo>
                      <a:lnTo>
                        <a:pt x="2363" y="169"/>
                      </a:lnTo>
                      <a:lnTo>
                        <a:pt x="2368" y="175"/>
                      </a:lnTo>
                      <a:lnTo>
                        <a:pt x="2374" y="187"/>
                      </a:lnTo>
                      <a:lnTo>
                        <a:pt x="2381" y="197"/>
                      </a:lnTo>
                      <a:lnTo>
                        <a:pt x="2381" y="198"/>
                      </a:lnTo>
                      <a:lnTo>
                        <a:pt x="2382" y="200"/>
                      </a:lnTo>
                      <a:lnTo>
                        <a:pt x="2383" y="201"/>
                      </a:lnTo>
                      <a:lnTo>
                        <a:pt x="2384" y="202"/>
                      </a:lnTo>
                      <a:lnTo>
                        <a:pt x="2385" y="203"/>
                      </a:lnTo>
                      <a:lnTo>
                        <a:pt x="2386" y="203"/>
                      </a:lnTo>
                      <a:lnTo>
                        <a:pt x="2387" y="201"/>
                      </a:lnTo>
                      <a:lnTo>
                        <a:pt x="2387" y="197"/>
                      </a:lnTo>
                      <a:lnTo>
                        <a:pt x="2386" y="194"/>
                      </a:lnTo>
                      <a:lnTo>
                        <a:pt x="2386" y="191"/>
                      </a:lnTo>
                      <a:lnTo>
                        <a:pt x="2385" y="189"/>
                      </a:lnTo>
                      <a:lnTo>
                        <a:pt x="2383" y="188"/>
                      </a:lnTo>
                      <a:lnTo>
                        <a:pt x="2381" y="183"/>
                      </a:lnTo>
                      <a:lnTo>
                        <a:pt x="2380" y="179"/>
                      </a:lnTo>
                      <a:lnTo>
                        <a:pt x="2379" y="175"/>
                      </a:lnTo>
                      <a:lnTo>
                        <a:pt x="2377" y="171"/>
                      </a:lnTo>
                      <a:lnTo>
                        <a:pt x="2377" y="169"/>
                      </a:lnTo>
                      <a:lnTo>
                        <a:pt x="2376" y="168"/>
                      </a:lnTo>
                      <a:lnTo>
                        <a:pt x="2375" y="167"/>
                      </a:lnTo>
                      <a:lnTo>
                        <a:pt x="2374" y="167"/>
                      </a:lnTo>
                      <a:lnTo>
                        <a:pt x="2373" y="167"/>
                      </a:lnTo>
                      <a:lnTo>
                        <a:pt x="2372" y="166"/>
                      </a:lnTo>
                      <a:lnTo>
                        <a:pt x="2371" y="163"/>
                      </a:lnTo>
                      <a:lnTo>
                        <a:pt x="2370" y="160"/>
                      </a:lnTo>
                      <a:lnTo>
                        <a:pt x="2370" y="157"/>
                      </a:lnTo>
                      <a:lnTo>
                        <a:pt x="2370" y="156"/>
                      </a:lnTo>
                      <a:lnTo>
                        <a:pt x="2370" y="155"/>
                      </a:lnTo>
                      <a:lnTo>
                        <a:pt x="2371" y="154"/>
                      </a:lnTo>
                      <a:lnTo>
                        <a:pt x="2372" y="152"/>
                      </a:lnTo>
                      <a:lnTo>
                        <a:pt x="2372" y="150"/>
                      </a:lnTo>
                      <a:lnTo>
                        <a:pt x="2372" y="148"/>
                      </a:lnTo>
                      <a:lnTo>
                        <a:pt x="2372" y="146"/>
                      </a:lnTo>
                      <a:lnTo>
                        <a:pt x="2372" y="135"/>
                      </a:lnTo>
                      <a:lnTo>
                        <a:pt x="2371" y="133"/>
                      </a:lnTo>
                      <a:lnTo>
                        <a:pt x="2370" y="131"/>
                      </a:lnTo>
                      <a:lnTo>
                        <a:pt x="2369" y="128"/>
                      </a:lnTo>
                      <a:lnTo>
                        <a:pt x="2368" y="127"/>
                      </a:lnTo>
                      <a:lnTo>
                        <a:pt x="2366" y="127"/>
                      </a:lnTo>
                      <a:lnTo>
                        <a:pt x="2365" y="128"/>
                      </a:lnTo>
                      <a:lnTo>
                        <a:pt x="2365" y="117"/>
                      </a:lnTo>
                      <a:lnTo>
                        <a:pt x="2364" y="116"/>
                      </a:lnTo>
                      <a:lnTo>
                        <a:pt x="2364" y="114"/>
                      </a:lnTo>
                      <a:lnTo>
                        <a:pt x="2364" y="113"/>
                      </a:lnTo>
                      <a:lnTo>
                        <a:pt x="2364" y="112"/>
                      </a:lnTo>
                      <a:lnTo>
                        <a:pt x="2365" y="111"/>
                      </a:lnTo>
                      <a:lnTo>
                        <a:pt x="2366" y="111"/>
                      </a:lnTo>
                      <a:lnTo>
                        <a:pt x="2366" y="112"/>
                      </a:lnTo>
                      <a:lnTo>
                        <a:pt x="2368" y="112"/>
                      </a:lnTo>
                      <a:lnTo>
                        <a:pt x="2368" y="111"/>
                      </a:lnTo>
                      <a:lnTo>
                        <a:pt x="2369" y="109"/>
                      </a:lnTo>
                      <a:lnTo>
                        <a:pt x="2369" y="105"/>
                      </a:lnTo>
                      <a:lnTo>
                        <a:pt x="2370" y="104"/>
                      </a:lnTo>
                      <a:lnTo>
                        <a:pt x="2370" y="102"/>
                      </a:lnTo>
                      <a:lnTo>
                        <a:pt x="2370" y="93"/>
                      </a:lnTo>
                      <a:lnTo>
                        <a:pt x="2369" y="91"/>
                      </a:lnTo>
                      <a:lnTo>
                        <a:pt x="2369" y="89"/>
                      </a:lnTo>
                      <a:lnTo>
                        <a:pt x="2369" y="87"/>
                      </a:lnTo>
                      <a:lnTo>
                        <a:pt x="2369" y="84"/>
                      </a:lnTo>
                      <a:lnTo>
                        <a:pt x="2370" y="82"/>
                      </a:lnTo>
                      <a:lnTo>
                        <a:pt x="2370" y="69"/>
                      </a:lnTo>
                      <a:lnTo>
                        <a:pt x="2370" y="67"/>
                      </a:lnTo>
                      <a:lnTo>
                        <a:pt x="2370" y="65"/>
                      </a:lnTo>
                      <a:lnTo>
                        <a:pt x="2371" y="65"/>
                      </a:lnTo>
                      <a:lnTo>
                        <a:pt x="2371" y="65"/>
                      </a:lnTo>
                      <a:lnTo>
                        <a:pt x="2372" y="65"/>
                      </a:lnTo>
                      <a:lnTo>
                        <a:pt x="2373" y="66"/>
                      </a:lnTo>
                      <a:lnTo>
                        <a:pt x="2374" y="67"/>
                      </a:lnTo>
                      <a:lnTo>
                        <a:pt x="2375" y="68"/>
                      </a:lnTo>
                      <a:lnTo>
                        <a:pt x="2375" y="68"/>
                      </a:lnTo>
                      <a:lnTo>
                        <a:pt x="2376" y="68"/>
                      </a:lnTo>
                      <a:lnTo>
                        <a:pt x="2377" y="68"/>
                      </a:lnTo>
                      <a:lnTo>
                        <a:pt x="2379" y="67"/>
                      </a:lnTo>
                      <a:lnTo>
                        <a:pt x="2380" y="69"/>
                      </a:lnTo>
                      <a:lnTo>
                        <a:pt x="2381" y="70"/>
                      </a:lnTo>
                      <a:lnTo>
                        <a:pt x="2382" y="71"/>
                      </a:lnTo>
                      <a:lnTo>
                        <a:pt x="2383" y="71"/>
                      </a:lnTo>
                      <a:lnTo>
                        <a:pt x="2386" y="81"/>
                      </a:lnTo>
                      <a:lnTo>
                        <a:pt x="2390" y="91"/>
                      </a:lnTo>
                      <a:lnTo>
                        <a:pt x="2390" y="113"/>
                      </a:lnTo>
                      <a:lnTo>
                        <a:pt x="2388" y="116"/>
                      </a:lnTo>
                      <a:lnTo>
                        <a:pt x="2390" y="120"/>
                      </a:lnTo>
                      <a:lnTo>
                        <a:pt x="2391" y="122"/>
                      </a:lnTo>
                      <a:lnTo>
                        <a:pt x="2392" y="125"/>
                      </a:lnTo>
                      <a:lnTo>
                        <a:pt x="2393" y="127"/>
                      </a:lnTo>
                      <a:lnTo>
                        <a:pt x="2394" y="131"/>
                      </a:lnTo>
                      <a:lnTo>
                        <a:pt x="2395" y="133"/>
                      </a:lnTo>
                      <a:lnTo>
                        <a:pt x="2396" y="135"/>
                      </a:lnTo>
                      <a:lnTo>
                        <a:pt x="2397" y="137"/>
                      </a:lnTo>
                      <a:lnTo>
                        <a:pt x="2397" y="139"/>
                      </a:lnTo>
                      <a:lnTo>
                        <a:pt x="2397" y="142"/>
                      </a:lnTo>
                      <a:lnTo>
                        <a:pt x="2397" y="144"/>
                      </a:lnTo>
                      <a:lnTo>
                        <a:pt x="2397" y="146"/>
                      </a:lnTo>
                      <a:lnTo>
                        <a:pt x="2397" y="148"/>
                      </a:lnTo>
                      <a:lnTo>
                        <a:pt x="2397" y="150"/>
                      </a:lnTo>
                      <a:lnTo>
                        <a:pt x="2397" y="153"/>
                      </a:lnTo>
                      <a:lnTo>
                        <a:pt x="2399" y="166"/>
                      </a:lnTo>
                      <a:lnTo>
                        <a:pt x="2401" y="179"/>
                      </a:lnTo>
                      <a:lnTo>
                        <a:pt x="2402" y="189"/>
                      </a:lnTo>
                      <a:lnTo>
                        <a:pt x="2404" y="201"/>
                      </a:lnTo>
                      <a:lnTo>
                        <a:pt x="2405" y="203"/>
                      </a:lnTo>
                      <a:lnTo>
                        <a:pt x="2405" y="205"/>
                      </a:lnTo>
                      <a:lnTo>
                        <a:pt x="2406" y="209"/>
                      </a:lnTo>
                      <a:lnTo>
                        <a:pt x="2406" y="212"/>
                      </a:lnTo>
                      <a:lnTo>
                        <a:pt x="2408" y="215"/>
                      </a:lnTo>
                      <a:lnTo>
                        <a:pt x="2408" y="218"/>
                      </a:lnTo>
                      <a:lnTo>
                        <a:pt x="2408" y="221"/>
                      </a:lnTo>
                      <a:lnTo>
                        <a:pt x="2406" y="223"/>
                      </a:lnTo>
                      <a:lnTo>
                        <a:pt x="2407" y="226"/>
                      </a:lnTo>
                      <a:lnTo>
                        <a:pt x="2407" y="229"/>
                      </a:lnTo>
                      <a:lnTo>
                        <a:pt x="2408" y="232"/>
                      </a:lnTo>
                      <a:lnTo>
                        <a:pt x="2408" y="234"/>
                      </a:lnTo>
                      <a:lnTo>
                        <a:pt x="2408" y="236"/>
                      </a:lnTo>
                      <a:lnTo>
                        <a:pt x="2407" y="239"/>
                      </a:lnTo>
                      <a:lnTo>
                        <a:pt x="2406" y="241"/>
                      </a:lnTo>
                      <a:lnTo>
                        <a:pt x="2406" y="243"/>
                      </a:lnTo>
                      <a:lnTo>
                        <a:pt x="2405" y="246"/>
                      </a:lnTo>
                      <a:lnTo>
                        <a:pt x="2403" y="248"/>
                      </a:lnTo>
                      <a:lnTo>
                        <a:pt x="2402" y="251"/>
                      </a:lnTo>
                      <a:lnTo>
                        <a:pt x="2401" y="252"/>
                      </a:lnTo>
                      <a:lnTo>
                        <a:pt x="2399" y="252"/>
                      </a:lnTo>
                      <a:lnTo>
                        <a:pt x="2398" y="254"/>
                      </a:lnTo>
                      <a:lnTo>
                        <a:pt x="2398" y="256"/>
                      </a:lnTo>
                      <a:lnTo>
                        <a:pt x="2398" y="257"/>
                      </a:lnTo>
                      <a:lnTo>
                        <a:pt x="2399" y="259"/>
                      </a:lnTo>
                      <a:lnTo>
                        <a:pt x="2401" y="261"/>
                      </a:lnTo>
                      <a:lnTo>
                        <a:pt x="2401" y="261"/>
                      </a:lnTo>
                      <a:lnTo>
                        <a:pt x="2402" y="261"/>
                      </a:lnTo>
                      <a:lnTo>
                        <a:pt x="2403" y="262"/>
                      </a:lnTo>
                      <a:lnTo>
                        <a:pt x="2405" y="263"/>
                      </a:lnTo>
                      <a:lnTo>
                        <a:pt x="2406" y="264"/>
                      </a:lnTo>
                      <a:lnTo>
                        <a:pt x="2407" y="264"/>
                      </a:lnTo>
                      <a:lnTo>
                        <a:pt x="2408" y="264"/>
                      </a:lnTo>
                      <a:lnTo>
                        <a:pt x="2408" y="263"/>
                      </a:lnTo>
                      <a:lnTo>
                        <a:pt x="2408" y="261"/>
                      </a:lnTo>
                      <a:lnTo>
                        <a:pt x="2409" y="258"/>
                      </a:lnTo>
                      <a:lnTo>
                        <a:pt x="2410" y="256"/>
                      </a:lnTo>
                      <a:lnTo>
                        <a:pt x="2412" y="255"/>
                      </a:lnTo>
                      <a:lnTo>
                        <a:pt x="2413" y="254"/>
                      </a:lnTo>
                      <a:lnTo>
                        <a:pt x="2413" y="252"/>
                      </a:lnTo>
                      <a:lnTo>
                        <a:pt x="2414" y="245"/>
                      </a:lnTo>
                      <a:lnTo>
                        <a:pt x="2414" y="237"/>
                      </a:lnTo>
                      <a:lnTo>
                        <a:pt x="2415" y="232"/>
                      </a:lnTo>
                      <a:lnTo>
                        <a:pt x="2416" y="229"/>
                      </a:lnTo>
                      <a:lnTo>
                        <a:pt x="2416" y="225"/>
                      </a:lnTo>
                      <a:lnTo>
                        <a:pt x="2416" y="222"/>
                      </a:lnTo>
                      <a:lnTo>
                        <a:pt x="2415" y="218"/>
                      </a:lnTo>
                      <a:lnTo>
                        <a:pt x="2413" y="214"/>
                      </a:lnTo>
                      <a:lnTo>
                        <a:pt x="2413" y="211"/>
                      </a:lnTo>
                      <a:lnTo>
                        <a:pt x="2412" y="207"/>
                      </a:lnTo>
                      <a:lnTo>
                        <a:pt x="2412" y="203"/>
                      </a:lnTo>
                      <a:lnTo>
                        <a:pt x="2413" y="201"/>
                      </a:lnTo>
                      <a:lnTo>
                        <a:pt x="2414" y="198"/>
                      </a:lnTo>
                      <a:lnTo>
                        <a:pt x="2415" y="197"/>
                      </a:lnTo>
                      <a:lnTo>
                        <a:pt x="2416" y="197"/>
                      </a:lnTo>
                      <a:lnTo>
                        <a:pt x="2417" y="196"/>
                      </a:lnTo>
                      <a:lnTo>
                        <a:pt x="2418" y="196"/>
                      </a:lnTo>
                      <a:lnTo>
                        <a:pt x="2420" y="197"/>
                      </a:lnTo>
                      <a:lnTo>
                        <a:pt x="2422" y="199"/>
                      </a:lnTo>
                      <a:lnTo>
                        <a:pt x="2425" y="209"/>
                      </a:lnTo>
                      <a:lnTo>
                        <a:pt x="2426" y="221"/>
                      </a:lnTo>
                      <a:lnTo>
                        <a:pt x="2426" y="224"/>
                      </a:lnTo>
                      <a:lnTo>
                        <a:pt x="2427" y="229"/>
                      </a:lnTo>
                      <a:lnTo>
                        <a:pt x="2427" y="232"/>
                      </a:lnTo>
                      <a:lnTo>
                        <a:pt x="2428" y="236"/>
                      </a:lnTo>
                      <a:lnTo>
                        <a:pt x="2430" y="237"/>
                      </a:lnTo>
                      <a:lnTo>
                        <a:pt x="2433" y="239"/>
                      </a:lnTo>
                      <a:lnTo>
                        <a:pt x="2433" y="239"/>
                      </a:lnTo>
                      <a:lnTo>
                        <a:pt x="2434" y="237"/>
                      </a:lnTo>
                      <a:lnTo>
                        <a:pt x="2435" y="236"/>
                      </a:lnTo>
                      <a:lnTo>
                        <a:pt x="2435" y="235"/>
                      </a:lnTo>
                      <a:lnTo>
                        <a:pt x="2434" y="234"/>
                      </a:lnTo>
                      <a:lnTo>
                        <a:pt x="2433" y="234"/>
                      </a:lnTo>
                      <a:lnTo>
                        <a:pt x="2431" y="233"/>
                      </a:lnTo>
                      <a:lnTo>
                        <a:pt x="2431" y="232"/>
                      </a:lnTo>
                      <a:lnTo>
                        <a:pt x="2430" y="230"/>
                      </a:lnTo>
                      <a:lnTo>
                        <a:pt x="2429" y="226"/>
                      </a:lnTo>
                      <a:lnTo>
                        <a:pt x="2428" y="223"/>
                      </a:lnTo>
                      <a:lnTo>
                        <a:pt x="2428" y="221"/>
                      </a:lnTo>
                      <a:lnTo>
                        <a:pt x="2428" y="219"/>
                      </a:lnTo>
                      <a:lnTo>
                        <a:pt x="2429" y="219"/>
                      </a:lnTo>
                      <a:lnTo>
                        <a:pt x="2429" y="219"/>
                      </a:lnTo>
                      <a:lnTo>
                        <a:pt x="2430" y="219"/>
                      </a:lnTo>
                      <a:lnTo>
                        <a:pt x="2431" y="219"/>
                      </a:lnTo>
                      <a:lnTo>
                        <a:pt x="2433" y="219"/>
                      </a:lnTo>
                      <a:lnTo>
                        <a:pt x="2433" y="218"/>
                      </a:lnTo>
                      <a:lnTo>
                        <a:pt x="2433" y="216"/>
                      </a:lnTo>
                      <a:lnTo>
                        <a:pt x="2430" y="209"/>
                      </a:lnTo>
                      <a:lnTo>
                        <a:pt x="2428" y="202"/>
                      </a:lnTo>
                      <a:lnTo>
                        <a:pt x="2424" y="197"/>
                      </a:lnTo>
                      <a:lnTo>
                        <a:pt x="2423" y="194"/>
                      </a:lnTo>
                      <a:lnTo>
                        <a:pt x="2422" y="192"/>
                      </a:lnTo>
                      <a:lnTo>
                        <a:pt x="2420" y="190"/>
                      </a:lnTo>
                      <a:lnTo>
                        <a:pt x="2419" y="188"/>
                      </a:lnTo>
                      <a:lnTo>
                        <a:pt x="2417" y="187"/>
                      </a:lnTo>
                      <a:lnTo>
                        <a:pt x="2415" y="188"/>
                      </a:lnTo>
                      <a:lnTo>
                        <a:pt x="2415" y="188"/>
                      </a:lnTo>
                      <a:lnTo>
                        <a:pt x="2414" y="189"/>
                      </a:lnTo>
                      <a:lnTo>
                        <a:pt x="2413" y="190"/>
                      </a:lnTo>
                      <a:lnTo>
                        <a:pt x="2410" y="191"/>
                      </a:lnTo>
                      <a:lnTo>
                        <a:pt x="2409" y="191"/>
                      </a:lnTo>
                      <a:lnTo>
                        <a:pt x="2408" y="191"/>
                      </a:lnTo>
                      <a:lnTo>
                        <a:pt x="2406" y="190"/>
                      </a:lnTo>
                      <a:lnTo>
                        <a:pt x="2406" y="179"/>
                      </a:lnTo>
                      <a:lnTo>
                        <a:pt x="2405" y="175"/>
                      </a:lnTo>
                      <a:lnTo>
                        <a:pt x="2405" y="171"/>
                      </a:lnTo>
                      <a:lnTo>
                        <a:pt x="2404" y="168"/>
                      </a:lnTo>
                      <a:lnTo>
                        <a:pt x="2405" y="160"/>
                      </a:lnTo>
                      <a:lnTo>
                        <a:pt x="2405" y="154"/>
                      </a:lnTo>
                      <a:lnTo>
                        <a:pt x="2404" y="146"/>
                      </a:lnTo>
                      <a:lnTo>
                        <a:pt x="2399" y="133"/>
                      </a:lnTo>
                      <a:lnTo>
                        <a:pt x="2396" y="120"/>
                      </a:lnTo>
                      <a:lnTo>
                        <a:pt x="2395" y="113"/>
                      </a:lnTo>
                      <a:lnTo>
                        <a:pt x="2395" y="105"/>
                      </a:lnTo>
                      <a:lnTo>
                        <a:pt x="2396" y="100"/>
                      </a:lnTo>
                      <a:lnTo>
                        <a:pt x="2396" y="100"/>
                      </a:lnTo>
                      <a:lnTo>
                        <a:pt x="2397" y="101"/>
                      </a:lnTo>
                      <a:lnTo>
                        <a:pt x="2398" y="101"/>
                      </a:lnTo>
                      <a:lnTo>
                        <a:pt x="2399" y="101"/>
                      </a:lnTo>
                      <a:lnTo>
                        <a:pt x="2401" y="100"/>
                      </a:lnTo>
                      <a:lnTo>
                        <a:pt x="2402" y="98"/>
                      </a:lnTo>
                      <a:lnTo>
                        <a:pt x="2402" y="95"/>
                      </a:lnTo>
                      <a:lnTo>
                        <a:pt x="2402" y="93"/>
                      </a:lnTo>
                      <a:lnTo>
                        <a:pt x="2402" y="91"/>
                      </a:lnTo>
                      <a:lnTo>
                        <a:pt x="2402" y="88"/>
                      </a:lnTo>
                      <a:lnTo>
                        <a:pt x="2402" y="84"/>
                      </a:lnTo>
                      <a:lnTo>
                        <a:pt x="2401" y="82"/>
                      </a:lnTo>
                      <a:lnTo>
                        <a:pt x="2399" y="79"/>
                      </a:lnTo>
                      <a:lnTo>
                        <a:pt x="2397" y="76"/>
                      </a:lnTo>
                      <a:lnTo>
                        <a:pt x="2397" y="76"/>
                      </a:lnTo>
                      <a:lnTo>
                        <a:pt x="2396" y="74"/>
                      </a:lnTo>
                      <a:lnTo>
                        <a:pt x="2396" y="72"/>
                      </a:lnTo>
                      <a:lnTo>
                        <a:pt x="2396" y="71"/>
                      </a:lnTo>
                      <a:lnTo>
                        <a:pt x="2396" y="69"/>
                      </a:lnTo>
                      <a:lnTo>
                        <a:pt x="2396" y="69"/>
                      </a:lnTo>
                      <a:lnTo>
                        <a:pt x="2396" y="70"/>
                      </a:lnTo>
                      <a:lnTo>
                        <a:pt x="2397" y="71"/>
                      </a:lnTo>
                      <a:lnTo>
                        <a:pt x="2397" y="72"/>
                      </a:lnTo>
                      <a:lnTo>
                        <a:pt x="2397" y="73"/>
                      </a:lnTo>
                      <a:lnTo>
                        <a:pt x="2397" y="73"/>
                      </a:lnTo>
                      <a:lnTo>
                        <a:pt x="2399" y="77"/>
                      </a:lnTo>
                      <a:lnTo>
                        <a:pt x="2401" y="80"/>
                      </a:lnTo>
                      <a:lnTo>
                        <a:pt x="2402" y="82"/>
                      </a:lnTo>
                      <a:lnTo>
                        <a:pt x="2402" y="84"/>
                      </a:lnTo>
                      <a:lnTo>
                        <a:pt x="2403" y="89"/>
                      </a:lnTo>
                      <a:lnTo>
                        <a:pt x="2403" y="93"/>
                      </a:lnTo>
                      <a:lnTo>
                        <a:pt x="2404" y="98"/>
                      </a:lnTo>
                      <a:lnTo>
                        <a:pt x="2404" y="111"/>
                      </a:lnTo>
                      <a:lnTo>
                        <a:pt x="2405" y="115"/>
                      </a:lnTo>
                      <a:lnTo>
                        <a:pt x="2406" y="120"/>
                      </a:lnTo>
                      <a:lnTo>
                        <a:pt x="2406" y="124"/>
                      </a:lnTo>
                      <a:lnTo>
                        <a:pt x="2407" y="127"/>
                      </a:lnTo>
                      <a:lnTo>
                        <a:pt x="2409" y="130"/>
                      </a:lnTo>
                      <a:lnTo>
                        <a:pt x="2410" y="132"/>
                      </a:lnTo>
                      <a:lnTo>
                        <a:pt x="2412" y="133"/>
                      </a:lnTo>
                      <a:lnTo>
                        <a:pt x="2414" y="134"/>
                      </a:lnTo>
                      <a:lnTo>
                        <a:pt x="2415" y="135"/>
                      </a:lnTo>
                      <a:lnTo>
                        <a:pt x="2416" y="136"/>
                      </a:lnTo>
                      <a:lnTo>
                        <a:pt x="2417" y="137"/>
                      </a:lnTo>
                      <a:lnTo>
                        <a:pt x="2419" y="138"/>
                      </a:lnTo>
                      <a:lnTo>
                        <a:pt x="2420" y="139"/>
                      </a:lnTo>
                      <a:lnTo>
                        <a:pt x="2422" y="139"/>
                      </a:lnTo>
                      <a:lnTo>
                        <a:pt x="2423" y="139"/>
                      </a:lnTo>
                      <a:lnTo>
                        <a:pt x="2424" y="139"/>
                      </a:lnTo>
                      <a:lnTo>
                        <a:pt x="2423" y="137"/>
                      </a:lnTo>
                      <a:lnTo>
                        <a:pt x="2422" y="135"/>
                      </a:lnTo>
                      <a:lnTo>
                        <a:pt x="2420" y="132"/>
                      </a:lnTo>
                      <a:lnTo>
                        <a:pt x="2419" y="131"/>
                      </a:lnTo>
                      <a:lnTo>
                        <a:pt x="2418" y="130"/>
                      </a:lnTo>
                      <a:lnTo>
                        <a:pt x="2417" y="128"/>
                      </a:lnTo>
                      <a:lnTo>
                        <a:pt x="2415" y="126"/>
                      </a:lnTo>
                      <a:lnTo>
                        <a:pt x="2414" y="124"/>
                      </a:lnTo>
                      <a:lnTo>
                        <a:pt x="2412" y="121"/>
                      </a:lnTo>
                      <a:lnTo>
                        <a:pt x="2410" y="117"/>
                      </a:lnTo>
                      <a:lnTo>
                        <a:pt x="2409" y="113"/>
                      </a:lnTo>
                      <a:lnTo>
                        <a:pt x="2408" y="109"/>
                      </a:lnTo>
                      <a:lnTo>
                        <a:pt x="2407" y="107"/>
                      </a:lnTo>
                      <a:lnTo>
                        <a:pt x="2407" y="106"/>
                      </a:lnTo>
                      <a:lnTo>
                        <a:pt x="2407" y="105"/>
                      </a:lnTo>
                      <a:lnTo>
                        <a:pt x="2407" y="105"/>
                      </a:lnTo>
                      <a:lnTo>
                        <a:pt x="2408" y="106"/>
                      </a:lnTo>
                      <a:lnTo>
                        <a:pt x="2410" y="109"/>
                      </a:lnTo>
                      <a:lnTo>
                        <a:pt x="2410" y="111"/>
                      </a:lnTo>
                      <a:lnTo>
                        <a:pt x="2412" y="113"/>
                      </a:lnTo>
                      <a:lnTo>
                        <a:pt x="2413" y="115"/>
                      </a:lnTo>
                      <a:lnTo>
                        <a:pt x="2415" y="116"/>
                      </a:lnTo>
                      <a:lnTo>
                        <a:pt x="2416" y="115"/>
                      </a:lnTo>
                      <a:lnTo>
                        <a:pt x="2417" y="113"/>
                      </a:lnTo>
                      <a:lnTo>
                        <a:pt x="2417" y="111"/>
                      </a:lnTo>
                      <a:lnTo>
                        <a:pt x="2417" y="107"/>
                      </a:lnTo>
                      <a:lnTo>
                        <a:pt x="2415" y="104"/>
                      </a:lnTo>
                      <a:lnTo>
                        <a:pt x="2413" y="102"/>
                      </a:lnTo>
                      <a:lnTo>
                        <a:pt x="2413" y="101"/>
                      </a:lnTo>
                      <a:lnTo>
                        <a:pt x="2412" y="99"/>
                      </a:lnTo>
                      <a:lnTo>
                        <a:pt x="2412" y="99"/>
                      </a:lnTo>
                      <a:lnTo>
                        <a:pt x="2410" y="98"/>
                      </a:lnTo>
                      <a:lnTo>
                        <a:pt x="2410" y="95"/>
                      </a:lnTo>
                      <a:lnTo>
                        <a:pt x="2412" y="93"/>
                      </a:lnTo>
                      <a:lnTo>
                        <a:pt x="2412" y="92"/>
                      </a:lnTo>
                      <a:lnTo>
                        <a:pt x="2413" y="91"/>
                      </a:lnTo>
                      <a:lnTo>
                        <a:pt x="2414" y="91"/>
                      </a:lnTo>
                      <a:lnTo>
                        <a:pt x="2414" y="91"/>
                      </a:lnTo>
                      <a:lnTo>
                        <a:pt x="2415" y="92"/>
                      </a:lnTo>
                      <a:lnTo>
                        <a:pt x="2416" y="93"/>
                      </a:lnTo>
                      <a:lnTo>
                        <a:pt x="2417" y="95"/>
                      </a:lnTo>
                      <a:lnTo>
                        <a:pt x="2417" y="100"/>
                      </a:lnTo>
                      <a:lnTo>
                        <a:pt x="2419" y="100"/>
                      </a:lnTo>
                      <a:lnTo>
                        <a:pt x="2422" y="101"/>
                      </a:lnTo>
                      <a:lnTo>
                        <a:pt x="2424" y="102"/>
                      </a:lnTo>
                      <a:lnTo>
                        <a:pt x="2426" y="104"/>
                      </a:lnTo>
                      <a:lnTo>
                        <a:pt x="2426" y="105"/>
                      </a:lnTo>
                      <a:lnTo>
                        <a:pt x="2427" y="109"/>
                      </a:lnTo>
                      <a:lnTo>
                        <a:pt x="2428" y="111"/>
                      </a:lnTo>
                      <a:lnTo>
                        <a:pt x="2430" y="113"/>
                      </a:lnTo>
                      <a:lnTo>
                        <a:pt x="2433" y="114"/>
                      </a:lnTo>
                      <a:lnTo>
                        <a:pt x="2434" y="116"/>
                      </a:lnTo>
                      <a:lnTo>
                        <a:pt x="2434" y="119"/>
                      </a:lnTo>
                      <a:lnTo>
                        <a:pt x="2435" y="120"/>
                      </a:lnTo>
                      <a:lnTo>
                        <a:pt x="2437" y="122"/>
                      </a:lnTo>
                      <a:lnTo>
                        <a:pt x="2438" y="123"/>
                      </a:lnTo>
                      <a:lnTo>
                        <a:pt x="2439" y="124"/>
                      </a:lnTo>
                      <a:lnTo>
                        <a:pt x="2439" y="124"/>
                      </a:lnTo>
                      <a:lnTo>
                        <a:pt x="2441" y="125"/>
                      </a:lnTo>
                      <a:lnTo>
                        <a:pt x="2442" y="126"/>
                      </a:lnTo>
                      <a:lnTo>
                        <a:pt x="2444" y="130"/>
                      </a:lnTo>
                      <a:lnTo>
                        <a:pt x="2444" y="132"/>
                      </a:lnTo>
                      <a:lnTo>
                        <a:pt x="2442" y="135"/>
                      </a:lnTo>
                      <a:lnTo>
                        <a:pt x="2441" y="137"/>
                      </a:lnTo>
                      <a:lnTo>
                        <a:pt x="2441" y="146"/>
                      </a:lnTo>
                      <a:lnTo>
                        <a:pt x="2444" y="150"/>
                      </a:lnTo>
                      <a:lnTo>
                        <a:pt x="2444" y="155"/>
                      </a:lnTo>
                      <a:lnTo>
                        <a:pt x="2444" y="159"/>
                      </a:lnTo>
                      <a:lnTo>
                        <a:pt x="2444" y="163"/>
                      </a:lnTo>
                      <a:lnTo>
                        <a:pt x="2445" y="166"/>
                      </a:lnTo>
                      <a:lnTo>
                        <a:pt x="2446" y="170"/>
                      </a:lnTo>
                      <a:lnTo>
                        <a:pt x="2446" y="172"/>
                      </a:lnTo>
                      <a:lnTo>
                        <a:pt x="2446" y="172"/>
                      </a:lnTo>
                      <a:lnTo>
                        <a:pt x="2447" y="172"/>
                      </a:lnTo>
                      <a:lnTo>
                        <a:pt x="2447" y="171"/>
                      </a:lnTo>
                      <a:lnTo>
                        <a:pt x="2448" y="170"/>
                      </a:lnTo>
                      <a:lnTo>
                        <a:pt x="2449" y="170"/>
                      </a:lnTo>
                      <a:lnTo>
                        <a:pt x="2450" y="169"/>
                      </a:lnTo>
                      <a:lnTo>
                        <a:pt x="2450" y="168"/>
                      </a:lnTo>
                      <a:lnTo>
                        <a:pt x="2450" y="168"/>
                      </a:lnTo>
                      <a:lnTo>
                        <a:pt x="2451" y="167"/>
                      </a:lnTo>
                      <a:lnTo>
                        <a:pt x="2452" y="166"/>
                      </a:lnTo>
                      <a:lnTo>
                        <a:pt x="2452" y="164"/>
                      </a:lnTo>
                      <a:lnTo>
                        <a:pt x="2452" y="161"/>
                      </a:lnTo>
                      <a:lnTo>
                        <a:pt x="2452" y="157"/>
                      </a:lnTo>
                      <a:lnTo>
                        <a:pt x="2450" y="152"/>
                      </a:lnTo>
                      <a:lnTo>
                        <a:pt x="2448" y="147"/>
                      </a:lnTo>
                      <a:lnTo>
                        <a:pt x="2446" y="144"/>
                      </a:lnTo>
                      <a:lnTo>
                        <a:pt x="2446" y="122"/>
                      </a:lnTo>
                      <a:lnTo>
                        <a:pt x="2445" y="119"/>
                      </a:lnTo>
                      <a:lnTo>
                        <a:pt x="2442" y="116"/>
                      </a:lnTo>
                      <a:lnTo>
                        <a:pt x="2440" y="114"/>
                      </a:lnTo>
                      <a:lnTo>
                        <a:pt x="2437" y="111"/>
                      </a:lnTo>
                      <a:lnTo>
                        <a:pt x="2437" y="111"/>
                      </a:lnTo>
                      <a:lnTo>
                        <a:pt x="2437" y="109"/>
                      </a:lnTo>
                      <a:lnTo>
                        <a:pt x="2436" y="106"/>
                      </a:lnTo>
                      <a:lnTo>
                        <a:pt x="2435" y="104"/>
                      </a:lnTo>
                      <a:lnTo>
                        <a:pt x="2434" y="104"/>
                      </a:lnTo>
                      <a:lnTo>
                        <a:pt x="2433" y="104"/>
                      </a:lnTo>
                      <a:lnTo>
                        <a:pt x="2433" y="103"/>
                      </a:lnTo>
                      <a:lnTo>
                        <a:pt x="2430" y="102"/>
                      </a:lnTo>
                      <a:lnTo>
                        <a:pt x="2427" y="92"/>
                      </a:lnTo>
                      <a:lnTo>
                        <a:pt x="2426" y="82"/>
                      </a:lnTo>
                      <a:lnTo>
                        <a:pt x="2426" y="78"/>
                      </a:lnTo>
                      <a:lnTo>
                        <a:pt x="2424" y="73"/>
                      </a:lnTo>
                      <a:lnTo>
                        <a:pt x="2422" y="69"/>
                      </a:lnTo>
                      <a:lnTo>
                        <a:pt x="2423" y="67"/>
                      </a:lnTo>
                      <a:lnTo>
                        <a:pt x="2423" y="65"/>
                      </a:lnTo>
                      <a:lnTo>
                        <a:pt x="2424" y="62"/>
                      </a:lnTo>
                      <a:lnTo>
                        <a:pt x="2424" y="60"/>
                      </a:lnTo>
                      <a:lnTo>
                        <a:pt x="2426" y="59"/>
                      </a:lnTo>
                      <a:lnTo>
                        <a:pt x="2427" y="58"/>
                      </a:lnTo>
                      <a:lnTo>
                        <a:pt x="2429" y="58"/>
                      </a:lnTo>
                      <a:lnTo>
                        <a:pt x="2431" y="58"/>
                      </a:lnTo>
                      <a:lnTo>
                        <a:pt x="2433" y="58"/>
                      </a:lnTo>
                      <a:lnTo>
                        <a:pt x="2435" y="59"/>
                      </a:lnTo>
                      <a:lnTo>
                        <a:pt x="2437" y="60"/>
                      </a:lnTo>
                      <a:lnTo>
                        <a:pt x="2439" y="60"/>
                      </a:lnTo>
                      <a:lnTo>
                        <a:pt x="2441" y="60"/>
                      </a:lnTo>
                      <a:lnTo>
                        <a:pt x="2444" y="61"/>
                      </a:lnTo>
                      <a:lnTo>
                        <a:pt x="2446" y="61"/>
                      </a:lnTo>
                      <a:lnTo>
                        <a:pt x="2448" y="60"/>
                      </a:lnTo>
                      <a:lnTo>
                        <a:pt x="2450" y="59"/>
                      </a:lnTo>
                      <a:lnTo>
                        <a:pt x="2451" y="57"/>
                      </a:lnTo>
                      <a:lnTo>
                        <a:pt x="2451" y="55"/>
                      </a:lnTo>
                      <a:lnTo>
                        <a:pt x="2450" y="51"/>
                      </a:lnTo>
                      <a:lnTo>
                        <a:pt x="2449" y="48"/>
                      </a:lnTo>
                      <a:lnTo>
                        <a:pt x="2447" y="45"/>
                      </a:lnTo>
                      <a:lnTo>
                        <a:pt x="2446" y="41"/>
                      </a:lnTo>
                      <a:lnTo>
                        <a:pt x="2446" y="39"/>
                      </a:lnTo>
                      <a:lnTo>
                        <a:pt x="2446" y="36"/>
                      </a:lnTo>
                      <a:lnTo>
                        <a:pt x="2447" y="35"/>
                      </a:lnTo>
                      <a:lnTo>
                        <a:pt x="2446" y="34"/>
                      </a:lnTo>
                      <a:lnTo>
                        <a:pt x="2446" y="33"/>
                      </a:lnTo>
                      <a:lnTo>
                        <a:pt x="2445" y="32"/>
                      </a:lnTo>
                      <a:lnTo>
                        <a:pt x="2444" y="30"/>
                      </a:lnTo>
                      <a:lnTo>
                        <a:pt x="2445" y="28"/>
                      </a:lnTo>
                      <a:lnTo>
                        <a:pt x="2446" y="26"/>
                      </a:lnTo>
                      <a:lnTo>
                        <a:pt x="2446" y="24"/>
                      </a:lnTo>
                      <a:lnTo>
                        <a:pt x="2446" y="22"/>
                      </a:lnTo>
                      <a:lnTo>
                        <a:pt x="2447" y="19"/>
                      </a:lnTo>
                      <a:lnTo>
                        <a:pt x="2448" y="17"/>
                      </a:lnTo>
                      <a:lnTo>
                        <a:pt x="2450" y="14"/>
                      </a:lnTo>
                      <a:lnTo>
                        <a:pt x="2451" y="13"/>
                      </a:lnTo>
                      <a:lnTo>
                        <a:pt x="2453" y="11"/>
                      </a:lnTo>
                      <a:lnTo>
                        <a:pt x="2455" y="8"/>
                      </a:lnTo>
                      <a:lnTo>
                        <a:pt x="2456" y="6"/>
                      </a:lnTo>
                      <a:lnTo>
                        <a:pt x="2457" y="5"/>
                      </a:lnTo>
                      <a:lnTo>
                        <a:pt x="2458" y="3"/>
                      </a:lnTo>
                      <a:lnTo>
                        <a:pt x="2458" y="2"/>
                      </a:lnTo>
                      <a:lnTo>
                        <a:pt x="2459" y="2"/>
                      </a:lnTo>
                      <a:lnTo>
                        <a:pt x="2460" y="3"/>
                      </a:lnTo>
                      <a:lnTo>
                        <a:pt x="2461" y="3"/>
                      </a:lnTo>
                      <a:lnTo>
                        <a:pt x="2462" y="4"/>
                      </a:lnTo>
                      <a:lnTo>
                        <a:pt x="2463" y="4"/>
                      </a:lnTo>
                      <a:lnTo>
                        <a:pt x="2464" y="2"/>
                      </a:lnTo>
                      <a:lnTo>
                        <a:pt x="2466" y="1"/>
                      </a:lnTo>
                      <a:lnTo>
                        <a:pt x="2467" y="0"/>
                      </a:lnTo>
                      <a:lnTo>
                        <a:pt x="2468"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8" name="Freeform 35"/>
                <p:cNvSpPr>
                  <a:spLocks noEditPoints="1"/>
                </p:cNvSpPr>
                <p:nvPr/>
              </p:nvSpPr>
              <p:spPr bwMode="auto">
                <a:xfrm>
                  <a:off x="5574" y="743"/>
                  <a:ext cx="411" cy="160"/>
                </a:xfrm>
                <a:custGeom>
                  <a:avLst/>
                  <a:gdLst>
                    <a:gd name="T0" fmla="*/ 1350 w 2878"/>
                    <a:gd name="T1" fmla="*/ 168 h 1116"/>
                    <a:gd name="T2" fmla="*/ 1286 w 2878"/>
                    <a:gd name="T3" fmla="*/ 147 h 1116"/>
                    <a:gd name="T4" fmla="*/ 2781 w 2878"/>
                    <a:gd name="T5" fmla="*/ 174 h 1116"/>
                    <a:gd name="T6" fmla="*/ 2758 w 2878"/>
                    <a:gd name="T7" fmla="*/ 229 h 1116"/>
                    <a:gd name="T8" fmla="*/ 2754 w 2878"/>
                    <a:gd name="T9" fmla="*/ 259 h 1116"/>
                    <a:gd name="T10" fmla="*/ 2765 w 2878"/>
                    <a:gd name="T11" fmla="*/ 346 h 1116"/>
                    <a:gd name="T12" fmla="*/ 2734 w 2878"/>
                    <a:gd name="T13" fmla="*/ 292 h 1116"/>
                    <a:gd name="T14" fmla="*/ 2739 w 2878"/>
                    <a:gd name="T15" fmla="*/ 242 h 1116"/>
                    <a:gd name="T16" fmla="*/ 2742 w 2878"/>
                    <a:gd name="T17" fmla="*/ 179 h 1116"/>
                    <a:gd name="T18" fmla="*/ 2756 w 2878"/>
                    <a:gd name="T19" fmla="*/ 149 h 1116"/>
                    <a:gd name="T20" fmla="*/ 1292 w 2878"/>
                    <a:gd name="T21" fmla="*/ 106 h 1116"/>
                    <a:gd name="T22" fmla="*/ 941 w 2878"/>
                    <a:gd name="T23" fmla="*/ 103 h 1116"/>
                    <a:gd name="T24" fmla="*/ 899 w 2878"/>
                    <a:gd name="T25" fmla="*/ 138 h 1116"/>
                    <a:gd name="T26" fmla="*/ 2135 w 2878"/>
                    <a:gd name="T27" fmla="*/ 49 h 1116"/>
                    <a:gd name="T28" fmla="*/ 1025 w 2878"/>
                    <a:gd name="T29" fmla="*/ 53 h 1116"/>
                    <a:gd name="T30" fmla="*/ 1046 w 2878"/>
                    <a:gd name="T31" fmla="*/ 107 h 1116"/>
                    <a:gd name="T32" fmla="*/ 1112 w 2878"/>
                    <a:gd name="T33" fmla="*/ 158 h 1116"/>
                    <a:gd name="T34" fmla="*/ 1149 w 2878"/>
                    <a:gd name="T35" fmla="*/ 137 h 1116"/>
                    <a:gd name="T36" fmla="*/ 1229 w 2878"/>
                    <a:gd name="T37" fmla="*/ 113 h 1116"/>
                    <a:gd name="T38" fmla="*/ 1220 w 2878"/>
                    <a:gd name="T39" fmla="*/ 161 h 1116"/>
                    <a:gd name="T40" fmla="*/ 1164 w 2878"/>
                    <a:gd name="T41" fmla="*/ 238 h 1116"/>
                    <a:gd name="T42" fmla="*/ 1061 w 2878"/>
                    <a:gd name="T43" fmla="*/ 272 h 1116"/>
                    <a:gd name="T44" fmla="*/ 1047 w 2878"/>
                    <a:gd name="T45" fmla="*/ 377 h 1116"/>
                    <a:gd name="T46" fmla="*/ 961 w 2878"/>
                    <a:gd name="T47" fmla="*/ 531 h 1116"/>
                    <a:gd name="T48" fmla="*/ 1091 w 2878"/>
                    <a:gd name="T49" fmla="*/ 650 h 1116"/>
                    <a:gd name="T50" fmla="*/ 1241 w 2878"/>
                    <a:gd name="T51" fmla="*/ 794 h 1116"/>
                    <a:gd name="T52" fmla="*/ 1291 w 2878"/>
                    <a:gd name="T53" fmla="*/ 773 h 1116"/>
                    <a:gd name="T54" fmla="*/ 1303 w 2878"/>
                    <a:gd name="T55" fmla="*/ 549 h 1116"/>
                    <a:gd name="T56" fmla="*/ 1308 w 2878"/>
                    <a:gd name="T57" fmla="*/ 415 h 1116"/>
                    <a:gd name="T58" fmla="*/ 1437 w 2878"/>
                    <a:gd name="T59" fmla="*/ 467 h 1116"/>
                    <a:gd name="T60" fmla="*/ 1484 w 2878"/>
                    <a:gd name="T61" fmla="*/ 551 h 1116"/>
                    <a:gd name="T62" fmla="*/ 1565 w 2878"/>
                    <a:gd name="T63" fmla="*/ 532 h 1116"/>
                    <a:gd name="T64" fmla="*/ 1658 w 2878"/>
                    <a:gd name="T65" fmla="*/ 695 h 1116"/>
                    <a:gd name="T66" fmla="*/ 1752 w 2878"/>
                    <a:gd name="T67" fmla="*/ 788 h 1116"/>
                    <a:gd name="T68" fmla="*/ 1733 w 2878"/>
                    <a:gd name="T69" fmla="*/ 906 h 1116"/>
                    <a:gd name="T70" fmla="*/ 1783 w 2878"/>
                    <a:gd name="T71" fmla="*/ 985 h 1116"/>
                    <a:gd name="T72" fmla="*/ 1727 w 2878"/>
                    <a:gd name="T73" fmla="*/ 976 h 1116"/>
                    <a:gd name="T74" fmla="*/ 1679 w 2878"/>
                    <a:gd name="T75" fmla="*/ 947 h 1116"/>
                    <a:gd name="T76" fmla="*/ 1650 w 2878"/>
                    <a:gd name="T77" fmla="*/ 906 h 1116"/>
                    <a:gd name="T78" fmla="*/ 1494 w 2878"/>
                    <a:gd name="T79" fmla="*/ 960 h 1116"/>
                    <a:gd name="T80" fmla="*/ 1641 w 2878"/>
                    <a:gd name="T81" fmla="*/ 1018 h 1116"/>
                    <a:gd name="T82" fmla="*/ 1569 w 2878"/>
                    <a:gd name="T83" fmla="*/ 1045 h 1116"/>
                    <a:gd name="T84" fmla="*/ 1480 w 2878"/>
                    <a:gd name="T85" fmla="*/ 1078 h 1116"/>
                    <a:gd name="T86" fmla="*/ 1314 w 2878"/>
                    <a:gd name="T87" fmla="*/ 1074 h 1116"/>
                    <a:gd name="T88" fmla="*/ 1134 w 2878"/>
                    <a:gd name="T89" fmla="*/ 998 h 1116"/>
                    <a:gd name="T90" fmla="*/ 1112 w 2878"/>
                    <a:gd name="T91" fmla="*/ 935 h 1116"/>
                    <a:gd name="T92" fmla="*/ 57 w 2878"/>
                    <a:gd name="T93" fmla="*/ 437 h 1116"/>
                    <a:gd name="T94" fmla="*/ 40 w 2878"/>
                    <a:gd name="T95" fmla="*/ 386 h 1116"/>
                    <a:gd name="T96" fmla="*/ 42 w 2878"/>
                    <a:gd name="T97" fmla="*/ 358 h 1116"/>
                    <a:gd name="T98" fmla="*/ 64 w 2878"/>
                    <a:gd name="T99" fmla="*/ 269 h 1116"/>
                    <a:gd name="T100" fmla="*/ 136 w 2878"/>
                    <a:gd name="T101" fmla="*/ 200 h 1116"/>
                    <a:gd name="T102" fmla="*/ 160 w 2878"/>
                    <a:gd name="T103" fmla="*/ 199 h 1116"/>
                    <a:gd name="T104" fmla="*/ 233 w 2878"/>
                    <a:gd name="T105" fmla="*/ 208 h 1116"/>
                    <a:gd name="T106" fmla="*/ 338 w 2878"/>
                    <a:gd name="T107" fmla="*/ 236 h 1116"/>
                    <a:gd name="T108" fmla="*/ 387 w 2878"/>
                    <a:gd name="T109" fmla="*/ 183 h 1116"/>
                    <a:gd name="T110" fmla="*/ 444 w 2878"/>
                    <a:gd name="T111" fmla="*/ 134 h 1116"/>
                    <a:gd name="T112" fmla="*/ 498 w 2878"/>
                    <a:gd name="T113" fmla="*/ 175 h 1116"/>
                    <a:gd name="T114" fmla="*/ 626 w 2878"/>
                    <a:gd name="T115" fmla="*/ 178 h 1116"/>
                    <a:gd name="T116" fmla="*/ 736 w 2878"/>
                    <a:gd name="T117" fmla="*/ 222 h 1116"/>
                    <a:gd name="T118" fmla="*/ 819 w 2878"/>
                    <a:gd name="T119" fmla="*/ 185 h 1116"/>
                    <a:gd name="T120" fmla="*/ 943 w 2878"/>
                    <a:gd name="T121" fmla="*/ 174 h 1116"/>
                    <a:gd name="T122" fmla="*/ 980 w 2878"/>
                    <a:gd name="T123" fmla="*/ 142 h 1116"/>
                    <a:gd name="T124" fmla="*/ 954 w 2878"/>
                    <a:gd name="T125" fmla="*/ 42 h 1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8" h="1116">
                      <a:moveTo>
                        <a:pt x="2874" y="211"/>
                      </a:moveTo>
                      <a:lnTo>
                        <a:pt x="2875" y="213"/>
                      </a:lnTo>
                      <a:lnTo>
                        <a:pt x="2876" y="215"/>
                      </a:lnTo>
                      <a:lnTo>
                        <a:pt x="2877" y="218"/>
                      </a:lnTo>
                      <a:lnTo>
                        <a:pt x="2877" y="221"/>
                      </a:lnTo>
                      <a:lnTo>
                        <a:pt x="2878" y="223"/>
                      </a:lnTo>
                      <a:lnTo>
                        <a:pt x="2878" y="224"/>
                      </a:lnTo>
                      <a:lnTo>
                        <a:pt x="2877" y="225"/>
                      </a:lnTo>
                      <a:lnTo>
                        <a:pt x="2876" y="225"/>
                      </a:lnTo>
                      <a:lnTo>
                        <a:pt x="2874" y="224"/>
                      </a:lnTo>
                      <a:lnTo>
                        <a:pt x="2873" y="222"/>
                      </a:lnTo>
                      <a:lnTo>
                        <a:pt x="2871" y="218"/>
                      </a:lnTo>
                      <a:lnTo>
                        <a:pt x="2871" y="216"/>
                      </a:lnTo>
                      <a:lnTo>
                        <a:pt x="2871" y="214"/>
                      </a:lnTo>
                      <a:lnTo>
                        <a:pt x="2871" y="212"/>
                      </a:lnTo>
                      <a:lnTo>
                        <a:pt x="2873" y="212"/>
                      </a:lnTo>
                      <a:lnTo>
                        <a:pt x="2874" y="211"/>
                      </a:lnTo>
                      <a:lnTo>
                        <a:pt x="2874" y="211"/>
                      </a:lnTo>
                      <a:close/>
                      <a:moveTo>
                        <a:pt x="1379" y="175"/>
                      </a:moveTo>
                      <a:lnTo>
                        <a:pt x="1382" y="175"/>
                      </a:lnTo>
                      <a:lnTo>
                        <a:pt x="1385" y="177"/>
                      </a:lnTo>
                      <a:lnTo>
                        <a:pt x="1389" y="179"/>
                      </a:lnTo>
                      <a:lnTo>
                        <a:pt x="1390" y="181"/>
                      </a:lnTo>
                      <a:lnTo>
                        <a:pt x="1390" y="182"/>
                      </a:lnTo>
                      <a:lnTo>
                        <a:pt x="1389" y="184"/>
                      </a:lnTo>
                      <a:lnTo>
                        <a:pt x="1388" y="185"/>
                      </a:lnTo>
                      <a:lnTo>
                        <a:pt x="1385" y="186"/>
                      </a:lnTo>
                      <a:lnTo>
                        <a:pt x="1382" y="186"/>
                      </a:lnTo>
                      <a:lnTo>
                        <a:pt x="1379" y="185"/>
                      </a:lnTo>
                      <a:lnTo>
                        <a:pt x="1375" y="184"/>
                      </a:lnTo>
                      <a:lnTo>
                        <a:pt x="1373" y="181"/>
                      </a:lnTo>
                      <a:lnTo>
                        <a:pt x="1373" y="179"/>
                      </a:lnTo>
                      <a:lnTo>
                        <a:pt x="1374" y="178"/>
                      </a:lnTo>
                      <a:lnTo>
                        <a:pt x="1376" y="175"/>
                      </a:lnTo>
                      <a:lnTo>
                        <a:pt x="1379" y="175"/>
                      </a:lnTo>
                      <a:close/>
                      <a:moveTo>
                        <a:pt x="1340" y="167"/>
                      </a:moveTo>
                      <a:lnTo>
                        <a:pt x="1350" y="168"/>
                      </a:lnTo>
                      <a:lnTo>
                        <a:pt x="1360" y="171"/>
                      </a:lnTo>
                      <a:lnTo>
                        <a:pt x="1364" y="175"/>
                      </a:lnTo>
                      <a:lnTo>
                        <a:pt x="1365" y="183"/>
                      </a:lnTo>
                      <a:lnTo>
                        <a:pt x="1365" y="191"/>
                      </a:lnTo>
                      <a:lnTo>
                        <a:pt x="1365" y="199"/>
                      </a:lnTo>
                      <a:lnTo>
                        <a:pt x="1364" y="204"/>
                      </a:lnTo>
                      <a:lnTo>
                        <a:pt x="1360" y="212"/>
                      </a:lnTo>
                      <a:lnTo>
                        <a:pt x="1352" y="216"/>
                      </a:lnTo>
                      <a:lnTo>
                        <a:pt x="1342" y="217"/>
                      </a:lnTo>
                      <a:lnTo>
                        <a:pt x="1332" y="216"/>
                      </a:lnTo>
                      <a:lnTo>
                        <a:pt x="1327" y="214"/>
                      </a:lnTo>
                      <a:lnTo>
                        <a:pt x="1323" y="211"/>
                      </a:lnTo>
                      <a:lnTo>
                        <a:pt x="1319" y="207"/>
                      </a:lnTo>
                      <a:lnTo>
                        <a:pt x="1316" y="204"/>
                      </a:lnTo>
                      <a:lnTo>
                        <a:pt x="1317" y="197"/>
                      </a:lnTo>
                      <a:lnTo>
                        <a:pt x="1320" y="190"/>
                      </a:lnTo>
                      <a:lnTo>
                        <a:pt x="1324" y="182"/>
                      </a:lnTo>
                      <a:lnTo>
                        <a:pt x="1327" y="173"/>
                      </a:lnTo>
                      <a:lnTo>
                        <a:pt x="1332" y="169"/>
                      </a:lnTo>
                      <a:lnTo>
                        <a:pt x="1340" y="167"/>
                      </a:lnTo>
                      <a:close/>
                      <a:moveTo>
                        <a:pt x="1280" y="167"/>
                      </a:moveTo>
                      <a:lnTo>
                        <a:pt x="1282" y="167"/>
                      </a:lnTo>
                      <a:lnTo>
                        <a:pt x="1284" y="167"/>
                      </a:lnTo>
                      <a:lnTo>
                        <a:pt x="1286" y="168"/>
                      </a:lnTo>
                      <a:lnTo>
                        <a:pt x="1285" y="170"/>
                      </a:lnTo>
                      <a:lnTo>
                        <a:pt x="1284" y="171"/>
                      </a:lnTo>
                      <a:lnTo>
                        <a:pt x="1283" y="172"/>
                      </a:lnTo>
                      <a:lnTo>
                        <a:pt x="1281" y="172"/>
                      </a:lnTo>
                      <a:lnTo>
                        <a:pt x="1279" y="172"/>
                      </a:lnTo>
                      <a:lnTo>
                        <a:pt x="1277" y="171"/>
                      </a:lnTo>
                      <a:lnTo>
                        <a:pt x="1276" y="169"/>
                      </a:lnTo>
                      <a:lnTo>
                        <a:pt x="1277" y="168"/>
                      </a:lnTo>
                      <a:lnTo>
                        <a:pt x="1279" y="167"/>
                      </a:lnTo>
                      <a:lnTo>
                        <a:pt x="1280" y="167"/>
                      </a:lnTo>
                      <a:close/>
                      <a:moveTo>
                        <a:pt x="1281" y="146"/>
                      </a:moveTo>
                      <a:lnTo>
                        <a:pt x="1286" y="146"/>
                      </a:lnTo>
                      <a:lnTo>
                        <a:pt x="1286" y="147"/>
                      </a:lnTo>
                      <a:lnTo>
                        <a:pt x="1286" y="149"/>
                      </a:lnTo>
                      <a:lnTo>
                        <a:pt x="1286" y="150"/>
                      </a:lnTo>
                      <a:lnTo>
                        <a:pt x="1285" y="151"/>
                      </a:lnTo>
                      <a:lnTo>
                        <a:pt x="1285" y="152"/>
                      </a:lnTo>
                      <a:lnTo>
                        <a:pt x="1284" y="152"/>
                      </a:lnTo>
                      <a:lnTo>
                        <a:pt x="1283" y="151"/>
                      </a:lnTo>
                      <a:lnTo>
                        <a:pt x="1282" y="151"/>
                      </a:lnTo>
                      <a:lnTo>
                        <a:pt x="1281" y="150"/>
                      </a:lnTo>
                      <a:lnTo>
                        <a:pt x="1280" y="149"/>
                      </a:lnTo>
                      <a:lnTo>
                        <a:pt x="1279" y="148"/>
                      </a:lnTo>
                      <a:lnTo>
                        <a:pt x="1280" y="147"/>
                      </a:lnTo>
                      <a:lnTo>
                        <a:pt x="1281" y="146"/>
                      </a:lnTo>
                      <a:close/>
                      <a:moveTo>
                        <a:pt x="2786" y="129"/>
                      </a:moveTo>
                      <a:lnTo>
                        <a:pt x="2787" y="129"/>
                      </a:lnTo>
                      <a:lnTo>
                        <a:pt x="2790" y="131"/>
                      </a:lnTo>
                      <a:lnTo>
                        <a:pt x="2792" y="135"/>
                      </a:lnTo>
                      <a:lnTo>
                        <a:pt x="2794" y="138"/>
                      </a:lnTo>
                      <a:lnTo>
                        <a:pt x="2794" y="141"/>
                      </a:lnTo>
                      <a:lnTo>
                        <a:pt x="2796" y="146"/>
                      </a:lnTo>
                      <a:lnTo>
                        <a:pt x="2797" y="149"/>
                      </a:lnTo>
                      <a:lnTo>
                        <a:pt x="2797" y="153"/>
                      </a:lnTo>
                      <a:lnTo>
                        <a:pt x="2797" y="157"/>
                      </a:lnTo>
                      <a:lnTo>
                        <a:pt x="2796" y="160"/>
                      </a:lnTo>
                      <a:lnTo>
                        <a:pt x="2794" y="162"/>
                      </a:lnTo>
                      <a:lnTo>
                        <a:pt x="2794" y="164"/>
                      </a:lnTo>
                      <a:lnTo>
                        <a:pt x="2793" y="167"/>
                      </a:lnTo>
                      <a:lnTo>
                        <a:pt x="2792" y="168"/>
                      </a:lnTo>
                      <a:lnTo>
                        <a:pt x="2790" y="169"/>
                      </a:lnTo>
                      <a:lnTo>
                        <a:pt x="2789" y="169"/>
                      </a:lnTo>
                      <a:lnTo>
                        <a:pt x="2788" y="168"/>
                      </a:lnTo>
                      <a:lnTo>
                        <a:pt x="2787" y="168"/>
                      </a:lnTo>
                      <a:lnTo>
                        <a:pt x="2786" y="168"/>
                      </a:lnTo>
                      <a:lnTo>
                        <a:pt x="2785" y="168"/>
                      </a:lnTo>
                      <a:lnTo>
                        <a:pt x="2783" y="169"/>
                      </a:lnTo>
                      <a:lnTo>
                        <a:pt x="2782" y="170"/>
                      </a:lnTo>
                      <a:lnTo>
                        <a:pt x="2782" y="172"/>
                      </a:lnTo>
                      <a:lnTo>
                        <a:pt x="2781" y="174"/>
                      </a:lnTo>
                      <a:lnTo>
                        <a:pt x="2779" y="175"/>
                      </a:lnTo>
                      <a:lnTo>
                        <a:pt x="2778" y="177"/>
                      </a:lnTo>
                      <a:lnTo>
                        <a:pt x="2777" y="177"/>
                      </a:lnTo>
                      <a:lnTo>
                        <a:pt x="2776" y="177"/>
                      </a:lnTo>
                      <a:lnTo>
                        <a:pt x="2776" y="178"/>
                      </a:lnTo>
                      <a:lnTo>
                        <a:pt x="2775" y="180"/>
                      </a:lnTo>
                      <a:lnTo>
                        <a:pt x="2774" y="182"/>
                      </a:lnTo>
                      <a:lnTo>
                        <a:pt x="2772" y="183"/>
                      </a:lnTo>
                      <a:lnTo>
                        <a:pt x="2772" y="185"/>
                      </a:lnTo>
                      <a:lnTo>
                        <a:pt x="2770" y="186"/>
                      </a:lnTo>
                      <a:lnTo>
                        <a:pt x="2768" y="188"/>
                      </a:lnTo>
                      <a:lnTo>
                        <a:pt x="2768" y="196"/>
                      </a:lnTo>
                      <a:lnTo>
                        <a:pt x="2768" y="197"/>
                      </a:lnTo>
                      <a:lnTo>
                        <a:pt x="2767" y="199"/>
                      </a:lnTo>
                      <a:lnTo>
                        <a:pt x="2765" y="200"/>
                      </a:lnTo>
                      <a:lnTo>
                        <a:pt x="2764" y="201"/>
                      </a:lnTo>
                      <a:lnTo>
                        <a:pt x="2764" y="207"/>
                      </a:lnTo>
                      <a:lnTo>
                        <a:pt x="2764" y="210"/>
                      </a:lnTo>
                      <a:lnTo>
                        <a:pt x="2763" y="211"/>
                      </a:lnTo>
                      <a:lnTo>
                        <a:pt x="2763" y="211"/>
                      </a:lnTo>
                      <a:lnTo>
                        <a:pt x="2761" y="210"/>
                      </a:lnTo>
                      <a:lnTo>
                        <a:pt x="2759" y="210"/>
                      </a:lnTo>
                      <a:lnTo>
                        <a:pt x="2758" y="211"/>
                      </a:lnTo>
                      <a:lnTo>
                        <a:pt x="2758" y="212"/>
                      </a:lnTo>
                      <a:lnTo>
                        <a:pt x="2759" y="214"/>
                      </a:lnTo>
                      <a:lnTo>
                        <a:pt x="2759" y="215"/>
                      </a:lnTo>
                      <a:lnTo>
                        <a:pt x="2759" y="217"/>
                      </a:lnTo>
                      <a:lnTo>
                        <a:pt x="2758" y="218"/>
                      </a:lnTo>
                      <a:lnTo>
                        <a:pt x="2758" y="218"/>
                      </a:lnTo>
                      <a:lnTo>
                        <a:pt x="2758" y="218"/>
                      </a:lnTo>
                      <a:lnTo>
                        <a:pt x="2757" y="220"/>
                      </a:lnTo>
                      <a:lnTo>
                        <a:pt x="2757" y="220"/>
                      </a:lnTo>
                      <a:lnTo>
                        <a:pt x="2758" y="221"/>
                      </a:lnTo>
                      <a:lnTo>
                        <a:pt x="2758" y="223"/>
                      </a:lnTo>
                      <a:lnTo>
                        <a:pt x="2758" y="225"/>
                      </a:lnTo>
                      <a:lnTo>
                        <a:pt x="2758" y="227"/>
                      </a:lnTo>
                      <a:lnTo>
                        <a:pt x="2758" y="229"/>
                      </a:lnTo>
                      <a:lnTo>
                        <a:pt x="2758" y="229"/>
                      </a:lnTo>
                      <a:lnTo>
                        <a:pt x="2757" y="228"/>
                      </a:lnTo>
                      <a:lnTo>
                        <a:pt x="2755" y="226"/>
                      </a:lnTo>
                      <a:lnTo>
                        <a:pt x="2753" y="224"/>
                      </a:lnTo>
                      <a:lnTo>
                        <a:pt x="2751" y="223"/>
                      </a:lnTo>
                      <a:lnTo>
                        <a:pt x="2750" y="223"/>
                      </a:lnTo>
                      <a:lnTo>
                        <a:pt x="2749" y="223"/>
                      </a:lnTo>
                      <a:lnTo>
                        <a:pt x="2749" y="225"/>
                      </a:lnTo>
                      <a:lnTo>
                        <a:pt x="2750" y="226"/>
                      </a:lnTo>
                      <a:lnTo>
                        <a:pt x="2751" y="227"/>
                      </a:lnTo>
                      <a:lnTo>
                        <a:pt x="2753" y="228"/>
                      </a:lnTo>
                      <a:lnTo>
                        <a:pt x="2754" y="231"/>
                      </a:lnTo>
                      <a:lnTo>
                        <a:pt x="2755" y="232"/>
                      </a:lnTo>
                      <a:lnTo>
                        <a:pt x="2756" y="234"/>
                      </a:lnTo>
                      <a:lnTo>
                        <a:pt x="2756" y="235"/>
                      </a:lnTo>
                      <a:lnTo>
                        <a:pt x="2755" y="236"/>
                      </a:lnTo>
                      <a:lnTo>
                        <a:pt x="2754" y="236"/>
                      </a:lnTo>
                      <a:lnTo>
                        <a:pt x="2756" y="244"/>
                      </a:lnTo>
                      <a:lnTo>
                        <a:pt x="2756" y="244"/>
                      </a:lnTo>
                      <a:lnTo>
                        <a:pt x="2755" y="244"/>
                      </a:lnTo>
                      <a:lnTo>
                        <a:pt x="2755" y="244"/>
                      </a:lnTo>
                      <a:lnTo>
                        <a:pt x="2754" y="243"/>
                      </a:lnTo>
                      <a:lnTo>
                        <a:pt x="2754" y="242"/>
                      </a:lnTo>
                      <a:lnTo>
                        <a:pt x="2753" y="242"/>
                      </a:lnTo>
                      <a:lnTo>
                        <a:pt x="2751" y="243"/>
                      </a:lnTo>
                      <a:lnTo>
                        <a:pt x="2751" y="244"/>
                      </a:lnTo>
                      <a:lnTo>
                        <a:pt x="2753" y="245"/>
                      </a:lnTo>
                      <a:lnTo>
                        <a:pt x="2754" y="246"/>
                      </a:lnTo>
                      <a:lnTo>
                        <a:pt x="2754" y="248"/>
                      </a:lnTo>
                      <a:lnTo>
                        <a:pt x="2756" y="250"/>
                      </a:lnTo>
                      <a:lnTo>
                        <a:pt x="2756" y="253"/>
                      </a:lnTo>
                      <a:lnTo>
                        <a:pt x="2754" y="253"/>
                      </a:lnTo>
                      <a:lnTo>
                        <a:pt x="2754" y="255"/>
                      </a:lnTo>
                      <a:lnTo>
                        <a:pt x="2755" y="256"/>
                      </a:lnTo>
                      <a:lnTo>
                        <a:pt x="2755" y="258"/>
                      </a:lnTo>
                      <a:lnTo>
                        <a:pt x="2755" y="258"/>
                      </a:lnTo>
                      <a:lnTo>
                        <a:pt x="2754" y="259"/>
                      </a:lnTo>
                      <a:lnTo>
                        <a:pt x="2753" y="259"/>
                      </a:lnTo>
                      <a:lnTo>
                        <a:pt x="2753" y="261"/>
                      </a:lnTo>
                      <a:lnTo>
                        <a:pt x="2753" y="264"/>
                      </a:lnTo>
                      <a:lnTo>
                        <a:pt x="2753" y="267"/>
                      </a:lnTo>
                      <a:lnTo>
                        <a:pt x="2754" y="269"/>
                      </a:lnTo>
                      <a:lnTo>
                        <a:pt x="2754" y="272"/>
                      </a:lnTo>
                      <a:lnTo>
                        <a:pt x="2754" y="275"/>
                      </a:lnTo>
                      <a:lnTo>
                        <a:pt x="2753" y="284"/>
                      </a:lnTo>
                      <a:lnTo>
                        <a:pt x="2754" y="297"/>
                      </a:lnTo>
                      <a:lnTo>
                        <a:pt x="2757" y="309"/>
                      </a:lnTo>
                      <a:lnTo>
                        <a:pt x="2761" y="321"/>
                      </a:lnTo>
                      <a:lnTo>
                        <a:pt x="2763" y="323"/>
                      </a:lnTo>
                      <a:lnTo>
                        <a:pt x="2765" y="325"/>
                      </a:lnTo>
                      <a:lnTo>
                        <a:pt x="2766" y="327"/>
                      </a:lnTo>
                      <a:lnTo>
                        <a:pt x="2766" y="330"/>
                      </a:lnTo>
                      <a:lnTo>
                        <a:pt x="2767" y="332"/>
                      </a:lnTo>
                      <a:lnTo>
                        <a:pt x="2768" y="334"/>
                      </a:lnTo>
                      <a:lnTo>
                        <a:pt x="2768" y="335"/>
                      </a:lnTo>
                      <a:lnTo>
                        <a:pt x="2769" y="335"/>
                      </a:lnTo>
                      <a:lnTo>
                        <a:pt x="2770" y="336"/>
                      </a:lnTo>
                      <a:lnTo>
                        <a:pt x="2771" y="338"/>
                      </a:lnTo>
                      <a:lnTo>
                        <a:pt x="2771" y="340"/>
                      </a:lnTo>
                      <a:lnTo>
                        <a:pt x="2772" y="342"/>
                      </a:lnTo>
                      <a:lnTo>
                        <a:pt x="2774" y="344"/>
                      </a:lnTo>
                      <a:lnTo>
                        <a:pt x="2775" y="346"/>
                      </a:lnTo>
                      <a:lnTo>
                        <a:pt x="2776" y="348"/>
                      </a:lnTo>
                      <a:lnTo>
                        <a:pt x="2774" y="348"/>
                      </a:lnTo>
                      <a:lnTo>
                        <a:pt x="2772" y="348"/>
                      </a:lnTo>
                      <a:lnTo>
                        <a:pt x="2771" y="346"/>
                      </a:lnTo>
                      <a:lnTo>
                        <a:pt x="2770" y="345"/>
                      </a:lnTo>
                      <a:lnTo>
                        <a:pt x="2770" y="343"/>
                      </a:lnTo>
                      <a:lnTo>
                        <a:pt x="2769" y="343"/>
                      </a:lnTo>
                      <a:lnTo>
                        <a:pt x="2767" y="343"/>
                      </a:lnTo>
                      <a:lnTo>
                        <a:pt x="2766" y="344"/>
                      </a:lnTo>
                      <a:lnTo>
                        <a:pt x="2766" y="345"/>
                      </a:lnTo>
                      <a:lnTo>
                        <a:pt x="2766" y="346"/>
                      </a:lnTo>
                      <a:lnTo>
                        <a:pt x="2765" y="346"/>
                      </a:lnTo>
                      <a:lnTo>
                        <a:pt x="2764" y="346"/>
                      </a:lnTo>
                      <a:lnTo>
                        <a:pt x="2764" y="346"/>
                      </a:lnTo>
                      <a:lnTo>
                        <a:pt x="2764" y="345"/>
                      </a:lnTo>
                      <a:lnTo>
                        <a:pt x="2763" y="344"/>
                      </a:lnTo>
                      <a:lnTo>
                        <a:pt x="2761" y="342"/>
                      </a:lnTo>
                      <a:lnTo>
                        <a:pt x="2760" y="342"/>
                      </a:lnTo>
                      <a:lnTo>
                        <a:pt x="2759" y="341"/>
                      </a:lnTo>
                      <a:lnTo>
                        <a:pt x="2758" y="341"/>
                      </a:lnTo>
                      <a:lnTo>
                        <a:pt x="2757" y="340"/>
                      </a:lnTo>
                      <a:lnTo>
                        <a:pt x="2755" y="338"/>
                      </a:lnTo>
                      <a:lnTo>
                        <a:pt x="2754" y="338"/>
                      </a:lnTo>
                      <a:lnTo>
                        <a:pt x="2754" y="336"/>
                      </a:lnTo>
                      <a:lnTo>
                        <a:pt x="2753" y="334"/>
                      </a:lnTo>
                      <a:lnTo>
                        <a:pt x="2753" y="332"/>
                      </a:lnTo>
                      <a:lnTo>
                        <a:pt x="2753" y="331"/>
                      </a:lnTo>
                      <a:lnTo>
                        <a:pt x="2754" y="330"/>
                      </a:lnTo>
                      <a:lnTo>
                        <a:pt x="2754" y="327"/>
                      </a:lnTo>
                      <a:lnTo>
                        <a:pt x="2754" y="326"/>
                      </a:lnTo>
                      <a:lnTo>
                        <a:pt x="2753" y="324"/>
                      </a:lnTo>
                      <a:lnTo>
                        <a:pt x="2751" y="322"/>
                      </a:lnTo>
                      <a:lnTo>
                        <a:pt x="2750" y="319"/>
                      </a:lnTo>
                      <a:lnTo>
                        <a:pt x="2748" y="316"/>
                      </a:lnTo>
                      <a:lnTo>
                        <a:pt x="2747" y="314"/>
                      </a:lnTo>
                      <a:lnTo>
                        <a:pt x="2747" y="313"/>
                      </a:lnTo>
                      <a:lnTo>
                        <a:pt x="2746" y="312"/>
                      </a:lnTo>
                      <a:lnTo>
                        <a:pt x="2745" y="312"/>
                      </a:lnTo>
                      <a:lnTo>
                        <a:pt x="2743" y="311"/>
                      </a:lnTo>
                      <a:lnTo>
                        <a:pt x="2742" y="311"/>
                      </a:lnTo>
                      <a:lnTo>
                        <a:pt x="2739" y="310"/>
                      </a:lnTo>
                      <a:lnTo>
                        <a:pt x="2738" y="309"/>
                      </a:lnTo>
                      <a:lnTo>
                        <a:pt x="2736" y="306"/>
                      </a:lnTo>
                      <a:lnTo>
                        <a:pt x="2735" y="303"/>
                      </a:lnTo>
                      <a:lnTo>
                        <a:pt x="2734" y="301"/>
                      </a:lnTo>
                      <a:lnTo>
                        <a:pt x="2734" y="299"/>
                      </a:lnTo>
                      <a:lnTo>
                        <a:pt x="2734" y="297"/>
                      </a:lnTo>
                      <a:lnTo>
                        <a:pt x="2734" y="294"/>
                      </a:lnTo>
                      <a:lnTo>
                        <a:pt x="2734" y="292"/>
                      </a:lnTo>
                      <a:lnTo>
                        <a:pt x="2734" y="290"/>
                      </a:lnTo>
                      <a:lnTo>
                        <a:pt x="2734" y="290"/>
                      </a:lnTo>
                      <a:lnTo>
                        <a:pt x="2735" y="290"/>
                      </a:lnTo>
                      <a:lnTo>
                        <a:pt x="2736" y="290"/>
                      </a:lnTo>
                      <a:lnTo>
                        <a:pt x="2737" y="289"/>
                      </a:lnTo>
                      <a:lnTo>
                        <a:pt x="2737" y="287"/>
                      </a:lnTo>
                      <a:lnTo>
                        <a:pt x="2737" y="286"/>
                      </a:lnTo>
                      <a:lnTo>
                        <a:pt x="2737" y="283"/>
                      </a:lnTo>
                      <a:lnTo>
                        <a:pt x="2737" y="281"/>
                      </a:lnTo>
                      <a:lnTo>
                        <a:pt x="2737" y="279"/>
                      </a:lnTo>
                      <a:lnTo>
                        <a:pt x="2737" y="272"/>
                      </a:lnTo>
                      <a:lnTo>
                        <a:pt x="2736" y="271"/>
                      </a:lnTo>
                      <a:lnTo>
                        <a:pt x="2735" y="271"/>
                      </a:lnTo>
                      <a:lnTo>
                        <a:pt x="2735" y="270"/>
                      </a:lnTo>
                      <a:lnTo>
                        <a:pt x="2735" y="270"/>
                      </a:lnTo>
                      <a:lnTo>
                        <a:pt x="2735" y="268"/>
                      </a:lnTo>
                      <a:lnTo>
                        <a:pt x="2734" y="267"/>
                      </a:lnTo>
                      <a:lnTo>
                        <a:pt x="2734" y="265"/>
                      </a:lnTo>
                      <a:lnTo>
                        <a:pt x="2734" y="264"/>
                      </a:lnTo>
                      <a:lnTo>
                        <a:pt x="2734" y="262"/>
                      </a:lnTo>
                      <a:lnTo>
                        <a:pt x="2734" y="261"/>
                      </a:lnTo>
                      <a:lnTo>
                        <a:pt x="2735" y="261"/>
                      </a:lnTo>
                      <a:lnTo>
                        <a:pt x="2735" y="262"/>
                      </a:lnTo>
                      <a:lnTo>
                        <a:pt x="2736" y="262"/>
                      </a:lnTo>
                      <a:lnTo>
                        <a:pt x="2736" y="262"/>
                      </a:lnTo>
                      <a:lnTo>
                        <a:pt x="2737" y="261"/>
                      </a:lnTo>
                      <a:lnTo>
                        <a:pt x="2736" y="257"/>
                      </a:lnTo>
                      <a:lnTo>
                        <a:pt x="2735" y="255"/>
                      </a:lnTo>
                      <a:lnTo>
                        <a:pt x="2735" y="251"/>
                      </a:lnTo>
                      <a:lnTo>
                        <a:pt x="2736" y="250"/>
                      </a:lnTo>
                      <a:lnTo>
                        <a:pt x="2737" y="250"/>
                      </a:lnTo>
                      <a:lnTo>
                        <a:pt x="2738" y="249"/>
                      </a:lnTo>
                      <a:lnTo>
                        <a:pt x="2739" y="248"/>
                      </a:lnTo>
                      <a:lnTo>
                        <a:pt x="2739" y="247"/>
                      </a:lnTo>
                      <a:lnTo>
                        <a:pt x="2739" y="246"/>
                      </a:lnTo>
                      <a:lnTo>
                        <a:pt x="2739" y="244"/>
                      </a:lnTo>
                      <a:lnTo>
                        <a:pt x="2739" y="242"/>
                      </a:lnTo>
                      <a:lnTo>
                        <a:pt x="2738" y="238"/>
                      </a:lnTo>
                      <a:lnTo>
                        <a:pt x="2737" y="236"/>
                      </a:lnTo>
                      <a:lnTo>
                        <a:pt x="2735" y="235"/>
                      </a:lnTo>
                      <a:lnTo>
                        <a:pt x="2735" y="234"/>
                      </a:lnTo>
                      <a:lnTo>
                        <a:pt x="2735" y="232"/>
                      </a:lnTo>
                      <a:lnTo>
                        <a:pt x="2735" y="231"/>
                      </a:lnTo>
                      <a:lnTo>
                        <a:pt x="2736" y="228"/>
                      </a:lnTo>
                      <a:lnTo>
                        <a:pt x="2736" y="226"/>
                      </a:lnTo>
                      <a:lnTo>
                        <a:pt x="2737" y="225"/>
                      </a:lnTo>
                      <a:lnTo>
                        <a:pt x="2737" y="214"/>
                      </a:lnTo>
                      <a:lnTo>
                        <a:pt x="2738" y="212"/>
                      </a:lnTo>
                      <a:lnTo>
                        <a:pt x="2739" y="210"/>
                      </a:lnTo>
                      <a:lnTo>
                        <a:pt x="2739" y="207"/>
                      </a:lnTo>
                      <a:lnTo>
                        <a:pt x="2739" y="199"/>
                      </a:lnTo>
                      <a:lnTo>
                        <a:pt x="2739" y="197"/>
                      </a:lnTo>
                      <a:lnTo>
                        <a:pt x="2738" y="196"/>
                      </a:lnTo>
                      <a:lnTo>
                        <a:pt x="2737" y="195"/>
                      </a:lnTo>
                      <a:lnTo>
                        <a:pt x="2737" y="194"/>
                      </a:lnTo>
                      <a:lnTo>
                        <a:pt x="2736" y="193"/>
                      </a:lnTo>
                      <a:lnTo>
                        <a:pt x="2735" y="191"/>
                      </a:lnTo>
                      <a:lnTo>
                        <a:pt x="2734" y="188"/>
                      </a:lnTo>
                      <a:lnTo>
                        <a:pt x="2734" y="185"/>
                      </a:lnTo>
                      <a:lnTo>
                        <a:pt x="2734" y="183"/>
                      </a:lnTo>
                      <a:lnTo>
                        <a:pt x="2734" y="182"/>
                      </a:lnTo>
                      <a:lnTo>
                        <a:pt x="2735" y="181"/>
                      </a:lnTo>
                      <a:lnTo>
                        <a:pt x="2735" y="181"/>
                      </a:lnTo>
                      <a:lnTo>
                        <a:pt x="2735" y="182"/>
                      </a:lnTo>
                      <a:lnTo>
                        <a:pt x="2736" y="182"/>
                      </a:lnTo>
                      <a:lnTo>
                        <a:pt x="2736" y="182"/>
                      </a:lnTo>
                      <a:lnTo>
                        <a:pt x="2737" y="181"/>
                      </a:lnTo>
                      <a:lnTo>
                        <a:pt x="2737" y="181"/>
                      </a:lnTo>
                      <a:lnTo>
                        <a:pt x="2737" y="180"/>
                      </a:lnTo>
                      <a:lnTo>
                        <a:pt x="2737" y="178"/>
                      </a:lnTo>
                      <a:lnTo>
                        <a:pt x="2738" y="177"/>
                      </a:lnTo>
                      <a:lnTo>
                        <a:pt x="2739" y="177"/>
                      </a:lnTo>
                      <a:lnTo>
                        <a:pt x="2740" y="178"/>
                      </a:lnTo>
                      <a:lnTo>
                        <a:pt x="2742" y="179"/>
                      </a:lnTo>
                      <a:lnTo>
                        <a:pt x="2742" y="180"/>
                      </a:lnTo>
                      <a:lnTo>
                        <a:pt x="2743" y="180"/>
                      </a:lnTo>
                      <a:lnTo>
                        <a:pt x="2744" y="179"/>
                      </a:lnTo>
                      <a:lnTo>
                        <a:pt x="2745" y="178"/>
                      </a:lnTo>
                      <a:lnTo>
                        <a:pt x="2745" y="177"/>
                      </a:lnTo>
                      <a:lnTo>
                        <a:pt x="2744" y="174"/>
                      </a:lnTo>
                      <a:lnTo>
                        <a:pt x="2744" y="172"/>
                      </a:lnTo>
                      <a:lnTo>
                        <a:pt x="2743" y="171"/>
                      </a:lnTo>
                      <a:lnTo>
                        <a:pt x="2743" y="169"/>
                      </a:lnTo>
                      <a:lnTo>
                        <a:pt x="2743" y="168"/>
                      </a:lnTo>
                      <a:lnTo>
                        <a:pt x="2743" y="168"/>
                      </a:lnTo>
                      <a:lnTo>
                        <a:pt x="2744" y="168"/>
                      </a:lnTo>
                      <a:lnTo>
                        <a:pt x="2745" y="168"/>
                      </a:lnTo>
                      <a:lnTo>
                        <a:pt x="2746" y="168"/>
                      </a:lnTo>
                      <a:lnTo>
                        <a:pt x="2746" y="167"/>
                      </a:lnTo>
                      <a:lnTo>
                        <a:pt x="2746" y="164"/>
                      </a:lnTo>
                      <a:lnTo>
                        <a:pt x="2746" y="163"/>
                      </a:lnTo>
                      <a:lnTo>
                        <a:pt x="2746" y="161"/>
                      </a:lnTo>
                      <a:lnTo>
                        <a:pt x="2746" y="160"/>
                      </a:lnTo>
                      <a:lnTo>
                        <a:pt x="2746" y="159"/>
                      </a:lnTo>
                      <a:lnTo>
                        <a:pt x="2748" y="158"/>
                      </a:lnTo>
                      <a:lnTo>
                        <a:pt x="2749" y="158"/>
                      </a:lnTo>
                      <a:lnTo>
                        <a:pt x="2750" y="158"/>
                      </a:lnTo>
                      <a:lnTo>
                        <a:pt x="2751" y="158"/>
                      </a:lnTo>
                      <a:lnTo>
                        <a:pt x="2751" y="157"/>
                      </a:lnTo>
                      <a:lnTo>
                        <a:pt x="2751" y="152"/>
                      </a:lnTo>
                      <a:lnTo>
                        <a:pt x="2753" y="152"/>
                      </a:lnTo>
                      <a:lnTo>
                        <a:pt x="2753" y="153"/>
                      </a:lnTo>
                      <a:lnTo>
                        <a:pt x="2754" y="155"/>
                      </a:lnTo>
                      <a:lnTo>
                        <a:pt x="2755" y="156"/>
                      </a:lnTo>
                      <a:lnTo>
                        <a:pt x="2755" y="157"/>
                      </a:lnTo>
                      <a:lnTo>
                        <a:pt x="2756" y="157"/>
                      </a:lnTo>
                      <a:lnTo>
                        <a:pt x="2756" y="156"/>
                      </a:lnTo>
                      <a:lnTo>
                        <a:pt x="2756" y="155"/>
                      </a:lnTo>
                      <a:lnTo>
                        <a:pt x="2756" y="152"/>
                      </a:lnTo>
                      <a:lnTo>
                        <a:pt x="2756" y="150"/>
                      </a:lnTo>
                      <a:lnTo>
                        <a:pt x="2756" y="149"/>
                      </a:lnTo>
                      <a:lnTo>
                        <a:pt x="2756" y="148"/>
                      </a:lnTo>
                      <a:lnTo>
                        <a:pt x="2756" y="147"/>
                      </a:lnTo>
                      <a:lnTo>
                        <a:pt x="2757" y="147"/>
                      </a:lnTo>
                      <a:lnTo>
                        <a:pt x="2758" y="148"/>
                      </a:lnTo>
                      <a:lnTo>
                        <a:pt x="2760" y="148"/>
                      </a:lnTo>
                      <a:lnTo>
                        <a:pt x="2761" y="149"/>
                      </a:lnTo>
                      <a:lnTo>
                        <a:pt x="2761" y="150"/>
                      </a:lnTo>
                      <a:lnTo>
                        <a:pt x="2764" y="152"/>
                      </a:lnTo>
                      <a:lnTo>
                        <a:pt x="2765" y="151"/>
                      </a:lnTo>
                      <a:lnTo>
                        <a:pt x="2766" y="151"/>
                      </a:lnTo>
                      <a:lnTo>
                        <a:pt x="2766" y="150"/>
                      </a:lnTo>
                      <a:lnTo>
                        <a:pt x="2766" y="150"/>
                      </a:lnTo>
                      <a:lnTo>
                        <a:pt x="2768" y="150"/>
                      </a:lnTo>
                      <a:lnTo>
                        <a:pt x="2769" y="150"/>
                      </a:lnTo>
                      <a:lnTo>
                        <a:pt x="2771" y="150"/>
                      </a:lnTo>
                      <a:lnTo>
                        <a:pt x="2772" y="150"/>
                      </a:lnTo>
                      <a:lnTo>
                        <a:pt x="2776" y="148"/>
                      </a:lnTo>
                      <a:lnTo>
                        <a:pt x="2777" y="147"/>
                      </a:lnTo>
                      <a:lnTo>
                        <a:pt x="2778" y="146"/>
                      </a:lnTo>
                      <a:lnTo>
                        <a:pt x="2778" y="145"/>
                      </a:lnTo>
                      <a:lnTo>
                        <a:pt x="2779" y="144"/>
                      </a:lnTo>
                      <a:lnTo>
                        <a:pt x="2779" y="142"/>
                      </a:lnTo>
                      <a:lnTo>
                        <a:pt x="2778" y="141"/>
                      </a:lnTo>
                      <a:lnTo>
                        <a:pt x="2778" y="137"/>
                      </a:lnTo>
                      <a:lnTo>
                        <a:pt x="2778" y="135"/>
                      </a:lnTo>
                      <a:lnTo>
                        <a:pt x="2780" y="131"/>
                      </a:lnTo>
                      <a:lnTo>
                        <a:pt x="2781" y="131"/>
                      </a:lnTo>
                      <a:lnTo>
                        <a:pt x="2783" y="130"/>
                      </a:lnTo>
                      <a:lnTo>
                        <a:pt x="2785" y="129"/>
                      </a:lnTo>
                      <a:lnTo>
                        <a:pt x="2786" y="129"/>
                      </a:lnTo>
                      <a:close/>
                      <a:moveTo>
                        <a:pt x="1292" y="100"/>
                      </a:moveTo>
                      <a:lnTo>
                        <a:pt x="1292" y="101"/>
                      </a:lnTo>
                      <a:lnTo>
                        <a:pt x="1293" y="102"/>
                      </a:lnTo>
                      <a:lnTo>
                        <a:pt x="1294" y="103"/>
                      </a:lnTo>
                      <a:lnTo>
                        <a:pt x="1294" y="104"/>
                      </a:lnTo>
                      <a:lnTo>
                        <a:pt x="1294" y="105"/>
                      </a:lnTo>
                      <a:lnTo>
                        <a:pt x="1292" y="106"/>
                      </a:lnTo>
                      <a:lnTo>
                        <a:pt x="1291" y="108"/>
                      </a:lnTo>
                      <a:lnTo>
                        <a:pt x="1291" y="111"/>
                      </a:lnTo>
                      <a:lnTo>
                        <a:pt x="1292" y="112"/>
                      </a:lnTo>
                      <a:lnTo>
                        <a:pt x="1292" y="118"/>
                      </a:lnTo>
                      <a:lnTo>
                        <a:pt x="1290" y="126"/>
                      </a:lnTo>
                      <a:lnTo>
                        <a:pt x="1284" y="131"/>
                      </a:lnTo>
                      <a:lnTo>
                        <a:pt x="1280" y="135"/>
                      </a:lnTo>
                      <a:lnTo>
                        <a:pt x="1276" y="135"/>
                      </a:lnTo>
                      <a:lnTo>
                        <a:pt x="1274" y="135"/>
                      </a:lnTo>
                      <a:lnTo>
                        <a:pt x="1272" y="133"/>
                      </a:lnTo>
                      <a:lnTo>
                        <a:pt x="1271" y="131"/>
                      </a:lnTo>
                      <a:lnTo>
                        <a:pt x="1271" y="129"/>
                      </a:lnTo>
                      <a:lnTo>
                        <a:pt x="1272" y="127"/>
                      </a:lnTo>
                      <a:lnTo>
                        <a:pt x="1273" y="125"/>
                      </a:lnTo>
                      <a:lnTo>
                        <a:pt x="1275" y="124"/>
                      </a:lnTo>
                      <a:lnTo>
                        <a:pt x="1279" y="123"/>
                      </a:lnTo>
                      <a:lnTo>
                        <a:pt x="1281" y="122"/>
                      </a:lnTo>
                      <a:lnTo>
                        <a:pt x="1283" y="122"/>
                      </a:lnTo>
                      <a:lnTo>
                        <a:pt x="1285" y="120"/>
                      </a:lnTo>
                      <a:lnTo>
                        <a:pt x="1287" y="119"/>
                      </a:lnTo>
                      <a:lnTo>
                        <a:pt x="1287" y="117"/>
                      </a:lnTo>
                      <a:lnTo>
                        <a:pt x="1287" y="115"/>
                      </a:lnTo>
                      <a:lnTo>
                        <a:pt x="1286" y="114"/>
                      </a:lnTo>
                      <a:lnTo>
                        <a:pt x="1286" y="112"/>
                      </a:lnTo>
                      <a:lnTo>
                        <a:pt x="1285" y="108"/>
                      </a:lnTo>
                      <a:lnTo>
                        <a:pt x="1285" y="106"/>
                      </a:lnTo>
                      <a:lnTo>
                        <a:pt x="1285" y="104"/>
                      </a:lnTo>
                      <a:lnTo>
                        <a:pt x="1285" y="103"/>
                      </a:lnTo>
                      <a:lnTo>
                        <a:pt x="1286" y="101"/>
                      </a:lnTo>
                      <a:lnTo>
                        <a:pt x="1288" y="101"/>
                      </a:lnTo>
                      <a:lnTo>
                        <a:pt x="1292" y="100"/>
                      </a:lnTo>
                      <a:close/>
                      <a:moveTo>
                        <a:pt x="933" y="93"/>
                      </a:moveTo>
                      <a:lnTo>
                        <a:pt x="936" y="93"/>
                      </a:lnTo>
                      <a:lnTo>
                        <a:pt x="937" y="94"/>
                      </a:lnTo>
                      <a:lnTo>
                        <a:pt x="939" y="96"/>
                      </a:lnTo>
                      <a:lnTo>
                        <a:pt x="941" y="100"/>
                      </a:lnTo>
                      <a:lnTo>
                        <a:pt x="941" y="103"/>
                      </a:lnTo>
                      <a:lnTo>
                        <a:pt x="939" y="106"/>
                      </a:lnTo>
                      <a:lnTo>
                        <a:pt x="941" y="108"/>
                      </a:lnTo>
                      <a:lnTo>
                        <a:pt x="941" y="112"/>
                      </a:lnTo>
                      <a:lnTo>
                        <a:pt x="943" y="114"/>
                      </a:lnTo>
                      <a:lnTo>
                        <a:pt x="946" y="117"/>
                      </a:lnTo>
                      <a:lnTo>
                        <a:pt x="949" y="120"/>
                      </a:lnTo>
                      <a:lnTo>
                        <a:pt x="952" y="123"/>
                      </a:lnTo>
                      <a:lnTo>
                        <a:pt x="954" y="126"/>
                      </a:lnTo>
                      <a:lnTo>
                        <a:pt x="959" y="134"/>
                      </a:lnTo>
                      <a:lnTo>
                        <a:pt x="965" y="141"/>
                      </a:lnTo>
                      <a:lnTo>
                        <a:pt x="969" y="150"/>
                      </a:lnTo>
                      <a:lnTo>
                        <a:pt x="968" y="155"/>
                      </a:lnTo>
                      <a:lnTo>
                        <a:pt x="965" y="161"/>
                      </a:lnTo>
                      <a:lnTo>
                        <a:pt x="959" y="166"/>
                      </a:lnTo>
                      <a:lnTo>
                        <a:pt x="953" y="170"/>
                      </a:lnTo>
                      <a:lnTo>
                        <a:pt x="947" y="171"/>
                      </a:lnTo>
                      <a:lnTo>
                        <a:pt x="939" y="172"/>
                      </a:lnTo>
                      <a:lnTo>
                        <a:pt x="939" y="172"/>
                      </a:lnTo>
                      <a:lnTo>
                        <a:pt x="937" y="173"/>
                      </a:lnTo>
                      <a:lnTo>
                        <a:pt x="937" y="173"/>
                      </a:lnTo>
                      <a:lnTo>
                        <a:pt x="928" y="172"/>
                      </a:lnTo>
                      <a:lnTo>
                        <a:pt x="921" y="169"/>
                      </a:lnTo>
                      <a:lnTo>
                        <a:pt x="917" y="166"/>
                      </a:lnTo>
                      <a:lnTo>
                        <a:pt x="916" y="160"/>
                      </a:lnTo>
                      <a:lnTo>
                        <a:pt x="914" y="155"/>
                      </a:lnTo>
                      <a:lnTo>
                        <a:pt x="912" y="150"/>
                      </a:lnTo>
                      <a:lnTo>
                        <a:pt x="908" y="150"/>
                      </a:lnTo>
                      <a:lnTo>
                        <a:pt x="906" y="150"/>
                      </a:lnTo>
                      <a:lnTo>
                        <a:pt x="905" y="150"/>
                      </a:lnTo>
                      <a:lnTo>
                        <a:pt x="903" y="150"/>
                      </a:lnTo>
                      <a:lnTo>
                        <a:pt x="902" y="150"/>
                      </a:lnTo>
                      <a:lnTo>
                        <a:pt x="900" y="150"/>
                      </a:lnTo>
                      <a:lnTo>
                        <a:pt x="899" y="149"/>
                      </a:lnTo>
                      <a:lnTo>
                        <a:pt x="898" y="148"/>
                      </a:lnTo>
                      <a:lnTo>
                        <a:pt x="897" y="146"/>
                      </a:lnTo>
                      <a:lnTo>
                        <a:pt x="898" y="141"/>
                      </a:lnTo>
                      <a:lnTo>
                        <a:pt x="899" y="138"/>
                      </a:lnTo>
                      <a:lnTo>
                        <a:pt x="901" y="136"/>
                      </a:lnTo>
                      <a:lnTo>
                        <a:pt x="903" y="134"/>
                      </a:lnTo>
                      <a:lnTo>
                        <a:pt x="914" y="116"/>
                      </a:lnTo>
                      <a:lnTo>
                        <a:pt x="925" y="97"/>
                      </a:lnTo>
                      <a:lnTo>
                        <a:pt x="928" y="95"/>
                      </a:lnTo>
                      <a:lnTo>
                        <a:pt x="931" y="93"/>
                      </a:lnTo>
                      <a:lnTo>
                        <a:pt x="933" y="93"/>
                      </a:lnTo>
                      <a:close/>
                      <a:moveTo>
                        <a:pt x="2135" y="49"/>
                      </a:moveTo>
                      <a:lnTo>
                        <a:pt x="2139" y="50"/>
                      </a:lnTo>
                      <a:lnTo>
                        <a:pt x="2145" y="53"/>
                      </a:lnTo>
                      <a:lnTo>
                        <a:pt x="2150" y="57"/>
                      </a:lnTo>
                      <a:lnTo>
                        <a:pt x="2155" y="60"/>
                      </a:lnTo>
                      <a:lnTo>
                        <a:pt x="2159" y="65"/>
                      </a:lnTo>
                      <a:lnTo>
                        <a:pt x="2163" y="72"/>
                      </a:lnTo>
                      <a:lnTo>
                        <a:pt x="2165" y="80"/>
                      </a:lnTo>
                      <a:lnTo>
                        <a:pt x="2165" y="83"/>
                      </a:lnTo>
                      <a:lnTo>
                        <a:pt x="2165" y="86"/>
                      </a:lnTo>
                      <a:lnTo>
                        <a:pt x="2166" y="90"/>
                      </a:lnTo>
                      <a:lnTo>
                        <a:pt x="2166" y="93"/>
                      </a:lnTo>
                      <a:lnTo>
                        <a:pt x="2165" y="95"/>
                      </a:lnTo>
                      <a:lnTo>
                        <a:pt x="2164" y="96"/>
                      </a:lnTo>
                      <a:lnTo>
                        <a:pt x="2161" y="96"/>
                      </a:lnTo>
                      <a:lnTo>
                        <a:pt x="2160" y="95"/>
                      </a:lnTo>
                      <a:lnTo>
                        <a:pt x="2158" y="94"/>
                      </a:lnTo>
                      <a:lnTo>
                        <a:pt x="2156" y="92"/>
                      </a:lnTo>
                      <a:lnTo>
                        <a:pt x="2154" y="90"/>
                      </a:lnTo>
                      <a:lnTo>
                        <a:pt x="2153" y="88"/>
                      </a:lnTo>
                      <a:lnTo>
                        <a:pt x="2149" y="87"/>
                      </a:lnTo>
                      <a:lnTo>
                        <a:pt x="2147" y="85"/>
                      </a:lnTo>
                      <a:lnTo>
                        <a:pt x="2144" y="84"/>
                      </a:lnTo>
                      <a:lnTo>
                        <a:pt x="2142" y="81"/>
                      </a:lnTo>
                      <a:lnTo>
                        <a:pt x="2139" y="77"/>
                      </a:lnTo>
                      <a:lnTo>
                        <a:pt x="2136" y="70"/>
                      </a:lnTo>
                      <a:lnTo>
                        <a:pt x="2133" y="62"/>
                      </a:lnTo>
                      <a:lnTo>
                        <a:pt x="2132" y="55"/>
                      </a:lnTo>
                      <a:lnTo>
                        <a:pt x="2132" y="51"/>
                      </a:lnTo>
                      <a:lnTo>
                        <a:pt x="2135" y="49"/>
                      </a:lnTo>
                      <a:close/>
                      <a:moveTo>
                        <a:pt x="2808" y="27"/>
                      </a:moveTo>
                      <a:lnTo>
                        <a:pt x="2809" y="27"/>
                      </a:lnTo>
                      <a:lnTo>
                        <a:pt x="2810" y="28"/>
                      </a:lnTo>
                      <a:lnTo>
                        <a:pt x="2812" y="29"/>
                      </a:lnTo>
                      <a:lnTo>
                        <a:pt x="2813" y="30"/>
                      </a:lnTo>
                      <a:lnTo>
                        <a:pt x="2813" y="31"/>
                      </a:lnTo>
                      <a:lnTo>
                        <a:pt x="2814" y="32"/>
                      </a:lnTo>
                      <a:lnTo>
                        <a:pt x="2814" y="32"/>
                      </a:lnTo>
                      <a:lnTo>
                        <a:pt x="2814" y="33"/>
                      </a:lnTo>
                      <a:lnTo>
                        <a:pt x="2814" y="33"/>
                      </a:lnTo>
                      <a:lnTo>
                        <a:pt x="2813" y="33"/>
                      </a:lnTo>
                      <a:lnTo>
                        <a:pt x="2811" y="31"/>
                      </a:lnTo>
                      <a:lnTo>
                        <a:pt x="2810" y="30"/>
                      </a:lnTo>
                      <a:lnTo>
                        <a:pt x="2809" y="29"/>
                      </a:lnTo>
                      <a:lnTo>
                        <a:pt x="2808" y="28"/>
                      </a:lnTo>
                      <a:lnTo>
                        <a:pt x="2807" y="27"/>
                      </a:lnTo>
                      <a:lnTo>
                        <a:pt x="2808" y="27"/>
                      </a:lnTo>
                      <a:close/>
                      <a:moveTo>
                        <a:pt x="986" y="0"/>
                      </a:moveTo>
                      <a:lnTo>
                        <a:pt x="988" y="3"/>
                      </a:lnTo>
                      <a:lnTo>
                        <a:pt x="989" y="4"/>
                      </a:lnTo>
                      <a:lnTo>
                        <a:pt x="989" y="5"/>
                      </a:lnTo>
                      <a:lnTo>
                        <a:pt x="990" y="6"/>
                      </a:lnTo>
                      <a:lnTo>
                        <a:pt x="990" y="7"/>
                      </a:lnTo>
                      <a:lnTo>
                        <a:pt x="992" y="8"/>
                      </a:lnTo>
                      <a:lnTo>
                        <a:pt x="994" y="9"/>
                      </a:lnTo>
                      <a:lnTo>
                        <a:pt x="1000" y="8"/>
                      </a:lnTo>
                      <a:lnTo>
                        <a:pt x="1003" y="8"/>
                      </a:lnTo>
                      <a:lnTo>
                        <a:pt x="1007" y="9"/>
                      </a:lnTo>
                      <a:lnTo>
                        <a:pt x="1009" y="11"/>
                      </a:lnTo>
                      <a:lnTo>
                        <a:pt x="1010" y="14"/>
                      </a:lnTo>
                      <a:lnTo>
                        <a:pt x="1011" y="18"/>
                      </a:lnTo>
                      <a:lnTo>
                        <a:pt x="1012" y="22"/>
                      </a:lnTo>
                      <a:lnTo>
                        <a:pt x="1014" y="29"/>
                      </a:lnTo>
                      <a:lnTo>
                        <a:pt x="1020" y="36"/>
                      </a:lnTo>
                      <a:lnTo>
                        <a:pt x="1023" y="42"/>
                      </a:lnTo>
                      <a:lnTo>
                        <a:pt x="1023" y="48"/>
                      </a:lnTo>
                      <a:lnTo>
                        <a:pt x="1025" y="53"/>
                      </a:lnTo>
                      <a:lnTo>
                        <a:pt x="1030" y="60"/>
                      </a:lnTo>
                      <a:lnTo>
                        <a:pt x="1032" y="61"/>
                      </a:lnTo>
                      <a:lnTo>
                        <a:pt x="1034" y="64"/>
                      </a:lnTo>
                      <a:lnTo>
                        <a:pt x="1036" y="68"/>
                      </a:lnTo>
                      <a:lnTo>
                        <a:pt x="1039" y="71"/>
                      </a:lnTo>
                      <a:lnTo>
                        <a:pt x="1040" y="73"/>
                      </a:lnTo>
                      <a:lnTo>
                        <a:pt x="1040" y="76"/>
                      </a:lnTo>
                      <a:lnTo>
                        <a:pt x="1039" y="77"/>
                      </a:lnTo>
                      <a:lnTo>
                        <a:pt x="1037" y="79"/>
                      </a:lnTo>
                      <a:lnTo>
                        <a:pt x="1036" y="79"/>
                      </a:lnTo>
                      <a:lnTo>
                        <a:pt x="1034" y="79"/>
                      </a:lnTo>
                      <a:lnTo>
                        <a:pt x="1032" y="79"/>
                      </a:lnTo>
                      <a:lnTo>
                        <a:pt x="1030" y="79"/>
                      </a:lnTo>
                      <a:lnTo>
                        <a:pt x="1028" y="79"/>
                      </a:lnTo>
                      <a:lnTo>
                        <a:pt x="1025" y="79"/>
                      </a:lnTo>
                      <a:lnTo>
                        <a:pt x="1023" y="80"/>
                      </a:lnTo>
                      <a:lnTo>
                        <a:pt x="1022" y="82"/>
                      </a:lnTo>
                      <a:lnTo>
                        <a:pt x="1023" y="84"/>
                      </a:lnTo>
                      <a:lnTo>
                        <a:pt x="1024" y="86"/>
                      </a:lnTo>
                      <a:lnTo>
                        <a:pt x="1025" y="87"/>
                      </a:lnTo>
                      <a:lnTo>
                        <a:pt x="1025" y="91"/>
                      </a:lnTo>
                      <a:lnTo>
                        <a:pt x="1024" y="92"/>
                      </a:lnTo>
                      <a:lnTo>
                        <a:pt x="1023" y="94"/>
                      </a:lnTo>
                      <a:lnTo>
                        <a:pt x="1022" y="95"/>
                      </a:lnTo>
                      <a:lnTo>
                        <a:pt x="1021" y="97"/>
                      </a:lnTo>
                      <a:lnTo>
                        <a:pt x="1021" y="100"/>
                      </a:lnTo>
                      <a:lnTo>
                        <a:pt x="1023" y="103"/>
                      </a:lnTo>
                      <a:lnTo>
                        <a:pt x="1024" y="105"/>
                      </a:lnTo>
                      <a:lnTo>
                        <a:pt x="1028" y="106"/>
                      </a:lnTo>
                      <a:lnTo>
                        <a:pt x="1030" y="106"/>
                      </a:lnTo>
                      <a:lnTo>
                        <a:pt x="1033" y="105"/>
                      </a:lnTo>
                      <a:lnTo>
                        <a:pt x="1035" y="105"/>
                      </a:lnTo>
                      <a:lnTo>
                        <a:pt x="1037" y="104"/>
                      </a:lnTo>
                      <a:lnTo>
                        <a:pt x="1040" y="104"/>
                      </a:lnTo>
                      <a:lnTo>
                        <a:pt x="1042" y="104"/>
                      </a:lnTo>
                      <a:lnTo>
                        <a:pt x="1045" y="106"/>
                      </a:lnTo>
                      <a:lnTo>
                        <a:pt x="1046" y="107"/>
                      </a:lnTo>
                      <a:lnTo>
                        <a:pt x="1048" y="108"/>
                      </a:lnTo>
                      <a:lnTo>
                        <a:pt x="1051" y="109"/>
                      </a:lnTo>
                      <a:lnTo>
                        <a:pt x="1053" y="109"/>
                      </a:lnTo>
                      <a:lnTo>
                        <a:pt x="1055" y="111"/>
                      </a:lnTo>
                      <a:lnTo>
                        <a:pt x="1056" y="113"/>
                      </a:lnTo>
                      <a:lnTo>
                        <a:pt x="1056" y="119"/>
                      </a:lnTo>
                      <a:lnTo>
                        <a:pt x="1053" y="126"/>
                      </a:lnTo>
                      <a:lnTo>
                        <a:pt x="1052" y="133"/>
                      </a:lnTo>
                      <a:lnTo>
                        <a:pt x="1052" y="134"/>
                      </a:lnTo>
                      <a:lnTo>
                        <a:pt x="1053" y="137"/>
                      </a:lnTo>
                      <a:lnTo>
                        <a:pt x="1054" y="139"/>
                      </a:lnTo>
                      <a:lnTo>
                        <a:pt x="1054" y="141"/>
                      </a:lnTo>
                      <a:lnTo>
                        <a:pt x="1054" y="145"/>
                      </a:lnTo>
                      <a:lnTo>
                        <a:pt x="1056" y="151"/>
                      </a:lnTo>
                      <a:lnTo>
                        <a:pt x="1058" y="158"/>
                      </a:lnTo>
                      <a:lnTo>
                        <a:pt x="1063" y="161"/>
                      </a:lnTo>
                      <a:lnTo>
                        <a:pt x="1065" y="152"/>
                      </a:lnTo>
                      <a:lnTo>
                        <a:pt x="1065" y="145"/>
                      </a:lnTo>
                      <a:lnTo>
                        <a:pt x="1067" y="136"/>
                      </a:lnTo>
                      <a:lnTo>
                        <a:pt x="1070" y="128"/>
                      </a:lnTo>
                      <a:lnTo>
                        <a:pt x="1078" y="122"/>
                      </a:lnTo>
                      <a:lnTo>
                        <a:pt x="1080" y="120"/>
                      </a:lnTo>
                      <a:lnTo>
                        <a:pt x="1083" y="119"/>
                      </a:lnTo>
                      <a:lnTo>
                        <a:pt x="1086" y="118"/>
                      </a:lnTo>
                      <a:lnTo>
                        <a:pt x="1088" y="117"/>
                      </a:lnTo>
                      <a:lnTo>
                        <a:pt x="1091" y="117"/>
                      </a:lnTo>
                      <a:lnTo>
                        <a:pt x="1094" y="117"/>
                      </a:lnTo>
                      <a:lnTo>
                        <a:pt x="1096" y="119"/>
                      </a:lnTo>
                      <a:lnTo>
                        <a:pt x="1098" y="126"/>
                      </a:lnTo>
                      <a:lnTo>
                        <a:pt x="1101" y="131"/>
                      </a:lnTo>
                      <a:lnTo>
                        <a:pt x="1107" y="137"/>
                      </a:lnTo>
                      <a:lnTo>
                        <a:pt x="1111" y="140"/>
                      </a:lnTo>
                      <a:lnTo>
                        <a:pt x="1113" y="144"/>
                      </a:lnTo>
                      <a:lnTo>
                        <a:pt x="1114" y="148"/>
                      </a:lnTo>
                      <a:lnTo>
                        <a:pt x="1116" y="152"/>
                      </a:lnTo>
                      <a:lnTo>
                        <a:pt x="1113" y="156"/>
                      </a:lnTo>
                      <a:lnTo>
                        <a:pt x="1112" y="158"/>
                      </a:lnTo>
                      <a:lnTo>
                        <a:pt x="1109" y="159"/>
                      </a:lnTo>
                      <a:lnTo>
                        <a:pt x="1107" y="161"/>
                      </a:lnTo>
                      <a:lnTo>
                        <a:pt x="1105" y="163"/>
                      </a:lnTo>
                      <a:lnTo>
                        <a:pt x="1100" y="171"/>
                      </a:lnTo>
                      <a:lnTo>
                        <a:pt x="1099" y="180"/>
                      </a:lnTo>
                      <a:lnTo>
                        <a:pt x="1101" y="190"/>
                      </a:lnTo>
                      <a:lnTo>
                        <a:pt x="1107" y="196"/>
                      </a:lnTo>
                      <a:lnTo>
                        <a:pt x="1108" y="197"/>
                      </a:lnTo>
                      <a:lnTo>
                        <a:pt x="1110" y="199"/>
                      </a:lnTo>
                      <a:lnTo>
                        <a:pt x="1111" y="199"/>
                      </a:lnTo>
                      <a:lnTo>
                        <a:pt x="1112" y="201"/>
                      </a:lnTo>
                      <a:lnTo>
                        <a:pt x="1113" y="203"/>
                      </a:lnTo>
                      <a:lnTo>
                        <a:pt x="1116" y="205"/>
                      </a:lnTo>
                      <a:lnTo>
                        <a:pt x="1118" y="206"/>
                      </a:lnTo>
                      <a:lnTo>
                        <a:pt x="1120" y="207"/>
                      </a:lnTo>
                      <a:lnTo>
                        <a:pt x="1122" y="206"/>
                      </a:lnTo>
                      <a:lnTo>
                        <a:pt x="1124" y="205"/>
                      </a:lnTo>
                      <a:lnTo>
                        <a:pt x="1125" y="204"/>
                      </a:lnTo>
                      <a:lnTo>
                        <a:pt x="1125" y="202"/>
                      </a:lnTo>
                      <a:lnTo>
                        <a:pt x="1127" y="201"/>
                      </a:lnTo>
                      <a:lnTo>
                        <a:pt x="1127" y="194"/>
                      </a:lnTo>
                      <a:lnTo>
                        <a:pt x="1124" y="190"/>
                      </a:lnTo>
                      <a:lnTo>
                        <a:pt x="1122" y="184"/>
                      </a:lnTo>
                      <a:lnTo>
                        <a:pt x="1122" y="179"/>
                      </a:lnTo>
                      <a:lnTo>
                        <a:pt x="1124" y="172"/>
                      </a:lnTo>
                      <a:lnTo>
                        <a:pt x="1128" y="169"/>
                      </a:lnTo>
                      <a:lnTo>
                        <a:pt x="1133" y="168"/>
                      </a:lnTo>
                      <a:lnTo>
                        <a:pt x="1139" y="168"/>
                      </a:lnTo>
                      <a:lnTo>
                        <a:pt x="1144" y="168"/>
                      </a:lnTo>
                      <a:lnTo>
                        <a:pt x="1150" y="166"/>
                      </a:lnTo>
                      <a:lnTo>
                        <a:pt x="1152" y="162"/>
                      </a:lnTo>
                      <a:lnTo>
                        <a:pt x="1152" y="158"/>
                      </a:lnTo>
                      <a:lnTo>
                        <a:pt x="1151" y="152"/>
                      </a:lnTo>
                      <a:lnTo>
                        <a:pt x="1149" y="147"/>
                      </a:lnTo>
                      <a:lnTo>
                        <a:pt x="1149" y="144"/>
                      </a:lnTo>
                      <a:lnTo>
                        <a:pt x="1149" y="140"/>
                      </a:lnTo>
                      <a:lnTo>
                        <a:pt x="1149" y="137"/>
                      </a:lnTo>
                      <a:lnTo>
                        <a:pt x="1151" y="134"/>
                      </a:lnTo>
                      <a:lnTo>
                        <a:pt x="1153" y="131"/>
                      </a:lnTo>
                      <a:lnTo>
                        <a:pt x="1155" y="130"/>
                      </a:lnTo>
                      <a:lnTo>
                        <a:pt x="1160" y="130"/>
                      </a:lnTo>
                      <a:lnTo>
                        <a:pt x="1163" y="129"/>
                      </a:lnTo>
                      <a:lnTo>
                        <a:pt x="1166" y="128"/>
                      </a:lnTo>
                      <a:lnTo>
                        <a:pt x="1167" y="126"/>
                      </a:lnTo>
                      <a:lnTo>
                        <a:pt x="1168" y="123"/>
                      </a:lnTo>
                      <a:lnTo>
                        <a:pt x="1168" y="119"/>
                      </a:lnTo>
                      <a:lnTo>
                        <a:pt x="1165" y="116"/>
                      </a:lnTo>
                      <a:lnTo>
                        <a:pt x="1163" y="113"/>
                      </a:lnTo>
                      <a:lnTo>
                        <a:pt x="1160" y="109"/>
                      </a:lnTo>
                      <a:lnTo>
                        <a:pt x="1157" y="106"/>
                      </a:lnTo>
                      <a:lnTo>
                        <a:pt x="1156" y="103"/>
                      </a:lnTo>
                      <a:lnTo>
                        <a:pt x="1155" y="101"/>
                      </a:lnTo>
                      <a:lnTo>
                        <a:pt x="1155" y="97"/>
                      </a:lnTo>
                      <a:lnTo>
                        <a:pt x="1156" y="94"/>
                      </a:lnTo>
                      <a:lnTo>
                        <a:pt x="1157" y="92"/>
                      </a:lnTo>
                      <a:lnTo>
                        <a:pt x="1160" y="91"/>
                      </a:lnTo>
                      <a:lnTo>
                        <a:pt x="1166" y="88"/>
                      </a:lnTo>
                      <a:lnTo>
                        <a:pt x="1176" y="88"/>
                      </a:lnTo>
                      <a:lnTo>
                        <a:pt x="1186" y="91"/>
                      </a:lnTo>
                      <a:lnTo>
                        <a:pt x="1195" y="93"/>
                      </a:lnTo>
                      <a:lnTo>
                        <a:pt x="1199" y="93"/>
                      </a:lnTo>
                      <a:lnTo>
                        <a:pt x="1204" y="93"/>
                      </a:lnTo>
                      <a:lnTo>
                        <a:pt x="1208" y="93"/>
                      </a:lnTo>
                      <a:lnTo>
                        <a:pt x="1211" y="95"/>
                      </a:lnTo>
                      <a:lnTo>
                        <a:pt x="1214" y="97"/>
                      </a:lnTo>
                      <a:lnTo>
                        <a:pt x="1215" y="100"/>
                      </a:lnTo>
                      <a:lnTo>
                        <a:pt x="1216" y="102"/>
                      </a:lnTo>
                      <a:lnTo>
                        <a:pt x="1218" y="104"/>
                      </a:lnTo>
                      <a:lnTo>
                        <a:pt x="1220" y="105"/>
                      </a:lnTo>
                      <a:lnTo>
                        <a:pt x="1222" y="106"/>
                      </a:lnTo>
                      <a:lnTo>
                        <a:pt x="1226" y="107"/>
                      </a:lnTo>
                      <a:lnTo>
                        <a:pt x="1227" y="109"/>
                      </a:lnTo>
                      <a:lnTo>
                        <a:pt x="1228" y="111"/>
                      </a:lnTo>
                      <a:lnTo>
                        <a:pt x="1229" y="113"/>
                      </a:lnTo>
                      <a:lnTo>
                        <a:pt x="1231" y="114"/>
                      </a:lnTo>
                      <a:lnTo>
                        <a:pt x="1232" y="114"/>
                      </a:lnTo>
                      <a:lnTo>
                        <a:pt x="1234" y="115"/>
                      </a:lnTo>
                      <a:lnTo>
                        <a:pt x="1236" y="116"/>
                      </a:lnTo>
                      <a:lnTo>
                        <a:pt x="1236" y="117"/>
                      </a:lnTo>
                      <a:lnTo>
                        <a:pt x="1238" y="118"/>
                      </a:lnTo>
                      <a:lnTo>
                        <a:pt x="1239" y="120"/>
                      </a:lnTo>
                      <a:lnTo>
                        <a:pt x="1240" y="123"/>
                      </a:lnTo>
                      <a:lnTo>
                        <a:pt x="1241" y="124"/>
                      </a:lnTo>
                      <a:lnTo>
                        <a:pt x="1240" y="126"/>
                      </a:lnTo>
                      <a:lnTo>
                        <a:pt x="1239" y="126"/>
                      </a:lnTo>
                      <a:lnTo>
                        <a:pt x="1237" y="127"/>
                      </a:lnTo>
                      <a:lnTo>
                        <a:pt x="1234" y="127"/>
                      </a:lnTo>
                      <a:lnTo>
                        <a:pt x="1232" y="127"/>
                      </a:lnTo>
                      <a:lnTo>
                        <a:pt x="1231" y="127"/>
                      </a:lnTo>
                      <a:lnTo>
                        <a:pt x="1229" y="128"/>
                      </a:lnTo>
                      <a:lnTo>
                        <a:pt x="1229" y="129"/>
                      </a:lnTo>
                      <a:lnTo>
                        <a:pt x="1229" y="130"/>
                      </a:lnTo>
                      <a:lnTo>
                        <a:pt x="1229" y="133"/>
                      </a:lnTo>
                      <a:lnTo>
                        <a:pt x="1232" y="133"/>
                      </a:lnTo>
                      <a:lnTo>
                        <a:pt x="1234" y="134"/>
                      </a:lnTo>
                      <a:lnTo>
                        <a:pt x="1237" y="136"/>
                      </a:lnTo>
                      <a:lnTo>
                        <a:pt x="1238" y="138"/>
                      </a:lnTo>
                      <a:lnTo>
                        <a:pt x="1239" y="141"/>
                      </a:lnTo>
                      <a:lnTo>
                        <a:pt x="1238" y="144"/>
                      </a:lnTo>
                      <a:lnTo>
                        <a:pt x="1237" y="146"/>
                      </a:lnTo>
                      <a:lnTo>
                        <a:pt x="1233" y="148"/>
                      </a:lnTo>
                      <a:lnTo>
                        <a:pt x="1231" y="150"/>
                      </a:lnTo>
                      <a:lnTo>
                        <a:pt x="1228" y="151"/>
                      </a:lnTo>
                      <a:lnTo>
                        <a:pt x="1225" y="152"/>
                      </a:lnTo>
                      <a:lnTo>
                        <a:pt x="1221" y="153"/>
                      </a:lnTo>
                      <a:lnTo>
                        <a:pt x="1218" y="155"/>
                      </a:lnTo>
                      <a:lnTo>
                        <a:pt x="1216" y="156"/>
                      </a:lnTo>
                      <a:lnTo>
                        <a:pt x="1216" y="157"/>
                      </a:lnTo>
                      <a:lnTo>
                        <a:pt x="1217" y="159"/>
                      </a:lnTo>
                      <a:lnTo>
                        <a:pt x="1218" y="160"/>
                      </a:lnTo>
                      <a:lnTo>
                        <a:pt x="1220" y="161"/>
                      </a:lnTo>
                      <a:lnTo>
                        <a:pt x="1222" y="163"/>
                      </a:lnTo>
                      <a:lnTo>
                        <a:pt x="1225" y="166"/>
                      </a:lnTo>
                      <a:lnTo>
                        <a:pt x="1227" y="167"/>
                      </a:lnTo>
                      <a:lnTo>
                        <a:pt x="1228" y="169"/>
                      </a:lnTo>
                      <a:lnTo>
                        <a:pt x="1228" y="171"/>
                      </a:lnTo>
                      <a:lnTo>
                        <a:pt x="1227" y="173"/>
                      </a:lnTo>
                      <a:lnTo>
                        <a:pt x="1227" y="174"/>
                      </a:lnTo>
                      <a:lnTo>
                        <a:pt x="1226" y="177"/>
                      </a:lnTo>
                      <a:lnTo>
                        <a:pt x="1225" y="179"/>
                      </a:lnTo>
                      <a:lnTo>
                        <a:pt x="1225" y="181"/>
                      </a:lnTo>
                      <a:lnTo>
                        <a:pt x="1226" y="183"/>
                      </a:lnTo>
                      <a:lnTo>
                        <a:pt x="1228" y="185"/>
                      </a:lnTo>
                      <a:lnTo>
                        <a:pt x="1230" y="188"/>
                      </a:lnTo>
                      <a:lnTo>
                        <a:pt x="1232" y="190"/>
                      </a:lnTo>
                      <a:lnTo>
                        <a:pt x="1233" y="192"/>
                      </a:lnTo>
                      <a:lnTo>
                        <a:pt x="1233" y="203"/>
                      </a:lnTo>
                      <a:lnTo>
                        <a:pt x="1229" y="212"/>
                      </a:lnTo>
                      <a:lnTo>
                        <a:pt x="1223" y="221"/>
                      </a:lnTo>
                      <a:lnTo>
                        <a:pt x="1216" y="229"/>
                      </a:lnTo>
                      <a:lnTo>
                        <a:pt x="1214" y="233"/>
                      </a:lnTo>
                      <a:lnTo>
                        <a:pt x="1209" y="237"/>
                      </a:lnTo>
                      <a:lnTo>
                        <a:pt x="1204" y="243"/>
                      </a:lnTo>
                      <a:lnTo>
                        <a:pt x="1198" y="247"/>
                      </a:lnTo>
                      <a:lnTo>
                        <a:pt x="1193" y="249"/>
                      </a:lnTo>
                      <a:lnTo>
                        <a:pt x="1188" y="247"/>
                      </a:lnTo>
                      <a:lnTo>
                        <a:pt x="1182" y="239"/>
                      </a:lnTo>
                      <a:lnTo>
                        <a:pt x="1177" y="232"/>
                      </a:lnTo>
                      <a:lnTo>
                        <a:pt x="1171" y="225"/>
                      </a:lnTo>
                      <a:lnTo>
                        <a:pt x="1167" y="223"/>
                      </a:lnTo>
                      <a:lnTo>
                        <a:pt x="1164" y="223"/>
                      </a:lnTo>
                      <a:lnTo>
                        <a:pt x="1163" y="224"/>
                      </a:lnTo>
                      <a:lnTo>
                        <a:pt x="1161" y="226"/>
                      </a:lnTo>
                      <a:lnTo>
                        <a:pt x="1161" y="228"/>
                      </a:lnTo>
                      <a:lnTo>
                        <a:pt x="1162" y="232"/>
                      </a:lnTo>
                      <a:lnTo>
                        <a:pt x="1162" y="234"/>
                      </a:lnTo>
                      <a:lnTo>
                        <a:pt x="1163" y="236"/>
                      </a:lnTo>
                      <a:lnTo>
                        <a:pt x="1164" y="238"/>
                      </a:lnTo>
                      <a:lnTo>
                        <a:pt x="1165" y="240"/>
                      </a:lnTo>
                      <a:lnTo>
                        <a:pt x="1166" y="243"/>
                      </a:lnTo>
                      <a:lnTo>
                        <a:pt x="1166" y="244"/>
                      </a:lnTo>
                      <a:lnTo>
                        <a:pt x="1167" y="246"/>
                      </a:lnTo>
                      <a:lnTo>
                        <a:pt x="1168" y="248"/>
                      </a:lnTo>
                      <a:lnTo>
                        <a:pt x="1168" y="250"/>
                      </a:lnTo>
                      <a:lnTo>
                        <a:pt x="1170" y="253"/>
                      </a:lnTo>
                      <a:lnTo>
                        <a:pt x="1170" y="255"/>
                      </a:lnTo>
                      <a:lnTo>
                        <a:pt x="1170" y="256"/>
                      </a:lnTo>
                      <a:lnTo>
                        <a:pt x="1170" y="258"/>
                      </a:lnTo>
                      <a:lnTo>
                        <a:pt x="1168" y="258"/>
                      </a:lnTo>
                      <a:lnTo>
                        <a:pt x="1166" y="258"/>
                      </a:lnTo>
                      <a:lnTo>
                        <a:pt x="1164" y="258"/>
                      </a:lnTo>
                      <a:lnTo>
                        <a:pt x="1157" y="255"/>
                      </a:lnTo>
                      <a:lnTo>
                        <a:pt x="1153" y="250"/>
                      </a:lnTo>
                      <a:lnTo>
                        <a:pt x="1149" y="247"/>
                      </a:lnTo>
                      <a:lnTo>
                        <a:pt x="1143" y="244"/>
                      </a:lnTo>
                      <a:lnTo>
                        <a:pt x="1135" y="245"/>
                      </a:lnTo>
                      <a:lnTo>
                        <a:pt x="1132" y="247"/>
                      </a:lnTo>
                      <a:lnTo>
                        <a:pt x="1133" y="249"/>
                      </a:lnTo>
                      <a:lnTo>
                        <a:pt x="1135" y="254"/>
                      </a:lnTo>
                      <a:lnTo>
                        <a:pt x="1139" y="258"/>
                      </a:lnTo>
                      <a:lnTo>
                        <a:pt x="1140" y="262"/>
                      </a:lnTo>
                      <a:lnTo>
                        <a:pt x="1140" y="267"/>
                      </a:lnTo>
                      <a:lnTo>
                        <a:pt x="1133" y="277"/>
                      </a:lnTo>
                      <a:lnTo>
                        <a:pt x="1124" y="284"/>
                      </a:lnTo>
                      <a:lnTo>
                        <a:pt x="1120" y="287"/>
                      </a:lnTo>
                      <a:lnTo>
                        <a:pt x="1116" y="289"/>
                      </a:lnTo>
                      <a:lnTo>
                        <a:pt x="1111" y="290"/>
                      </a:lnTo>
                      <a:lnTo>
                        <a:pt x="1107" y="289"/>
                      </a:lnTo>
                      <a:lnTo>
                        <a:pt x="1098" y="284"/>
                      </a:lnTo>
                      <a:lnTo>
                        <a:pt x="1091" y="278"/>
                      </a:lnTo>
                      <a:lnTo>
                        <a:pt x="1085" y="271"/>
                      </a:lnTo>
                      <a:lnTo>
                        <a:pt x="1078" y="267"/>
                      </a:lnTo>
                      <a:lnTo>
                        <a:pt x="1072" y="266"/>
                      </a:lnTo>
                      <a:lnTo>
                        <a:pt x="1065" y="268"/>
                      </a:lnTo>
                      <a:lnTo>
                        <a:pt x="1061" y="272"/>
                      </a:lnTo>
                      <a:lnTo>
                        <a:pt x="1059" y="277"/>
                      </a:lnTo>
                      <a:lnTo>
                        <a:pt x="1061" y="281"/>
                      </a:lnTo>
                      <a:lnTo>
                        <a:pt x="1067" y="284"/>
                      </a:lnTo>
                      <a:lnTo>
                        <a:pt x="1070" y="284"/>
                      </a:lnTo>
                      <a:lnTo>
                        <a:pt x="1074" y="286"/>
                      </a:lnTo>
                      <a:lnTo>
                        <a:pt x="1075" y="287"/>
                      </a:lnTo>
                      <a:lnTo>
                        <a:pt x="1076" y="289"/>
                      </a:lnTo>
                      <a:lnTo>
                        <a:pt x="1077" y="291"/>
                      </a:lnTo>
                      <a:lnTo>
                        <a:pt x="1078" y="293"/>
                      </a:lnTo>
                      <a:lnTo>
                        <a:pt x="1084" y="297"/>
                      </a:lnTo>
                      <a:lnTo>
                        <a:pt x="1089" y="298"/>
                      </a:lnTo>
                      <a:lnTo>
                        <a:pt x="1098" y="298"/>
                      </a:lnTo>
                      <a:lnTo>
                        <a:pt x="1102" y="298"/>
                      </a:lnTo>
                      <a:lnTo>
                        <a:pt x="1107" y="298"/>
                      </a:lnTo>
                      <a:lnTo>
                        <a:pt x="1111" y="298"/>
                      </a:lnTo>
                      <a:lnTo>
                        <a:pt x="1116" y="300"/>
                      </a:lnTo>
                      <a:lnTo>
                        <a:pt x="1118" y="304"/>
                      </a:lnTo>
                      <a:lnTo>
                        <a:pt x="1119" y="308"/>
                      </a:lnTo>
                      <a:lnTo>
                        <a:pt x="1118" y="311"/>
                      </a:lnTo>
                      <a:lnTo>
                        <a:pt x="1116" y="313"/>
                      </a:lnTo>
                      <a:lnTo>
                        <a:pt x="1113" y="315"/>
                      </a:lnTo>
                      <a:lnTo>
                        <a:pt x="1106" y="324"/>
                      </a:lnTo>
                      <a:lnTo>
                        <a:pt x="1100" y="335"/>
                      </a:lnTo>
                      <a:lnTo>
                        <a:pt x="1094" y="345"/>
                      </a:lnTo>
                      <a:lnTo>
                        <a:pt x="1087" y="353"/>
                      </a:lnTo>
                      <a:lnTo>
                        <a:pt x="1081" y="354"/>
                      </a:lnTo>
                      <a:lnTo>
                        <a:pt x="1076" y="354"/>
                      </a:lnTo>
                      <a:lnTo>
                        <a:pt x="1069" y="353"/>
                      </a:lnTo>
                      <a:lnTo>
                        <a:pt x="1064" y="353"/>
                      </a:lnTo>
                      <a:lnTo>
                        <a:pt x="1059" y="353"/>
                      </a:lnTo>
                      <a:lnTo>
                        <a:pt x="1056" y="357"/>
                      </a:lnTo>
                      <a:lnTo>
                        <a:pt x="1055" y="362"/>
                      </a:lnTo>
                      <a:lnTo>
                        <a:pt x="1055" y="366"/>
                      </a:lnTo>
                      <a:lnTo>
                        <a:pt x="1056" y="370"/>
                      </a:lnTo>
                      <a:lnTo>
                        <a:pt x="1055" y="374"/>
                      </a:lnTo>
                      <a:lnTo>
                        <a:pt x="1053" y="376"/>
                      </a:lnTo>
                      <a:lnTo>
                        <a:pt x="1047" y="377"/>
                      </a:lnTo>
                      <a:lnTo>
                        <a:pt x="1041" y="376"/>
                      </a:lnTo>
                      <a:lnTo>
                        <a:pt x="1033" y="374"/>
                      </a:lnTo>
                      <a:lnTo>
                        <a:pt x="1025" y="373"/>
                      </a:lnTo>
                      <a:lnTo>
                        <a:pt x="1019" y="373"/>
                      </a:lnTo>
                      <a:lnTo>
                        <a:pt x="1014" y="375"/>
                      </a:lnTo>
                      <a:lnTo>
                        <a:pt x="1012" y="377"/>
                      </a:lnTo>
                      <a:lnTo>
                        <a:pt x="1015" y="379"/>
                      </a:lnTo>
                      <a:lnTo>
                        <a:pt x="1020" y="381"/>
                      </a:lnTo>
                      <a:lnTo>
                        <a:pt x="1026" y="384"/>
                      </a:lnTo>
                      <a:lnTo>
                        <a:pt x="1031" y="385"/>
                      </a:lnTo>
                      <a:lnTo>
                        <a:pt x="1034" y="386"/>
                      </a:lnTo>
                      <a:lnTo>
                        <a:pt x="1039" y="388"/>
                      </a:lnTo>
                      <a:lnTo>
                        <a:pt x="1043" y="391"/>
                      </a:lnTo>
                      <a:lnTo>
                        <a:pt x="1046" y="395"/>
                      </a:lnTo>
                      <a:lnTo>
                        <a:pt x="1045" y="399"/>
                      </a:lnTo>
                      <a:lnTo>
                        <a:pt x="1041" y="403"/>
                      </a:lnTo>
                      <a:lnTo>
                        <a:pt x="1033" y="407"/>
                      </a:lnTo>
                      <a:lnTo>
                        <a:pt x="1024" y="410"/>
                      </a:lnTo>
                      <a:lnTo>
                        <a:pt x="1017" y="414"/>
                      </a:lnTo>
                      <a:lnTo>
                        <a:pt x="1014" y="415"/>
                      </a:lnTo>
                      <a:lnTo>
                        <a:pt x="1014" y="418"/>
                      </a:lnTo>
                      <a:lnTo>
                        <a:pt x="1013" y="420"/>
                      </a:lnTo>
                      <a:lnTo>
                        <a:pt x="1013" y="422"/>
                      </a:lnTo>
                      <a:lnTo>
                        <a:pt x="1013" y="424"/>
                      </a:lnTo>
                      <a:lnTo>
                        <a:pt x="1012" y="425"/>
                      </a:lnTo>
                      <a:lnTo>
                        <a:pt x="1010" y="430"/>
                      </a:lnTo>
                      <a:lnTo>
                        <a:pt x="1008" y="434"/>
                      </a:lnTo>
                      <a:lnTo>
                        <a:pt x="1004" y="437"/>
                      </a:lnTo>
                      <a:lnTo>
                        <a:pt x="1001" y="441"/>
                      </a:lnTo>
                      <a:lnTo>
                        <a:pt x="992" y="452"/>
                      </a:lnTo>
                      <a:lnTo>
                        <a:pt x="986" y="464"/>
                      </a:lnTo>
                      <a:lnTo>
                        <a:pt x="979" y="478"/>
                      </a:lnTo>
                      <a:lnTo>
                        <a:pt x="974" y="489"/>
                      </a:lnTo>
                      <a:lnTo>
                        <a:pt x="968" y="499"/>
                      </a:lnTo>
                      <a:lnTo>
                        <a:pt x="964" y="510"/>
                      </a:lnTo>
                      <a:lnTo>
                        <a:pt x="961" y="522"/>
                      </a:lnTo>
                      <a:lnTo>
                        <a:pt x="961" y="531"/>
                      </a:lnTo>
                      <a:lnTo>
                        <a:pt x="960" y="542"/>
                      </a:lnTo>
                      <a:lnTo>
                        <a:pt x="960" y="553"/>
                      </a:lnTo>
                      <a:lnTo>
                        <a:pt x="963" y="563"/>
                      </a:lnTo>
                      <a:lnTo>
                        <a:pt x="966" y="571"/>
                      </a:lnTo>
                      <a:lnTo>
                        <a:pt x="971" y="575"/>
                      </a:lnTo>
                      <a:lnTo>
                        <a:pt x="977" y="577"/>
                      </a:lnTo>
                      <a:lnTo>
                        <a:pt x="983" y="577"/>
                      </a:lnTo>
                      <a:lnTo>
                        <a:pt x="990" y="578"/>
                      </a:lnTo>
                      <a:lnTo>
                        <a:pt x="994" y="582"/>
                      </a:lnTo>
                      <a:lnTo>
                        <a:pt x="998" y="591"/>
                      </a:lnTo>
                      <a:lnTo>
                        <a:pt x="998" y="599"/>
                      </a:lnTo>
                      <a:lnTo>
                        <a:pt x="998" y="607"/>
                      </a:lnTo>
                      <a:lnTo>
                        <a:pt x="999" y="615"/>
                      </a:lnTo>
                      <a:lnTo>
                        <a:pt x="1002" y="622"/>
                      </a:lnTo>
                      <a:lnTo>
                        <a:pt x="1004" y="629"/>
                      </a:lnTo>
                      <a:lnTo>
                        <a:pt x="1005" y="637"/>
                      </a:lnTo>
                      <a:lnTo>
                        <a:pt x="1005" y="639"/>
                      </a:lnTo>
                      <a:lnTo>
                        <a:pt x="1005" y="641"/>
                      </a:lnTo>
                      <a:lnTo>
                        <a:pt x="1007" y="642"/>
                      </a:lnTo>
                      <a:lnTo>
                        <a:pt x="1007" y="644"/>
                      </a:lnTo>
                      <a:lnTo>
                        <a:pt x="1008" y="646"/>
                      </a:lnTo>
                      <a:lnTo>
                        <a:pt x="1010" y="646"/>
                      </a:lnTo>
                      <a:lnTo>
                        <a:pt x="1012" y="646"/>
                      </a:lnTo>
                      <a:lnTo>
                        <a:pt x="1018" y="643"/>
                      </a:lnTo>
                      <a:lnTo>
                        <a:pt x="1022" y="640"/>
                      </a:lnTo>
                      <a:lnTo>
                        <a:pt x="1026" y="638"/>
                      </a:lnTo>
                      <a:lnTo>
                        <a:pt x="1032" y="637"/>
                      </a:lnTo>
                      <a:lnTo>
                        <a:pt x="1039" y="639"/>
                      </a:lnTo>
                      <a:lnTo>
                        <a:pt x="1042" y="641"/>
                      </a:lnTo>
                      <a:lnTo>
                        <a:pt x="1045" y="643"/>
                      </a:lnTo>
                      <a:lnTo>
                        <a:pt x="1048" y="646"/>
                      </a:lnTo>
                      <a:lnTo>
                        <a:pt x="1052" y="647"/>
                      </a:lnTo>
                      <a:lnTo>
                        <a:pt x="1056" y="648"/>
                      </a:lnTo>
                      <a:lnTo>
                        <a:pt x="1066" y="648"/>
                      </a:lnTo>
                      <a:lnTo>
                        <a:pt x="1078" y="646"/>
                      </a:lnTo>
                      <a:lnTo>
                        <a:pt x="1086" y="647"/>
                      </a:lnTo>
                      <a:lnTo>
                        <a:pt x="1091" y="650"/>
                      </a:lnTo>
                      <a:lnTo>
                        <a:pt x="1095" y="655"/>
                      </a:lnTo>
                      <a:lnTo>
                        <a:pt x="1098" y="661"/>
                      </a:lnTo>
                      <a:lnTo>
                        <a:pt x="1102" y="668"/>
                      </a:lnTo>
                      <a:lnTo>
                        <a:pt x="1108" y="674"/>
                      </a:lnTo>
                      <a:lnTo>
                        <a:pt x="1116" y="679"/>
                      </a:lnTo>
                      <a:lnTo>
                        <a:pt x="1124" y="683"/>
                      </a:lnTo>
                      <a:lnTo>
                        <a:pt x="1135" y="690"/>
                      </a:lnTo>
                      <a:lnTo>
                        <a:pt x="1146" y="696"/>
                      </a:lnTo>
                      <a:lnTo>
                        <a:pt x="1159" y="703"/>
                      </a:lnTo>
                      <a:lnTo>
                        <a:pt x="1171" y="707"/>
                      </a:lnTo>
                      <a:lnTo>
                        <a:pt x="1182" y="709"/>
                      </a:lnTo>
                      <a:lnTo>
                        <a:pt x="1195" y="709"/>
                      </a:lnTo>
                      <a:lnTo>
                        <a:pt x="1201" y="709"/>
                      </a:lnTo>
                      <a:lnTo>
                        <a:pt x="1210" y="709"/>
                      </a:lnTo>
                      <a:lnTo>
                        <a:pt x="1216" y="712"/>
                      </a:lnTo>
                      <a:lnTo>
                        <a:pt x="1219" y="719"/>
                      </a:lnTo>
                      <a:lnTo>
                        <a:pt x="1221" y="727"/>
                      </a:lnTo>
                      <a:lnTo>
                        <a:pt x="1220" y="734"/>
                      </a:lnTo>
                      <a:lnTo>
                        <a:pt x="1216" y="739"/>
                      </a:lnTo>
                      <a:lnTo>
                        <a:pt x="1211" y="745"/>
                      </a:lnTo>
                      <a:lnTo>
                        <a:pt x="1209" y="751"/>
                      </a:lnTo>
                      <a:lnTo>
                        <a:pt x="1209" y="753"/>
                      </a:lnTo>
                      <a:lnTo>
                        <a:pt x="1210" y="757"/>
                      </a:lnTo>
                      <a:lnTo>
                        <a:pt x="1212" y="759"/>
                      </a:lnTo>
                      <a:lnTo>
                        <a:pt x="1214" y="762"/>
                      </a:lnTo>
                      <a:lnTo>
                        <a:pt x="1214" y="764"/>
                      </a:lnTo>
                      <a:lnTo>
                        <a:pt x="1215" y="771"/>
                      </a:lnTo>
                      <a:lnTo>
                        <a:pt x="1216" y="779"/>
                      </a:lnTo>
                      <a:lnTo>
                        <a:pt x="1217" y="785"/>
                      </a:lnTo>
                      <a:lnTo>
                        <a:pt x="1220" y="792"/>
                      </a:lnTo>
                      <a:lnTo>
                        <a:pt x="1227" y="795"/>
                      </a:lnTo>
                      <a:lnTo>
                        <a:pt x="1229" y="795"/>
                      </a:lnTo>
                      <a:lnTo>
                        <a:pt x="1231" y="795"/>
                      </a:lnTo>
                      <a:lnTo>
                        <a:pt x="1233" y="796"/>
                      </a:lnTo>
                      <a:lnTo>
                        <a:pt x="1237" y="796"/>
                      </a:lnTo>
                      <a:lnTo>
                        <a:pt x="1239" y="795"/>
                      </a:lnTo>
                      <a:lnTo>
                        <a:pt x="1241" y="794"/>
                      </a:lnTo>
                      <a:lnTo>
                        <a:pt x="1242" y="793"/>
                      </a:lnTo>
                      <a:lnTo>
                        <a:pt x="1243" y="791"/>
                      </a:lnTo>
                      <a:lnTo>
                        <a:pt x="1243" y="789"/>
                      </a:lnTo>
                      <a:lnTo>
                        <a:pt x="1242" y="786"/>
                      </a:lnTo>
                      <a:lnTo>
                        <a:pt x="1241" y="784"/>
                      </a:lnTo>
                      <a:lnTo>
                        <a:pt x="1240" y="782"/>
                      </a:lnTo>
                      <a:lnTo>
                        <a:pt x="1248" y="782"/>
                      </a:lnTo>
                      <a:lnTo>
                        <a:pt x="1253" y="785"/>
                      </a:lnTo>
                      <a:lnTo>
                        <a:pt x="1256" y="792"/>
                      </a:lnTo>
                      <a:lnTo>
                        <a:pt x="1258" y="800"/>
                      </a:lnTo>
                      <a:lnTo>
                        <a:pt x="1258" y="806"/>
                      </a:lnTo>
                      <a:lnTo>
                        <a:pt x="1258" y="813"/>
                      </a:lnTo>
                      <a:lnTo>
                        <a:pt x="1255" y="821"/>
                      </a:lnTo>
                      <a:lnTo>
                        <a:pt x="1253" y="828"/>
                      </a:lnTo>
                      <a:lnTo>
                        <a:pt x="1253" y="835"/>
                      </a:lnTo>
                      <a:lnTo>
                        <a:pt x="1254" y="842"/>
                      </a:lnTo>
                      <a:lnTo>
                        <a:pt x="1260" y="846"/>
                      </a:lnTo>
                      <a:lnTo>
                        <a:pt x="1269" y="850"/>
                      </a:lnTo>
                      <a:lnTo>
                        <a:pt x="1275" y="849"/>
                      </a:lnTo>
                      <a:lnTo>
                        <a:pt x="1279" y="845"/>
                      </a:lnTo>
                      <a:lnTo>
                        <a:pt x="1280" y="835"/>
                      </a:lnTo>
                      <a:lnTo>
                        <a:pt x="1280" y="832"/>
                      </a:lnTo>
                      <a:lnTo>
                        <a:pt x="1280" y="829"/>
                      </a:lnTo>
                      <a:lnTo>
                        <a:pt x="1281" y="827"/>
                      </a:lnTo>
                      <a:lnTo>
                        <a:pt x="1283" y="826"/>
                      </a:lnTo>
                      <a:lnTo>
                        <a:pt x="1284" y="826"/>
                      </a:lnTo>
                      <a:lnTo>
                        <a:pt x="1286" y="826"/>
                      </a:lnTo>
                      <a:lnTo>
                        <a:pt x="1288" y="826"/>
                      </a:lnTo>
                      <a:lnTo>
                        <a:pt x="1291" y="826"/>
                      </a:lnTo>
                      <a:lnTo>
                        <a:pt x="1292" y="825"/>
                      </a:lnTo>
                      <a:lnTo>
                        <a:pt x="1294" y="824"/>
                      </a:lnTo>
                      <a:lnTo>
                        <a:pt x="1295" y="822"/>
                      </a:lnTo>
                      <a:lnTo>
                        <a:pt x="1299" y="812"/>
                      </a:lnTo>
                      <a:lnTo>
                        <a:pt x="1299" y="803"/>
                      </a:lnTo>
                      <a:lnTo>
                        <a:pt x="1296" y="793"/>
                      </a:lnTo>
                      <a:lnTo>
                        <a:pt x="1293" y="783"/>
                      </a:lnTo>
                      <a:lnTo>
                        <a:pt x="1291" y="773"/>
                      </a:lnTo>
                      <a:lnTo>
                        <a:pt x="1290" y="762"/>
                      </a:lnTo>
                      <a:lnTo>
                        <a:pt x="1287" y="752"/>
                      </a:lnTo>
                      <a:lnTo>
                        <a:pt x="1284" y="742"/>
                      </a:lnTo>
                      <a:lnTo>
                        <a:pt x="1277" y="731"/>
                      </a:lnTo>
                      <a:lnTo>
                        <a:pt x="1276" y="729"/>
                      </a:lnTo>
                      <a:lnTo>
                        <a:pt x="1275" y="727"/>
                      </a:lnTo>
                      <a:lnTo>
                        <a:pt x="1275" y="726"/>
                      </a:lnTo>
                      <a:lnTo>
                        <a:pt x="1276" y="725"/>
                      </a:lnTo>
                      <a:lnTo>
                        <a:pt x="1279" y="724"/>
                      </a:lnTo>
                      <a:lnTo>
                        <a:pt x="1281" y="723"/>
                      </a:lnTo>
                      <a:lnTo>
                        <a:pt x="1284" y="723"/>
                      </a:lnTo>
                      <a:lnTo>
                        <a:pt x="1286" y="722"/>
                      </a:lnTo>
                      <a:lnTo>
                        <a:pt x="1288" y="722"/>
                      </a:lnTo>
                      <a:lnTo>
                        <a:pt x="1291" y="720"/>
                      </a:lnTo>
                      <a:lnTo>
                        <a:pt x="1302" y="716"/>
                      </a:lnTo>
                      <a:lnTo>
                        <a:pt x="1313" y="712"/>
                      </a:lnTo>
                      <a:lnTo>
                        <a:pt x="1319" y="707"/>
                      </a:lnTo>
                      <a:lnTo>
                        <a:pt x="1324" y="702"/>
                      </a:lnTo>
                      <a:lnTo>
                        <a:pt x="1328" y="696"/>
                      </a:lnTo>
                      <a:lnTo>
                        <a:pt x="1330" y="693"/>
                      </a:lnTo>
                      <a:lnTo>
                        <a:pt x="1334" y="690"/>
                      </a:lnTo>
                      <a:lnTo>
                        <a:pt x="1337" y="686"/>
                      </a:lnTo>
                      <a:lnTo>
                        <a:pt x="1339" y="683"/>
                      </a:lnTo>
                      <a:lnTo>
                        <a:pt x="1339" y="671"/>
                      </a:lnTo>
                      <a:lnTo>
                        <a:pt x="1338" y="658"/>
                      </a:lnTo>
                      <a:lnTo>
                        <a:pt x="1335" y="646"/>
                      </a:lnTo>
                      <a:lnTo>
                        <a:pt x="1330" y="622"/>
                      </a:lnTo>
                      <a:lnTo>
                        <a:pt x="1321" y="602"/>
                      </a:lnTo>
                      <a:lnTo>
                        <a:pt x="1316" y="594"/>
                      </a:lnTo>
                      <a:lnTo>
                        <a:pt x="1309" y="587"/>
                      </a:lnTo>
                      <a:lnTo>
                        <a:pt x="1304" y="580"/>
                      </a:lnTo>
                      <a:lnTo>
                        <a:pt x="1299" y="572"/>
                      </a:lnTo>
                      <a:lnTo>
                        <a:pt x="1297" y="562"/>
                      </a:lnTo>
                      <a:lnTo>
                        <a:pt x="1298" y="557"/>
                      </a:lnTo>
                      <a:lnTo>
                        <a:pt x="1298" y="554"/>
                      </a:lnTo>
                      <a:lnTo>
                        <a:pt x="1301" y="551"/>
                      </a:lnTo>
                      <a:lnTo>
                        <a:pt x="1303" y="549"/>
                      </a:lnTo>
                      <a:lnTo>
                        <a:pt x="1306" y="546"/>
                      </a:lnTo>
                      <a:lnTo>
                        <a:pt x="1309" y="544"/>
                      </a:lnTo>
                      <a:lnTo>
                        <a:pt x="1312" y="541"/>
                      </a:lnTo>
                      <a:lnTo>
                        <a:pt x="1314" y="538"/>
                      </a:lnTo>
                      <a:lnTo>
                        <a:pt x="1316" y="534"/>
                      </a:lnTo>
                      <a:lnTo>
                        <a:pt x="1317" y="531"/>
                      </a:lnTo>
                      <a:lnTo>
                        <a:pt x="1319" y="526"/>
                      </a:lnTo>
                      <a:lnTo>
                        <a:pt x="1318" y="521"/>
                      </a:lnTo>
                      <a:lnTo>
                        <a:pt x="1317" y="518"/>
                      </a:lnTo>
                      <a:lnTo>
                        <a:pt x="1315" y="513"/>
                      </a:lnTo>
                      <a:lnTo>
                        <a:pt x="1314" y="509"/>
                      </a:lnTo>
                      <a:lnTo>
                        <a:pt x="1314" y="506"/>
                      </a:lnTo>
                      <a:lnTo>
                        <a:pt x="1314" y="502"/>
                      </a:lnTo>
                      <a:lnTo>
                        <a:pt x="1313" y="499"/>
                      </a:lnTo>
                      <a:lnTo>
                        <a:pt x="1310" y="496"/>
                      </a:lnTo>
                      <a:lnTo>
                        <a:pt x="1309" y="495"/>
                      </a:lnTo>
                      <a:lnTo>
                        <a:pt x="1307" y="494"/>
                      </a:lnTo>
                      <a:lnTo>
                        <a:pt x="1305" y="493"/>
                      </a:lnTo>
                      <a:lnTo>
                        <a:pt x="1303" y="493"/>
                      </a:lnTo>
                      <a:lnTo>
                        <a:pt x="1301" y="491"/>
                      </a:lnTo>
                      <a:lnTo>
                        <a:pt x="1299" y="491"/>
                      </a:lnTo>
                      <a:lnTo>
                        <a:pt x="1297" y="491"/>
                      </a:lnTo>
                      <a:lnTo>
                        <a:pt x="1297" y="490"/>
                      </a:lnTo>
                      <a:lnTo>
                        <a:pt x="1297" y="489"/>
                      </a:lnTo>
                      <a:lnTo>
                        <a:pt x="1297" y="488"/>
                      </a:lnTo>
                      <a:lnTo>
                        <a:pt x="1299" y="486"/>
                      </a:lnTo>
                      <a:lnTo>
                        <a:pt x="1302" y="483"/>
                      </a:lnTo>
                      <a:lnTo>
                        <a:pt x="1308" y="469"/>
                      </a:lnTo>
                      <a:lnTo>
                        <a:pt x="1308" y="457"/>
                      </a:lnTo>
                      <a:lnTo>
                        <a:pt x="1302" y="445"/>
                      </a:lnTo>
                      <a:lnTo>
                        <a:pt x="1301" y="440"/>
                      </a:lnTo>
                      <a:lnTo>
                        <a:pt x="1302" y="434"/>
                      </a:lnTo>
                      <a:lnTo>
                        <a:pt x="1304" y="428"/>
                      </a:lnTo>
                      <a:lnTo>
                        <a:pt x="1305" y="425"/>
                      </a:lnTo>
                      <a:lnTo>
                        <a:pt x="1306" y="422"/>
                      </a:lnTo>
                      <a:lnTo>
                        <a:pt x="1307" y="419"/>
                      </a:lnTo>
                      <a:lnTo>
                        <a:pt x="1308" y="415"/>
                      </a:lnTo>
                      <a:lnTo>
                        <a:pt x="1310" y="412"/>
                      </a:lnTo>
                      <a:lnTo>
                        <a:pt x="1313" y="410"/>
                      </a:lnTo>
                      <a:lnTo>
                        <a:pt x="1314" y="409"/>
                      </a:lnTo>
                      <a:lnTo>
                        <a:pt x="1315" y="409"/>
                      </a:lnTo>
                      <a:lnTo>
                        <a:pt x="1317" y="410"/>
                      </a:lnTo>
                      <a:lnTo>
                        <a:pt x="1318" y="411"/>
                      </a:lnTo>
                      <a:lnTo>
                        <a:pt x="1319" y="413"/>
                      </a:lnTo>
                      <a:lnTo>
                        <a:pt x="1320" y="415"/>
                      </a:lnTo>
                      <a:lnTo>
                        <a:pt x="1321" y="417"/>
                      </a:lnTo>
                      <a:lnTo>
                        <a:pt x="1325" y="419"/>
                      </a:lnTo>
                      <a:lnTo>
                        <a:pt x="1327" y="419"/>
                      </a:lnTo>
                      <a:lnTo>
                        <a:pt x="1329" y="420"/>
                      </a:lnTo>
                      <a:lnTo>
                        <a:pt x="1332" y="420"/>
                      </a:lnTo>
                      <a:lnTo>
                        <a:pt x="1335" y="421"/>
                      </a:lnTo>
                      <a:lnTo>
                        <a:pt x="1346" y="423"/>
                      </a:lnTo>
                      <a:lnTo>
                        <a:pt x="1356" y="428"/>
                      </a:lnTo>
                      <a:lnTo>
                        <a:pt x="1365" y="430"/>
                      </a:lnTo>
                      <a:lnTo>
                        <a:pt x="1369" y="430"/>
                      </a:lnTo>
                      <a:lnTo>
                        <a:pt x="1372" y="430"/>
                      </a:lnTo>
                      <a:lnTo>
                        <a:pt x="1376" y="429"/>
                      </a:lnTo>
                      <a:lnTo>
                        <a:pt x="1380" y="429"/>
                      </a:lnTo>
                      <a:lnTo>
                        <a:pt x="1383" y="428"/>
                      </a:lnTo>
                      <a:lnTo>
                        <a:pt x="1384" y="425"/>
                      </a:lnTo>
                      <a:lnTo>
                        <a:pt x="1386" y="423"/>
                      </a:lnTo>
                      <a:lnTo>
                        <a:pt x="1389" y="421"/>
                      </a:lnTo>
                      <a:lnTo>
                        <a:pt x="1391" y="420"/>
                      </a:lnTo>
                      <a:lnTo>
                        <a:pt x="1392" y="419"/>
                      </a:lnTo>
                      <a:lnTo>
                        <a:pt x="1395" y="421"/>
                      </a:lnTo>
                      <a:lnTo>
                        <a:pt x="1401" y="425"/>
                      </a:lnTo>
                      <a:lnTo>
                        <a:pt x="1406" y="432"/>
                      </a:lnTo>
                      <a:lnTo>
                        <a:pt x="1411" y="437"/>
                      </a:lnTo>
                      <a:lnTo>
                        <a:pt x="1414" y="441"/>
                      </a:lnTo>
                      <a:lnTo>
                        <a:pt x="1424" y="450"/>
                      </a:lnTo>
                      <a:lnTo>
                        <a:pt x="1432" y="458"/>
                      </a:lnTo>
                      <a:lnTo>
                        <a:pt x="1433" y="461"/>
                      </a:lnTo>
                      <a:lnTo>
                        <a:pt x="1435" y="464"/>
                      </a:lnTo>
                      <a:lnTo>
                        <a:pt x="1437" y="467"/>
                      </a:lnTo>
                      <a:lnTo>
                        <a:pt x="1440" y="468"/>
                      </a:lnTo>
                      <a:lnTo>
                        <a:pt x="1443" y="469"/>
                      </a:lnTo>
                      <a:lnTo>
                        <a:pt x="1445" y="471"/>
                      </a:lnTo>
                      <a:lnTo>
                        <a:pt x="1447" y="472"/>
                      </a:lnTo>
                      <a:lnTo>
                        <a:pt x="1450" y="473"/>
                      </a:lnTo>
                      <a:lnTo>
                        <a:pt x="1454" y="474"/>
                      </a:lnTo>
                      <a:lnTo>
                        <a:pt x="1455" y="475"/>
                      </a:lnTo>
                      <a:lnTo>
                        <a:pt x="1457" y="476"/>
                      </a:lnTo>
                      <a:lnTo>
                        <a:pt x="1458" y="478"/>
                      </a:lnTo>
                      <a:lnTo>
                        <a:pt x="1460" y="480"/>
                      </a:lnTo>
                      <a:lnTo>
                        <a:pt x="1463" y="482"/>
                      </a:lnTo>
                      <a:lnTo>
                        <a:pt x="1468" y="483"/>
                      </a:lnTo>
                      <a:lnTo>
                        <a:pt x="1472" y="484"/>
                      </a:lnTo>
                      <a:lnTo>
                        <a:pt x="1478" y="485"/>
                      </a:lnTo>
                      <a:lnTo>
                        <a:pt x="1479" y="485"/>
                      </a:lnTo>
                      <a:lnTo>
                        <a:pt x="1480" y="485"/>
                      </a:lnTo>
                      <a:lnTo>
                        <a:pt x="1480" y="484"/>
                      </a:lnTo>
                      <a:lnTo>
                        <a:pt x="1481" y="483"/>
                      </a:lnTo>
                      <a:lnTo>
                        <a:pt x="1482" y="482"/>
                      </a:lnTo>
                      <a:lnTo>
                        <a:pt x="1483" y="480"/>
                      </a:lnTo>
                      <a:lnTo>
                        <a:pt x="1484" y="480"/>
                      </a:lnTo>
                      <a:lnTo>
                        <a:pt x="1487" y="480"/>
                      </a:lnTo>
                      <a:lnTo>
                        <a:pt x="1489" y="483"/>
                      </a:lnTo>
                      <a:lnTo>
                        <a:pt x="1488" y="487"/>
                      </a:lnTo>
                      <a:lnTo>
                        <a:pt x="1485" y="491"/>
                      </a:lnTo>
                      <a:lnTo>
                        <a:pt x="1482" y="497"/>
                      </a:lnTo>
                      <a:lnTo>
                        <a:pt x="1480" y="501"/>
                      </a:lnTo>
                      <a:lnTo>
                        <a:pt x="1480" y="505"/>
                      </a:lnTo>
                      <a:lnTo>
                        <a:pt x="1481" y="510"/>
                      </a:lnTo>
                      <a:lnTo>
                        <a:pt x="1483" y="516"/>
                      </a:lnTo>
                      <a:lnTo>
                        <a:pt x="1484" y="522"/>
                      </a:lnTo>
                      <a:lnTo>
                        <a:pt x="1484" y="540"/>
                      </a:lnTo>
                      <a:lnTo>
                        <a:pt x="1483" y="542"/>
                      </a:lnTo>
                      <a:lnTo>
                        <a:pt x="1482" y="544"/>
                      </a:lnTo>
                      <a:lnTo>
                        <a:pt x="1482" y="546"/>
                      </a:lnTo>
                      <a:lnTo>
                        <a:pt x="1483" y="549"/>
                      </a:lnTo>
                      <a:lnTo>
                        <a:pt x="1484" y="551"/>
                      </a:lnTo>
                      <a:lnTo>
                        <a:pt x="1488" y="553"/>
                      </a:lnTo>
                      <a:lnTo>
                        <a:pt x="1490" y="555"/>
                      </a:lnTo>
                      <a:lnTo>
                        <a:pt x="1492" y="559"/>
                      </a:lnTo>
                      <a:lnTo>
                        <a:pt x="1493" y="562"/>
                      </a:lnTo>
                      <a:lnTo>
                        <a:pt x="1494" y="565"/>
                      </a:lnTo>
                      <a:lnTo>
                        <a:pt x="1494" y="567"/>
                      </a:lnTo>
                      <a:lnTo>
                        <a:pt x="1494" y="571"/>
                      </a:lnTo>
                      <a:lnTo>
                        <a:pt x="1494" y="573"/>
                      </a:lnTo>
                      <a:lnTo>
                        <a:pt x="1495" y="575"/>
                      </a:lnTo>
                      <a:lnTo>
                        <a:pt x="1498" y="576"/>
                      </a:lnTo>
                      <a:lnTo>
                        <a:pt x="1500" y="577"/>
                      </a:lnTo>
                      <a:lnTo>
                        <a:pt x="1503" y="576"/>
                      </a:lnTo>
                      <a:lnTo>
                        <a:pt x="1505" y="576"/>
                      </a:lnTo>
                      <a:lnTo>
                        <a:pt x="1509" y="575"/>
                      </a:lnTo>
                      <a:lnTo>
                        <a:pt x="1511" y="575"/>
                      </a:lnTo>
                      <a:lnTo>
                        <a:pt x="1515" y="577"/>
                      </a:lnTo>
                      <a:lnTo>
                        <a:pt x="1517" y="582"/>
                      </a:lnTo>
                      <a:lnTo>
                        <a:pt x="1521" y="588"/>
                      </a:lnTo>
                      <a:lnTo>
                        <a:pt x="1524" y="593"/>
                      </a:lnTo>
                      <a:lnTo>
                        <a:pt x="1530" y="597"/>
                      </a:lnTo>
                      <a:lnTo>
                        <a:pt x="1535" y="596"/>
                      </a:lnTo>
                      <a:lnTo>
                        <a:pt x="1539" y="592"/>
                      </a:lnTo>
                      <a:lnTo>
                        <a:pt x="1544" y="586"/>
                      </a:lnTo>
                      <a:lnTo>
                        <a:pt x="1546" y="583"/>
                      </a:lnTo>
                      <a:lnTo>
                        <a:pt x="1548" y="580"/>
                      </a:lnTo>
                      <a:lnTo>
                        <a:pt x="1550" y="577"/>
                      </a:lnTo>
                      <a:lnTo>
                        <a:pt x="1552" y="575"/>
                      </a:lnTo>
                      <a:lnTo>
                        <a:pt x="1554" y="574"/>
                      </a:lnTo>
                      <a:lnTo>
                        <a:pt x="1555" y="574"/>
                      </a:lnTo>
                      <a:lnTo>
                        <a:pt x="1557" y="574"/>
                      </a:lnTo>
                      <a:lnTo>
                        <a:pt x="1559" y="573"/>
                      </a:lnTo>
                      <a:lnTo>
                        <a:pt x="1563" y="566"/>
                      </a:lnTo>
                      <a:lnTo>
                        <a:pt x="1564" y="560"/>
                      </a:lnTo>
                      <a:lnTo>
                        <a:pt x="1565" y="552"/>
                      </a:lnTo>
                      <a:lnTo>
                        <a:pt x="1566" y="544"/>
                      </a:lnTo>
                      <a:lnTo>
                        <a:pt x="1566" y="538"/>
                      </a:lnTo>
                      <a:lnTo>
                        <a:pt x="1565" y="532"/>
                      </a:lnTo>
                      <a:lnTo>
                        <a:pt x="1565" y="527"/>
                      </a:lnTo>
                      <a:lnTo>
                        <a:pt x="1570" y="522"/>
                      </a:lnTo>
                      <a:lnTo>
                        <a:pt x="1577" y="517"/>
                      </a:lnTo>
                      <a:lnTo>
                        <a:pt x="1580" y="511"/>
                      </a:lnTo>
                      <a:lnTo>
                        <a:pt x="1580" y="506"/>
                      </a:lnTo>
                      <a:lnTo>
                        <a:pt x="1577" y="498"/>
                      </a:lnTo>
                      <a:lnTo>
                        <a:pt x="1576" y="495"/>
                      </a:lnTo>
                      <a:lnTo>
                        <a:pt x="1577" y="493"/>
                      </a:lnTo>
                      <a:lnTo>
                        <a:pt x="1578" y="490"/>
                      </a:lnTo>
                      <a:lnTo>
                        <a:pt x="1579" y="489"/>
                      </a:lnTo>
                      <a:lnTo>
                        <a:pt x="1581" y="489"/>
                      </a:lnTo>
                      <a:lnTo>
                        <a:pt x="1583" y="490"/>
                      </a:lnTo>
                      <a:lnTo>
                        <a:pt x="1585" y="491"/>
                      </a:lnTo>
                      <a:lnTo>
                        <a:pt x="1587" y="494"/>
                      </a:lnTo>
                      <a:lnTo>
                        <a:pt x="1588" y="496"/>
                      </a:lnTo>
                      <a:lnTo>
                        <a:pt x="1587" y="502"/>
                      </a:lnTo>
                      <a:lnTo>
                        <a:pt x="1585" y="509"/>
                      </a:lnTo>
                      <a:lnTo>
                        <a:pt x="1583" y="517"/>
                      </a:lnTo>
                      <a:lnTo>
                        <a:pt x="1586" y="524"/>
                      </a:lnTo>
                      <a:lnTo>
                        <a:pt x="1592" y="539"/>
                      </a:lnTo>
                      <a:lnTo>
                        <a:pt x="1601" y="553"/>
                      </a:lnTo>
                      <a:lnTo>
                        <a:pt x="1607" y="568"/>
                      </a:lnTo>
                      <a:lnTo>
                        <a:pt x="1614" y="583"/>
                      </a:lnTo>
                      <a:lnTo>
                        <a:pt x="1622" y="595"/>
                      </a:lnTo>
                      <a:lnTo>
                        <a:pt x="1627" y="607"/>
                      </a:lnTo>
                      <a:lnTo>
                        <a:pt x="1633" y="619"/>
                      </a:lnTo>
                      <a:lnTo>
                        <a:pt x="1635" y="622"/>
                      </a:lnTo>
                      <a:lnTo>
                        <a:pt x="1637" y="627"/>
                      </a:lnTo>
                      <a:lnTo>
                        <a:pt x="1641" y="632"/>
                      </a:lnTo>
                      <a:lnTo>
                        <a:pt x="1642" y="637"/>
                      </a:lnTo>
                      <a:lnTo>
                        <a:pt x="1642" y="643"/>
                      </a:lnTo>
                      <a:lnTo>
                        <a:pt x="1640" y="650"/>
                      </a:lnTo>
                      <a:lnTo>
                        <a:pt x="1637" y="657"/>
                      </a:lnTo>
                      <a:lnTo>
                        <a:pt x="1642" y="669"/>
                      </a:lnTo>
                      <a:lnTo>
                        <a:pt x="1648" y="681"/>
                      </a:lnTo>
                      <a:lnTo>
                        <a:pt x="1655" y="692"/>
                      </a:lnTo>
                      <a:lnTo>
                        <a:pt x="1658" y="695"/>
                      </a:lnTo>
                      <a:lnTo>
                        <a:pt x="1662" y="698"/>
                      </a:lnTo>
                      <a:lnTo>
                        <a:pt x="1665" y="700"/>
                      </a:lnTo>
                      <a:lnTo>
                        <a:pt x="1668" y="701"/>
                      </a:lnTo>
                      <a:lnTo>
                        <a:pt x="1672" y="701"/>
                      </a:lnTo>
                      <a:lnTo>
                        <a:pt x="1675" y="703"/>
                      </a:lnTo>
                      <a:lnTo>
                        <a:pt x="1677" y="704"/>
                      </a:lnTo>
                      <a:lnTo>
                        <a:pt x="1679" y="706"/>
                      </a:lnTo>
                      <a:lnTo>
                        <a:pt x="1681" y="707"/>
                      </a:lnTo>
                      <a:lnTo>
                        <a:pt x="1684" y="708"/>
                      </a:lnTo>
                      <a:lnTo>
                        <a:pt x="1686" y="708"/>
                      </a:lnTo>
                      <a:lnTo>
                        <a:pt x="1688" y="708"/>
                      </a:lnTo>
                      <a:lnTo>
                        <a:pt x="1690" y="709"/>
                      </a:lnTo>
                      <a:lnTo>
                        <a:pt x="1692" y="711"/>
                      </a:lnTo>
                      <a:lnTo>
                        <a:pt x="1694" y="712"/>
                      </a:lnTo>
                      <a:lnTo>
                        <a:pt x="1695" y="714"/>
                      </a:lnTo>
                      <a:lnTo>
                        <a:pt x="1695" y="717"/>
                      </a:lnTo>
                      <a:lnTo>
                        <a:pt x="1696" y="719"/>
                      </a:lnTo>
                      <a:lnTo>
                        <a:pt x="1697" y="723"/>
                      </a:lnTo>
                      <a:lnTo>
                        <a:pt x="1699" y="724"/>
                      </a:lnTo>
                      <a:lnTo>
                        <a:pt x="1701" y="725"/>
                      </a:lnTo>
                      <a:lnTo>
                        <a:pt x="1706" y="727"/>
                      </a:lnTo>
                      <a:lnTo>
                        <a:pt x="1710" y="728"/>
                      </a:lnTo>
                      <a:lnTo>
                        <a:pt x="1714" y="729"/>
                      </a:lnTo>
                      <a:lnTo>
                        <a:pt x="1717" y="731"/>
                      </a:lnTo>
                      <a:lnTo>
                        <a:pt x="1718" y="734"/>
                      </a:lnTo>
                      <a:lnTo>
                        <a:pt x="1720" y="737"/>
                      </a:lnTo>
                      <a:lnTo>
                        <a:pt x="1721" y="739"/>
                      </a:lnTo>
                      <a:lnTo>
                        <a:pt x="1721" y="742"/>
                      </a:lnTo>
                      <a:lnTo>
                        <a:pt x="1723" y="748"/>
                      </a:lnTo>
                      <a:lnTo>
                        <a:pt x="1721" y="753"/>
                      </a:lnTo>
                      <a:lnTo>
                        <a:pt x="1719" y="757"/>
                      </a:lnTo>
                      <a:lnTo>
                        <a:pt x="1719" y="761"/>
                      </a:lnTo>
                      <a:lnTo>
                        <a:pt x="1723" y="764"/>
                      </a:lnTo>
                      <a:lnTo>
                        <a:pt x="1732" y="769"/>
                      </a:lnTo>
                      <a:lnTo>
                        <a:pt x="1741" y="772"/>
                      </a:lnTo>
                      <a:lnTo>
                        <a:pt x="1747" y="778"/>
                      </a:lnTo>
                      <a:lnTo>
                        <a:pt x="1752" y="788"/>
                      </a:lnTo>
                      <a:lnTo>
                        <a:pt x="1752" y="797"/>
                      </a:lnTo>
                      <a:lnTo>
                        <a:pt x="1751" y="801"/>
                      </a:lnTo>
                      <a:lnTo>
                        <a:pt x="1750" y="803"/>
                      </a:lnTo>
                      <a:lnTo>
                        <a:pt x="1747" y="805"/>
                      </a:lnTo>
                      <a:lnTo>
                        <a:pt x="1745" y="806"/>
                      </a:lnTo>
                      <a:lnTo>
                        <a:pt x="1743" y="808"/>
                      </a:lnTo>
                      <a:lnTo>
                        <a:pt x="1742" y="811"/>
                      </a:lnTo>
                      <a:lnTo>
                        <a:pt x="1742" y="813"/>
                      </a:lnTo>
                      <a:lnTo>
                        <a:pt x="1742" y="815"/>
                      </a:lnTo>
                      <a:lnTo>
                        <a:pt x="1743" y="817"/>
                      </a:lnTo>
                      <a:lnTo>
                        <a:pt x="1745" y="820"/>
                      </a:lnTo>
                      <a:lnTo>
                        <a:pt x="1746" y="822"/>
                      </a:lnTo>
                      <a:lnTo>
                        <a:pt x="1747" y="824"/>
                      </a:lnTo>
                      <a:lnTo>
                        <a:pt x="1751" y="829"/>
                      </a:lnTo>
                      <a:lnTo>
                        <a:pt x="1752" y="837"/>
                      </a:lnTo>
                      <a:lnTo>
                        <a:pt x="1754" y="844"/>
                      </a:lnTo>
                      <a:lnTo>
                        <a:pt x="1755" y="850"/>
                      </a:lnTo>
                      <a:lnTo>
                        <a:pt x="1753" y="855"/>
                      </a:lnTo>
                      <a:lnTo>
                        <a:pt x="1749" y="859"/>
                      </a:lnTo>
                      <a:lnTo>
                        <a:pt x="1744" y="864"/>
                      </a:lnTo>
                      <a:lnTo>
                        <a:pt x="1741" y="868"/>
                      </a:lnTo>
                      <a:lnTo>
                        <a:pt x="1739" y="872"/>
                      </a:lnTo>
                      <a:lnTo>
                        <a:pt x="1736" y="872"/>
                      </a:lnTo>
                      <a:lnTo>
                        <a:pt x="1734" y="871"/>
                      </a:lnTo>
                      <a:lnTo>
                        <a:pt x="1732" y="871"/>
                      </a:lnTo>
                      <a:lnTo>
                        <a:pt x="1730" y="871"/>
                      </a:lnTo>
                      <a:lnTo>
                        <a:pt x="1729" y="871"/>
                      </a:lnTo>
                      <a:lnTo>
                        <a:pt x="1727" y="872"/>
                      </a:lnTo>
                      <a:lnTo>
                        <a:pt x="1725" y="875"/>
                      </a:lnTo>
                      <a:lnTo>
                        <a:pt x="1725" y="882"/>
                      </a:lnTo>
                      <a:lnTo>
                        <a:pt x="1724" y="889"/>
                      </a:lnTo>
                      <a:lnTo>
                        <a:pt x="1725" y="897"/>
                      </a:lnTo>
                      <a:lnTo>
                        <a:pt x="1727" y="899"/>
                      </a:lnTo>
                      <a:lnTo>
                        <a:pt x="1728" y="901"/>
                      </a:lnTo>
                      <a:lnTo>
                        <a:pt x="1729" y="903"/>
                      </a:lnTo>
                      <a:lnTo>
                        <a:pt x="1731" y="905"/>
                      </a:lnTo>
                      <a:lnTo>
                        <a:pt x="1733" y="906"/>
                      </a:lnTo>
                      <a:lnTo>
                        <a:pt x="1735" y="908"/>
                      </a:lnTo>
                      <a:lnTo>
                        <a:pt x="1738" y="908"/>
                      </a:lnTo>
                      <a:lnTo>
                        <a:pt x="1741" y="905"/>
                      </a:lnTo>
                      <a:lnTo>
                        <a:pt x="1743" y="903"/>
                      </a:lnTo>
                      <a:lnTo>
                        <a:pt x="1744" y="902"/>
                      </a:lnTo>
                      <a:lnTo>
                        <a:pt x="1745" y="901"/>
                      </a:lnTo>
                      <a:lnTo>
                        <a:pt x="1747" y="900"/>
                      </a:lnTo>
                      <a:lnTo>
                        <a:pt x="1749" y="900"/>
                      </a:lnTo>
                      <a:lnTo>
                        <a:pt x="1750" y="901"/>
                      </a:lnTo>
                      <a:lnTo>
                        <a:pt x="1752" y="903"/>
                      </a:lnTo>
                      <a:lnTo>
                        <a:pt x="1754" y="908"/>
                      </a:lnTo>
                      <a:lnTo>
                        <a:pt x="1756" y="912"/>
                      </a:lnTo>
                      <a:lnTo>
                        <a:pt x="1758" y="916"/>
                      </a:lnTo>
                      <a:lnTo>
                        <a:pt x="1762" y="920"/>
                      </a:lnTo>
                      <a:lnTo>
                        <a:pt x="1766" y="921"/>
                      </a:lnTo>
                      <a:lnTo>
                        <a:pt x="1772" y="919"/>
                      </a:lnTo>
                      <a:lnTo>
                        <a:pt x="1774" y="914"/>
                      </a:lnTo>
                      <a:lnTo>
                        <a:pt x="1774" y="910"/>
                      </a:lnTo>
                      <a:lnTo>
                        <a:pt x="1773" y="904"/>
                      </a:lnTo>
                      <a:lnTo>
                        <a:pt x="1772" y="900"/>
                      </a:lnTo>
                      <a:lnTo>
                        <a:pt x="1774" y="898"/>
                      </a:lnTo>
                      <a:lnTo>
                        <a:pt x="1778" y="897"/>
                      </a:lnTo>
                      <a:lnTo>
                        <a:pt x="1782" y="900"/>
                      </a:lnTo>
                      <a:lnTo>
                        <a:pt x="1784" y="906"/>
                      </a:lnTo>
                      <a:lnTo>
                        <a:pt x="1786" y="914"/>
                      </a:lnTo>
                      <a:lnTo>
                        <a:pt x="1787" y="921"/>
                      </a:lnTo>
                      <a:lnTo>
                        <a:pt x="1787" y="925"/>
                      </a:lnTo>
                      <a:lnTo>
                        <a:pt x="1787" y="932"/>
                      </a:lnTo>
                      <a:lnTo>
                        <a:pt x="1788" y="937"/>
                      </a:lnTo>
                      <a:lnTo>
                        <a:pt x="1790" y="942"/>
                      </a:lnTo>
                      <a:lnTo>
                        <a:pt x="1794" y="947"/>
                      </a:lnTo>
                      <a:lnTo>
                        <a:pt x="1794" y="954"/>
                      </a:lnTo>
                      <a:lnTo>
                        <a:pt x="1792" y="960"/>
                      </a:lnTo>
                      <a:lnTo>
                        <a:pt x="1789" y="965"/>
                      </a:lnTo>
                      <a:lnTo>
                        <a:pt x="1787" y="973"/>
                      </a:lnTo>
                      <a:lnTo>
                        <a:pt x="1786" y="979"/>
                      </a:lnTo>
                      <a:lnTo>
                        <a:pt x="1783" y="985"/>
                      </a:lnTo>
                      <a:lnTo>
                        <a:pt x="1781" y="986"/>
                      </a:lnTo>
                      <a:lnTo>
                        <a:pt x="1778" y="985"/>
                      </a:lnTo>
                      <a:lnTo>
                        <a:pt x="1775" y="984"/>
                      </a:lnTo>
                      <a:lnTo>
                        <a:pt x="1773" y="981"/>
                      </a:lnTo>
                      <a:lnTo>
                        <a:pt x="1771" y="980"/>
                      </a:lnTo>
                      <a:lnTo>
                        <a:pt x="1770" y="978"/>
                      </a:lnTo>
                      <a:lnTo>
                        <a:pt x="1770" y="974"/>
                      </a:lnTo>
                      <a:lnTo>
                        <a:pt x="1772" y="968"/>
                      </a:lnTo>
                      <a:lnTo>
                        <a:pt x="1774" y="960"/>
                      </a:lnTo>
                      <a:lnTo>
                        <a:pt x="1775" y="954"/>
                      </a:lnTo>
                      <a:lnTo>
                        <a:pt x="1776" y="948"/>
                      </a:lnTo>
                      <a:lnTo>
                        <a:pt x="1774" y="945"/>
                      </a:lnTo>
                      <a:lnTo>
                        <a:pt x="1772" y="945"/>
                      </a:lnTo>
                      <a:lnTo>
                        <a:pt x="1771" y="946"/>
                      </a:lnTo>
                      <a:lnTo>
                        <a:pt x="1771" y="947"/>
                      </a:lnTo>
                      <a:lnTo>
                        <a:pt x="1770" y="949"/>
                      </a:lnTo>
                      <a:lnTo>
                        <a:pt x="1770" y="952"/>
                      </a:lnTo>
                      <a:lnTo>
                        <a:pt x="1770" y="954"/>
                      </a:lnTo>
                      <a:lnTo>
                        <a:pt x="1768" y="956"/>
                      </a:lnTo>
                      <a:lnTo>
                        <a:pt x="1767" y="958"/>
                      </a:lnTo>
                      <a:lnTo>
                        <a:pt x="1764" y="960"/>
                      </a:lnTo>
                      <a:lnTo>
                        <a:pt x="1762" y="962"/>
                      </a:lnTo>
                      <a:lnTo>
                        <a:pt x="1758" y="963"/>
                      </a:lnTo>
                      <a:lnTo>
                        <a:pt x="1755" y="964"/>
                      </a:lnTo>
                      <a:lnTo>
                        <a:pt x="1752" y="966"/>
                      </a:lnTo>
                      <a:lnTo>
                        <a:pt x="1749" y="968"/>
                      </a:lnTo>
                      <a:lnTo>
                        <a:pt x="1747" y="970"/>
                      </a:lnTo>
                      <a:lnTo>
                        <a:pt x="1745" y="974"/>
                      </a:lnTo>
                      <a:lnTo>
                        <a:pt x="1744" y="977"/>
                      </a:lnTo>
                      <a:lnTo>
                        <a:pt x="1742" y="979"/>
                      </a:lnTo>
                      <a:lnTo>
                        <a:pt x="1739" y="981"/>
                      </a:lnTo>
                      <a:lnTo>
                        <a:pt x="1736" y="981"/>
                      </a:lnTo>
                      <a:lnTo>
                        <a:pt x="1732" y="980"/>
                      </a:lnTo>
                      <a:lnTo>
                        <a:pt x="1731" y="980"/>
                      </a:lnTo>
                      <a:lnTo>
                        <a:pt x="1730" y="979"/>
                      </a:lnTo>
                      <a:lnTo>
                        <a:pt x="1728" y="978"/>
                      </a:lnTo>
                      <a:lnTo>
                        <a:pt x="1727" y="976"/>
                      </a:lnTo>
                      <a:lnTo>
                        <a:pt x="1727" y="975"/>
                      </a:lnTo>
                      <a:lnTo>
                        <a:pt x="1727" y="973"/>
                      </a:lnTo>
                      <a:lnTo>
                        <a:pt x="1728" y="971"/>
                      </a:lnTo>
                      <a:lnTo>
                        <a:pt x="1730" y="973"/>
                      </a:lnTo>
                      <a:lnTo>
                        <a:pt x="1732" y="973"/>
                      </a:lnTo>
                      <a:lnTo>
                        <a:pt x="1733" y="974"/>
                      </a:lnTo>
                      <a:lnTo>
                        <a:pt x="1735" y="975"/>
                      </a:lnTo>
                      <a:lnTo>
                        <a:pt x="1738" y="975"/>
                      </a:lnTo>
                      <a:lnTo>
                        <a:pt x="1739" y="974"/>
                      </a:lnTo>
                      <a:lnTo>
                        <a:pt x="1741" y="971"/>
                      </a:lnTo>
                      <a:lnTo>
                        <a:pt x="1742" y="968"/>
                      </a:lnTo>
                      <a:lnTo>
                        <a:pt x="1742" y="966"/>
                      </a:lnTo>
                      <a:lnTo>
                        <a:pt x="1741" y="963"/>
                      </a:lnTo>
                      <a:lnTo>
                        <a:pt x="1740" y="960"/>
                      </a:lnTo>
                      <a:lnTo>
                        <a:pt x="1738" y="958"/>
                      </a:lnTo>
                      <a:lnTo>
                        <a:pt x="1736" y="956"/>
                      </a:lnTo>
                      <a:lnTo>
                        <a:pt x="1734" y="953"/>
                      </a:lnTo>
                      <a:lnTo>
                        <a:pt x="1731" y="952"/>
                      </a:lnTo>
                      <a:lnTo>
                        <a:pt x="1729" y="952"/>
                      </a:lnTo>
                      <a:lnTo>
                        <a:pt x="1725" y="952"/>
                      </a:lnTo>
                      <a:lnTo>
                        <a:pt x="1721" y="952"/>
                      </a:lnTo>
                      <a:lnTo>
                        <a:pt x="1711" y="953"/>
                      </a:lnTo>
                      <a:lnTo>
                        <a:pt x="1701" y="954"/>
                      </a:lnTo>
                      <a:lnTo>
                        <a:pt x="1698" y="956"/>
                      </a:lnTo>
                      <a:lnTo>
                        <a:pt x="1695" y="957"/>
                      </a:lnTo>
                      <a:lnTo>
                        <a:pt x="1691" y="959"/>
                      </a:lnTo>
                      <a:lnTo>
                        <a:pt x="1688" y="960"/>
                      </a:lnTo>
                      <a:lnTo>
                        <a:pt x="1684" y="960"/>
                      </a:lnTo>
                      <a:lnTo>
                        <a:pt x="1680" y="960"/>
                      </a:lnTo>
                      <a:lnTo>
                        <a:pt x="1677" y="960"/>
                      </a:lnTo>
                      <a:lnTo>
                        <a:pt x="1676" y="959"/>
                      </a:lnTo>
                      <a:lnTo>
                        <a:pt x="1675" y="958"/>
                      </a:lnTo>
                      <a:lnTo>
                        <a:pt x="1675" y="956"/>
                      </a:lnTo>
                      <a:lnTo>
                        <a:pt x="1675" y="954"/>
                      </a:lnTo>
                      <a:lnTo>
                        <a:pt x="1676" y="952"/>
                      </a:lnTo>
                      <a:lnTo>
                        <a:pt x="1678" y="949"/>
                      </a:lnTo>
                      <a:lnTo>
                        <a:pt x="1679" y="947"/>
                      </a:lnTo>
                      <a:lnTo>
                        <a:pt x="1681" y="945"/>
                      </a:lnTo>
                      <a:lnTo>
                        <a:pt x="1684" y="944"/>
                      </a:lnTo>
                      <a:lnTo>
                        <a:pt x="1685" y="943"/>
                      </a:lnTo>
                      <a:lnTo>
                        <a:pt x="1687" y="941"/>
                      </a:lnTo>
                      <a:lnTo>
                        <a:pt x="1688" y="938"/>
                      </a:lnTo>
                      <a:lnTo>
                        <a:pt x="1688" y="936"/>
                      </a:lnTo>
                      <a:lnTo>
                        <a:pt x="1688" y="934"/>
                      </a:lnTo>
                      <a:lnTo>
                        <a:pt x="1687" y="933"/>
                      </a:lnTo>
                      <a:lnTo>
                        <a:pt x="1685" y="933"/>
                      </a:lnTo>
                      <a:lnTo>
                        <a:pt x="1683" y="932"/>
                      </a:lnTo>
                      <a:lnTo>
                        <a:pt x="1681" y="932"/>
                      </a:lnTo>
                      <a:lnTo>
                        <a:pt x="1679" y="932"/>
                      </a:lnTo>
                      <a:lnTo>
                        <a:pt x="1678" y="930"/>
                      </a:lnTo>
                      <a:lnTo>
                        <a:pt x="1678" y="928"/>
                      </a:lnTo>
                      <a:lnTo>
                        <a:pt x="1678" y="926"/>
                      </a:lnTo>
                      <a:lnTo>
                        <a:pt x="1680" y="925"/>
                      </a:lnTo>
                      <a:lnTo>
                        <a:pt x="1683" y="924"/>
                      </a:lnTo>
                      <a:lnTo>
                        <a:pt x="1686" y="924"/>
                      </a:lnTo>
                      <a:lnTo>
                        <a:pt x="1688" y="923"/>
                      </a:lnTo>
                      <a:lnTo>
                        <a:pt x="1690" y="923"/>
                      </a:lnTo>
                      <a:lnTo>
                        <a:pt x="1692" y="922"/>
                      </a:lnTo>
                      <a:lnTo>
                        <a:pt x="1695" y="922"/>
                      </a:lnTo>
                      <a:lnTo>
                        <a:pt x="1695" y="921"/>
                      </a:lnTo>
                      <a:lnTo>
                        <a:pt x="1698" y="916"/>
                      </a:lnTo>
                      <a:lnTo>
                        <a:pt x="1697" y="911"/>
                      </a:lnTo>
                      <a:lnTo>
                        <a:pt x="1697" y="904"/>
                      </a:lnTo>
                      <a:lnTo>
                        <a:pt x="1699" y="899"/>
                      </a:lnTo>
                      <a:lnTo>
                        <a:pt x="1692" y="892"/>
                      </a:lnTo>
                      <a:lnTo>
                        <a:pt x="1684" y="888"/>
                      </a:lnTo>
                      <a:lnTo>
                        <a:pt x="1673" y="886"/>
                      </a:lnTo>
                      <a:lnTo>
                        <a:pt x="1662" y="888"/>
                      </a:lnTo>
                      <a:lnTo>
                        <a:pt x="1658" y="891"/>
                      </a:lnTo>
                      <a:lnTo>
                        <a:pt x="1656" y="893"/>
                      </a:lnTo>
                      <a:lnTo>
                        <a:pt x="1655" y="897"/>
                      </a:lnTo>
                      <a:lnTo>
                        <a:pt x="1653" y="900"/>
                      </a:lnTo>
                      <a:lnTo>
                        <a:pt x="1651" y="903"/>
                      </a:lnTo>
                      <a:lnTo>
                        <a:pt x="1650" y="906"/>
                      </a:lnTo>
                      <a:lnTo>
                        <a:pt x="1646" y="909"/>
                      </a:lnTo>
                      <a:lnTo>
                        <a:pt x="1643" y="911"/>
                      </a:lnTo>
                      <a:lnTo>
                        <a:pt x="1640" y="912"/>
                      </a:lnTo>
                      <a:lnTo>
                        <a:pt x="1632" y="914"/>
                      </a:lnTo>
                      <a:lnTo>
                        <a:pt x="1623" y="917"/>
                      </a:lnTo>
                      <a:lnTo>
                        <a:pt x="1614" y="919"/>
                      </a:lnTo>
                      <a:lnTo>
                        <a:pt x="1607" y="919"/>
                      </a:lnTo>
                      <a:lnTo>
                        <a:pt x="1600" y="914"/>
                      </a:lnTo>
                      <a:lnTo>
                        <a:pt x="1596" y="906"/>
                      </a:lnTo>
                      <a:lnTo>
                        <a:pt x="1592" y="899"/>
                      </a:lnTo>
                      <a:lnTo>
                        <a:pt x="1590" y="890"/>
                      </a:lnTo>
                      <a:lnTo>
                        <a:pt x="1588" y="887"/>
                      </a:lnTo>
                      <a:lnTo>
                        <a:pt x="1586" y="883"/>
                      </a:lnTo>
                      <a:lnTo>
                        <a:pt x="1583" y="881"/>
                      </a:lnTo>
                      <a:lnTo>
                        <a:pt x="1580" y="881"/>
                      </a:lnTo>
                      <a:lnTo>
                        <a:pt x="1577" y="881"/>
                      </a:lnTo>
                      <a:lnTo>
                        <a:pt x="1570" y="881"/>
                      </a:lnTo>
                      <a:lnTo>
                        <a:pt x="1563" y="882"/>
                      </a:lnTo>
                      <a:lnTo>
                        <a:pt x="1557" y="883"/>
                      </a:lnTo>
                      <a:lnTo>
                        <a:pt x="1553" y="887"/>
                      </a:lnTo>
                      <a:lnTo>
                        <a:pt x="1550" y="890"/>
                      </a:lnTo>
                      <a:lnTo>
                        <a:pt x="1548" y="893"/>
                      </a:lnTo>
                      <a:lnTo>
                        <a:pt x="1546" y="897"/>
                      </a:lnTo>
                      <a:lnTo>
                        <a:pt x="1544" y="899"/>
                      </a:lnTo>
                      <a:lnTo>
                        <a:pt x="1539" y="902"/>
                      </a:lnTo>
                      <a:lnTo>
                        <a:pt x="1536" y="905"/>
                      </a:lnTo>
                      <a:lnTo>
                        <a:pt x="1532" y="908"/>
                      </a:lnTo>
                      <a:lnTo>
                        <a:pt x="1528" y="910"/>
                      </a:lnTo>
                      <a:lnTo>
                        <a:pt x="1516" y="917"/>
                      </a:lnTo>
                      <a:lnTo>
                        <a:pt x="1506" y="925"/>
                      </a:lnTo>
                      <a:lnTo>
                        <a:pt x="1498" y="936"/>
                      </a:lnTo>
                      <a:lnTo>
                        <a:pt x="1495" y="939"/>
                      </a:lnTo>
                      <a:lnTo>
                        <a:pt x="1494" y="942"/>
                      </a:lnTo>
                      <a:lnTo>
                        <a:pt x="1493" y="945"/>
                      </a:lnTo>
                      <a:lnTo>
                        <a:pt x="1492" y="948"/>
                      </a:lnTo>
                      <a:lnTo>
                        <a:pt x="1493" y="952"/>
                      </a:lnTo>
                      <a:lnTo>
                        <a:pt x="1494" y="960"/>
                      </a:lnTo>
                      <a:lnTo>
                        <a:pt x="1495" y="969"/>
                      </a:lnTo>
                      <a:lnTo>
                        <a:pt x="1498" y="965"/>
                      </a:lnTo>
                      <a:lnTo>
                        <a:pt x="1499" y="958"/>
                      </a:lnTo>
                      <a:lnTo>
                        <a:pt x="1500" y="951"/>
                      </a:lnTo>
                      <a:lnTo>
                        <a:pt x="1502" y="945"/>
                      </a:lnTo>
                      <a:lnTo>
                        <a:pt x="1506" y="941"/>
                      </a:lnTo>
                      <a:lnTo>
                        <a:pt x="1513" y="936"/>
                      </a:lnTo>
                      <a:lnTo>
                        <a:pt x="1520" y="932"/>
                      </a:lnTo>
                      <a:lnTo>
                        <a:pt x="1522" y="928"/>
                      </a:lnTo>
                      <a:lnTo>
                        <a:pt x="1524" y="926"/>
                      </a:lnTo>
                      <a:lnTo>
                        <a:pt x="1527" y="924"/>
                      </a:lnTo>
                      <a:lnTo>
                        <a:pt x="1531" y="921"/>
                      </a:lnTo>
                      <a:lnTo>
                        <a:pt x="1544" y="914"/>
                      </a:lnTo>
                      <a:lnTo>
                        <a:pt x="1559" y="910"/>
                      </a:lnTo>
                      <a:lnTo>
                        <a:pt x="1568" y="909"/>
                      </a:lnTo>
                      <a:lnTo>
                        <a:pt x="1579" y="910"/>
                      </a:lnTo>
                      <a:lnTo>
                        <a:pt x="1590" y="914"/>
                      </a:lnTo>
                      <a:lnTo>
                        <a:pt x="1597" y="920"/>
                      </a:lnTo>
                      <a:lnTo>
                        <a:pt x="1600" y="925"/>
                      </a:lnTo>
                      <a:lnTo>
                        <a:pt x="1600" y="933"/>
                      </a:lnTo>
                      <a:lnTo>
                        <a:pt x="1598" y="942"/>
                      </a:lnTo>
                      <a:lnTo>
                        <a:pt x="1594" y="949"/>
                      </a:lnTo>
                      <a:lnTo>
                        <a:pt x="1591" y="958"/>
                      </a:lnTo>
                      <a:lnTo>
                        <a:pt x="1588" y="965"/>
                      </a:lnTo>
                      <a:lnTo>
                        <a:pt x="1587" y="974"/>
                      </a:lnTo>
                      <a:lnTo>
                        <a:pt x="1587" y="981"/>
                      </a:lnTo>
                      <a:lnTo>
                        <a:pt x="1590" y="989"/>
                      </a:lnTo>
                      <a:lnTo>
                        <a:pt x="1597" y="993"/>
                      </a:lnTo>
                      <a:lnTo>
                        <a:pt x="1603" y="999"/>
                      </a:lnTo>
                      <a:lnTo>
                        <a:pt x="1611" y="1004"/>
                      </a:lnTo>
                      <a:lnTo>
                        <a:pt x="1618" y="1007"/>
                      </a:lnTo>
                      <a:lnTo>
                        <a:pt x="1624" y="1007"/>
                      </a:lnTo>
                      <a:lnTo>
                        <a:pt x="1631" y="1007"/>
                      </a:lnTo>
                      <a:lnTo>
                        <a:pt x="1635" y="1009"/>
                      </a:lnTo>
                      <a:lnTo>
                        <a:pt x="1637" y="1013"/>
                      </a:lnTo>
                      <a:lnTo>
                        <a:pt x="1639" y="1015"/>
                      </a:lnTo>
                      <a:lnTo>
                        <a:pt x="1641" y="1018"/>
                      </a:lnTo>
                      <a:lnTo>
                        <a:pt x="1643" y="1019"/>
                      </a:lnTo>
                      <a:lnTo>
                        <a:pt x="1645" y="1019"/>
                      </a:lnTo>
                      <a:lnTo>
                        <a:pt x="1647" y="1019"/>
                      </a:lnTo>
                      <a:lnTo>
                        <a:pt x="1650" y="1019"/>
                      </a:lnTo>
                      <a:lnTo>
                        <a:pt x="1652" y="1020"/>
                      </a:lnTo>
                      <a:lnTo>
                        <a:pt x="1654" y="1021"/>
                      </a:lnTo>
                      <a:lnTo>
                        <a:pt x="1655" y="1022"/>
                      </a:lnTo>
                      <a:lnTo>
                        <a:pt x="1655" y="1028"/>
                      </a:lnTo>
                      <a:lnTo>
                        <a:pt x="1648" y="1033"/>
                      </a:lnTo>
                      <a:lnTo>
                        <a:pt x="1640" y="1039"/>
                      </a:lnTo>
                      <a:lnTo>
                        <a:pt x="1632" y="1042"/>
                      </a:lnTo>
                      <a:lnTo>
                        <a:pt x="1626" y="1044"/>
                      </a:lnTo>
                      <a:lnTo>
                        <a:pt x="1620" y="1045"/>
                      </a:lnTo>
                      <a:lnTo>
                        <a:pt x="1612" y="1046"/>
                      </a:lnTo>
                      <a:lnTo>
                        <a:pt x="1605" y="1047"/>
                      </a:lnTo>
                      <a:lnTo>
                        <a:pt x="1600" y="1051"/>
                      </a:lnTo>
                      <a:lnTo>
                        <a:pt x="1597" y="1055"/>
                      </a:lnTo>
                      <a:lnTo>
                        <a:pt x="1594" y="1059"/>
                      </a:lnTo>
                      <a:lnTo>
                        <a:pt x="1592" y="1064"/>
                      </a:lnTo>
                      <a:lnTo>
                        <a:pt x="1588" y="1069"/>
                      </a:lnTo>
                      <a:lnTo>
                        <a:pt x="1582" y="1078"/>
                      </a:lnTo>
                      <a:lnTo>
                        <a:pt x="1576" y="1085"/>
                      </a:lnTo>
                      <a:lnTo>
                        <a:pt x="1570" y="1086"/>
                      </a:lnTo>
                      <a:lnTo>
                        <a:pt x="1568" y="1086"/>
                      </a:lnTo>
                      <a:lnTo>
                        <a:pt x="1567" y="1085"/>
                      </a:lnTo>
                      <a:lnTo>
                        <a:pt x="1566" y="1083"/>
                      </a:lnTo>
                      <a:lnTo>
                        <a:pt x="1565" y="1080"/>
                      </a:lnTo>
                      <a:lnTo>
                        <a:pt x="1564" y="1077"/>
                      </a:lnTo>
                      <a:lnTo>
                        <a:pt x="1564" y="1075"/>
                      </a:lnTo>
                      <a:lnTo>
                        <a:pt x="1560" y="1073"/>
                      </a:lnTo>
                      <a:lnTo>
                        <a:pt x="1559" y="1069"/>
                      </a:lnTo>
                      <a:lnTo>
                        <a:pt x="1558" y="1065"/>
                      </a:lnTo>
                      <a:lnTo>
                        <a:pt x="1559" y="1062"/>
                      </a:lnTo>
                      <a:lnTo>
                        <a:pt x="1561" y="1057"/>
                      </a:lnTo>
                      <a:lnTo>
                        <a:pt x="1563" y="1053"/>
                      </a:lnTo>
                      <a:lnTo>
                        <a:pt x="1566" y="1050"/>
                      </a:lnTo>
                      <a:lnTo>
                        <a:pt x="1569" y="1045"/>
                      </a:lnTo>
                      <a:lnTo>
                        <a:pt x="1575" y="1042"/>
                      </a:lnTo>
                      <a:lnTo>
                        <a:pt x="1578" y="1041"/>
                      </a:lnTo>
                      <a:lnTo>
                        <a:pt x="1582" y="1039"/>
                      </a:lnTo>
                      <a:lnTo>
                        <a:pt x="1586" y="1036"/>
                      </a:lnTo>
                      <a:lnTo>
                        <a:pt x="1590" y="1033"/>
                      </a:lnTo>
                      <a:lnTo>
                        <a:pt x="1589" y="1032"/>
                      </a:lnTo>
                      <a:lnTo>
                        <a:pt x="1588" y="1030"/>
                      </a:lnTo>
                      <a:lnTo>
                        <a:pt x="1587" y="1028"/>
                      </a:lnTo>
                      <a:lnTo>
                        <a:pt x="1586" y="1024"/>
                      </a:lnTo>
                      <a:lnTo>
                        <a:pt x="1583" y="1022"/>
                      </a:lnTo>
                      <a:lnTo>
                        <a:pt x="1582" y="1021"/>
                      </a:lnTo>
                      <a:lnTo>
                        <a:pt x="1581" y="1020"/>
                      </a:lnTo>
                      <a:lnTo>
                        <a:pt x="1575" y="1024"/>
                      </a:lnTo>
                      <a:lnTo>
                        <a:pt x="1569" y="1029"/>
                      </a:lnTo>
                      <a:lnTo>
                        <a:pt x="1564" y="1033"/>
                      </a:lnTo>
                      <a:lnTo>
                        <a:pt x="1560" y="1034"/>
                      </a:lnTo>
                      <a:lnTo>
                        <a:pt x="1558" y="1035"/>
                      </a:lnTo>
                      <a:lnTo>
                        <a:pt x="1555" y="1036"/>
                      </a:lnTo>
                      <a:lnTo>
                        <a:pt x="1553" y="1037"/>
                      </a:lnTo>
                      <a:lnTo>
                        <a:pt x="1549" y="1040"/>
                      </a:lnTo>
                      <a:lnTo>
                        <a:pt x="1548" y="1041"/>
                      </a:lnTo>
                      <a:lnTo>
                        <a:pt x="1546" y="1043"/>
                      </a:lnTo>
                      <a:lnTo>
                        <a:pt x="1545" y="1045"/>
                      </a:lnTo>
                      <a:lnTo>
                        <a:pt x="1546" y="1048"/>
                      </a:lnTo>
                      <a:lnTo>
                        <a:pt x="1543" y="1052"/>
                      </a:lnTo>
                      <a:lnTo>
                        <a:pt x="1536" y="1055"/>
                      </a:lnTo>
                      <a:lnTo>
                        <a:pt x="1527" y="1057"/>
                      </a:lnTo>
                      <a:lnTo>
                        <a:pt x="1519" y="1058"/>
                      </a:lnTo>
                      <a:lnTo>
                        <a:pt x="1511" y="1059"/>
                      </a:lnTo>
                      <a:lnTo>
                        <a:pt x="1506" y="1059"/>
                      </a:lnTo>
                      <a:lnTo>
                        <a:pt x="1501" y="1063"/>
                      </a:lnTo>
                      <a:lnTo>
                        <a:pt x="1496" y="1069"/>
                      </a:lnTo>
                      <a:lnTo>
                        <a:pt x="1492" y="1075"/>
                      </a:lnTo>
                      <a:lnTo>
                        <a:pt x="1488" y="1079"/>
                      </a:lnTo>
                      <a:lnTo>
                        <a:pt x="1484" y="1079"/>
                      </a:lnTo>
                      <a:lnTo>
                        <a:pt x="1482" y="1079"/>
                      </a:lnTo>
                      <a:lnTo>
                        <a:pt x="1480" y="1078"/>
                      </a:lnTo>
                      <a:lnTo>
                        <a:pt x="1479" y="1077"/>
                      </a:lnTo>
                      <a:lnTo>
                        <a:pt x="1477" y="1077"/>
                      </a:lnTo>
                      <a:lnTo>
                        <a:pt x="1476" y="1077"/>
                      </a:lnTo>
                      <a:lnTo>
                        <a:pt x="1474" y="1077"/>
                      </a:lnTo>
                      <a:lnTo>
                        <a:pt x="1473" y="1079"/>
                      </a:lnTo>
                      <a:lnTo>
                        <a:pt x="1471" y="1083"/>
                      </a:lnTo>
                      <a:lnTo>
                        <a:pt x="1469" y="1086"/>
                      </a:lnTo>
                      <a:lnTo>
                        <a:pt x="1467" y="1089"/>
                      </a:lnTo>
                      <a:lnTo>
                        <a:pt x="1467" y="1093"/>
                      </a:lnTo>
                      <a:lnTo>
                        <a:pt x="1466" y="1096"/>
                      </a:lnTo>
                      <a:lnTo>
                        <a:pt x="1466" y="1098"/>
                      </a:lnTo>
                      <a:lnTo>
                        <a:pt x="1466" y="1100"/>
                      </a:lnTo>
                      <a:lnTo>
                        <a:pt x="1466" y="1101"/>
                      </a:lnTo>
                      <a:lnTo>
                        <a:pt x="1465" y="1102"/>
                      </a:lnTo>
                      <a:lnTo>
                        <a:pt x="1463" y="1104"/>
                      </a:lnTo>
                      <a:lnTo>
                        <a:pt x="1460" y="1104"/>
                      </a:lnTo>
                      <a:lnTo>
                        <a:pt x="1457" y="1104"/>
                      </a:lnTo>
                      <a:lnTo>
                        <a:pt x="1455" y="1105"/>
                      </a:lnTo>
                      <a:lnTo>
                        <a:pt x="1452" y="1106"/>
                      </a:lnTo>
                      <a:lnTo>
                        <a:pt x="1451" y="1108"/>
                      </a:lnTo>
                      <a:lnTo>
                        <a:pt x="1450" y="1111"/>
                      </a:lnTo>
                      <a:lnTo>
                        <a:pt x="1450" y="1113"/>
                      </a:lnTo>
                      <a:lnTo>
                        <a:pt x="1449" y="1116"/>
                      </a:lnTo>
                      <a:lnTo>
                        <a:pt x="1400" y="1101"/>
                      </a:lnTo>
                      <a:lnTo>
                        <a:pt x="1348" y="1085"/>
                      </a:lnTo>
                      <a:lnTo>
                        <a:pt x="1348" y="1085"/>
                      </a:lnTo>
                      <a:lnTo>
                        <a:pt x="1348" y="1082"/>
                      </a:lnTo>
                      <a:lnTo>
                        <a:pt x="1346" y="1074"/>
                      </a:lnTo>
                      <a:lnTo>
                        <a:pt x="1341" y="1071"/>
                      </a:lnTo>
                      <a:lnTo>
                        <a:pt x="1335" y="1069"/>
                      </a:lnTo>
                      <a:lnTo>
                        <a:pt x="1328" y="1072"/>
                      </a:lnTo>
                      <a:lnTo>
                        <a:pt x="1321" y="1074"/>
                      </a:lnTo>
                      <a:lnTo>
                        <a:pt x="1315" y="1077"/>
                      </a:lnTo>
                      <a:lnTo>
                        <a:pt x="1309" y="1075"/>
                      </a:lnTo>
                      <a:lnTo>
                        <a:pt x="1313" y="1074"/>
                      </a:lnTo>
                      <a:lnTo>
                        <a:pt x="1314" y="1074"/>
                      </a:lnTo>
                      <a:lnTo>
                        <a:pt x="1314" y="1074"/>
                      </a:lnTo>
                      <a:lnTo>
                        <a:pt x="1315" y="1074"/>
                      </a:lnTo>
                      <a:lnTo>
                        <a:pt x="1291" y="1065"/>
                      </a:lnTo>
                      <a:lnTo>
                        <a:pt x="1268" y="1056"/>
                      </a:lnTo>
                      <a:lnTo>
                        <a:pt x="1269" y="1048"/>
                      </a:lnTo>
                      <a:lnTo>
                        <a:pt x="1266" y="1036"/>
                      </a:lnTo>
                      <a:lnTo>
                        <a:pt x="1260" y="1026"/>
                      </a:lnTo>
                      <a:lnTo>
                        <a:pt x="1253" y="1024"/>
                      </a:lnTo>
                      <a:lnTo>
                        <a:pt x="1244" y="1022"/>
                      </a:lnTo>
                      <a:lnTo>
                        <a:pt x="1236" y="1023"/>
                      </a:lnTo>
                      <a:lnTo>
                        <a:pt x="1229" y="1026"/>
                      </a:lnTo>
                      <a:lnTo>
                        <a:pt x="1228" y="1029"/>
                      </a:lnTo>
                      <a:lnTo>
                        <a:pt x="1228" y="1031"/>
                      </a:lnTo>
                      <a:lnTo>
                        <a:pt x="1227" y="1033"/>
                      </a:lnTo>
                      <a:lnTo>
                        <a:pt x="1226" y="1035"/>
                      </a:lnTo>
                      <a:lnTo>
                        <a:pt x="1226" y="1037"/>
                      </a:lnTo>
                      <a:lnTo>
                        <a:pt x="1225" y="1039"/>
                      </a:lnTo>
                      <a:lnTo>
                        <a:pt x="1223" y="1040"/>
                      </a:lnTo>
                      <a:lnTo>
                        <a:pt x="1221" y="1040"/>
                      </a:lnTo>
                      <a:lnTo>
                        <a:pt x="1219" y="1040"/>
                      </a:lnTo>
                      <a:lnTo>
                        <a:pt x="1216" y="1037"/>
                      </a:lnTo>
                      <a:lnTo>
                        <a:pt x="1212" y="1035"/>
                      </a:lnTo>
                      <a:lnTo>
                        <a:pt x="1208" y="1032"/>
                      </a:lnTo>
                      <a:lnTo>
                        <a:pt x="1205" y="1029"/>
                      </a:lnTo>
                      <a:lnTo>
                        <a:pt x="1201" y="1026"/>
                      </a:lnTo>
                      <a:lnTo>
                        <a:pt x="1199" y="1024"/>
                      </a:lnTo>
                      <a:lnTo>
                        <a:pt x="1192" y="1021"/>
                      </a:lnTo>
                      <a:lnTo>
                        <a:pt x="1185" y="1019"/>
                      </a:lnTo>
                      <a:lnTo>
                        <a:pt x="1179" y="1015"/>
                      </a:lnTo>
                      <a:lnTo>
                        <a:pt x="1176" y="1018"/>
                      </a:lnTo>
                      <a:lnTo>
                        <a:pt x="1174" y="1020"/>
                      </a:lnTo>
                      <a:lnTo>
                        <a:pt x="1171" y="1022"/>
                      </a:lnTo>
                      <a:lnTo>
                        <a:pt x="1163" y="1019"/>
                      </a:lnTo>
                      <a:lnTo>
                        <a:pt x="1170" y="1019"/>
                      </a:lnTo>
                      <a:lnTo>
                        <a:pt x="1149" y="1009"/>
                      </a:lnTo>
                      <a:lnTo>
                        <a:pt x="1130" y="1000"/>
                      </a:lnTo>
                      <a:lnTo>
                        <a:pt x="1132" y="999"/>
                      </a:lnTo>
                      <a:lnTo>
                        <a:pt x="1134" y="998"/>
                      </a:lnTo>
                      <a:lnTo>
                        <a:pt x="1138" y="998"/>
                      </a:lnTo>
                      <a:lnTo>
                        <a:pt x="1142" y="998"/>
                      </a:lnTo>
                      <a:lnTo>
                        <a:pt x="1148" y="999"/>
                      </a:lnTo>
                      <a:lnTo>
                        <a:pt x="1155" y="999"/>
                      </a:lnTo>
                      <a:lnTo>
                        <a:pt x="1162" y="999"/>
                      </a:lnTo>
                      <a:lnTo>
                        <a:pt x="1168" y="998"/>
                      </a:lnTo>
                      <a:lnTo>
                        <a:pt x="1173" y="996"/>
                      </a:lnTo>
                      <a:lnTo>
                        <a:pt x="1175" y="990"/>
                      </a:lnTo>
                      <a:lnTo>
                        <a:pt x="1175" y="982"/>
                      </a:lnTo>
                      <a:lnTo>
                        <a:pt x="1172" y="975"/>
                      </a:lnTo>
                      <a:lnTo>
                        <a:pt x="1168" y="969"/>
                      </a:lnTo>
                      <a:lnTo>
                        <a:pt x="1163" y="966"/>
                      </a:lnTo>
                      <a:lnTo>
                        <a:pt x="1155" y="965"/>
                      </a:lnTo>
                      <a:lnTo>
                        <a:pt x="1150" y="965"/>
                      </a:lnTo>
                      <a:lnTo>
                        <a:pt x="1146" y="965"/>
                      </a:lnTo>
                      <a:lnTo>
                        <a:pt x="1144" y="964"/>
                      </a:lnTo>
                      <a:lnTo>
                        <a:pt x="1143" y="962"/>
                      </a:lnTo>
                      <a:lnTo>
                        <a:pt x="1142" y="959"/>
                      </a:lnTo>
                      <a:lnTo>
                        <a:pt x="1141" y="956"/>
                      </a:lnTo>
                      <a:lnTo>
                        <a:pt x="1140" y="952"/>
                      </a:lnTo>
                      <a:lnTo>
                        <a:pt x="1139" y="949"/>
                      </a:lnTo>
                      <a:lnTo>
                        <a:pt x="1138" y="947"/>
                      </a:lnTo>
                      <a:lnTo>
                        <a:pt x="1135" y="944"/>
                      </a:lnTo>
                      <a:lnTo>
                        <a:pt x="1133" y="942"/>
                      </a:lnTo>
                      <a:lnTo>
                        <a:pt x="1132" y="939"/>
                      </a:lnTo>
                      <a:lnTo>
                        <a:pt x="1130" y="938"/>
                      </a:lnTo>
                      <a:lnTo>
                        <a:pt x="1128" y="938"/>
                      </a:lnTo>
                      <a:lnTo>
                        <a:pt x="1125" y="941"/>
                      </a:lnTo>
                      <a:lnTo>
                        <a:pt x="1124" y="943"/>
                      </a:lnTo>
                      <a:lnTo>
                        <a:pt x="1123" y="945"/>
                      </a:lnTo>
                      <a:lnTo>
                        <a:pt x="1123" y="945"/>
                      </a:lnTo>
                      <a:lnTo>
                        <a:pt x="1122" y="945"/>
                      </a:lnTo>
                      <a:lnTo>
                        <a:pt x="1121" y="943"/>
                      </a:lnTo>
                      <a:lnTo>
                        <a:pt x="1120" y="941"/>
                      </a:lnTo>
                      <a:lnTo>
                        <a:pt x="1118" y="938"/>
                      </a:lnTo>
                      <a:lnTo>
                        <a:pt x="1114" y="936"/>
                      </a:lnTo>
                      <a:lnTo>
                        <a:pt x="1112" y="935"/>
                      </a:lnTo>
                      <a:lnTo>
                        <a:pt x="1109" y="934"/>
                      </a:lnTo>
                      <a:lnTo>
                        <a:pt x="1102" y="935"/>
                      </a:lnTo>
                      <a:lnTo>
                        <a:pt x="1099" y="938"/>
                      </a:lnTo>
                      <a:lnTo>
                        <a:pt x="1097" y="944"/>
                      </a:lnTo>
                      <a:lnTo>
                        <a:pt x="1095" y="949"/>
                      </a:lnTo>
                      <a:lnTo>
                        <a:pt x="1091" y="954"/>
                      </a:lnTo>
                      <a:lnTo>
                        <a:pt x="1085" y="956"/>
                      </a:lnTo>
                      <a:lnTo>
                        <a:pt x="1080" y="958"/>
                      </a:lnTo>
                      <a:lnTo>
                        <a:pt x="1076" y="960"/>
                      </a:lnTo>
                      <a:lnTo>
                        <a:pt x="1073" y="963"/>
                      </a:lnTo>
                      <a:lnTo>
                        <a:pt x="1069" y="964"/>
                      </a:lnTo>
                      <a:lnTo>
                        <a:pt x="1067" y="967"/>
                      </a:lnTo>
                      <a:lnTo>
                        <a:pt x="1064" y="969"/>
                      </a:lnTo>
                      <a:lnTo>
                        <a:pt x="1061" y="971"/>
                      </a:lnTo>
                      <a:lnTo>
                        <a:pt x="1058" y="971"/>
                      </a:lnTo>
                      <a:lnTo>
                        <a:pt x="1055" y="970"/>
                      </a:lnTo>
                      <a:lnTo>
                        <a:pt x="1055" y="969"/>
                      </a:lnTo>
                      <a:lnTo>
                        <a:pt x="1057" y="968"/>
                      </a:lnTo>
                      <a:lnTo>
                        <a:pt x="982" y="932"/>
                      </a:lnTo>
                      <a:lnTo>
                        <a:pt x="908" y="893"/>
                      </a:lnTo>
                      <a:lnTo>
                        <a:pt x="827" y="848"/>
                      </a:lnTo>
                      <a:lnTo>
                        <a:pt x="750" y="802"/>
                      </a:lnTo>
                      <a:lnTo>
                        <a:pt x="676" y="756"/>
                      </a:lnTo>
                      <a:lnTo>
                        <a:pt x="606" y="711"/>
                      </a:lnTo>
                      <a:lnTo>
                        <a:pt x="539" y="666"/>
                      </a:lnTo>
                      <a:lnTo>
                        <a:pt x="475" y="625"/>
                      </a:lnTo>
                      <a:lnTo>
                        <a:pt x="414" y="586"/>
                      </a:lnTo>
                      <a:lnTo>
                        <a:pt x="358" y="551"/>
                      </a:lnTo>
                      <a:lnTo>
                        <a:pt x="305" y="520"/>
                      </a:lnTo>
                      <a:lnTo>
                        <a:pt x="255" y="495"/>
                      </a:lnTo>
                      <a:lnTo>
                        <a:pt x="205" y="473"/>
                      </a:lnTo>
                      <a:lnTo>
                        <a:pt x="159" y="456"/>
                      </a:lnTo>
                      <a:lnTo>
                        <a:pt x="113" y="445"/>
                      </a:lnTo>
                      <a:lnTo>
                        <a:pt x="69" y="439"/>
                      </a:lnTo>
                      <a:lnTo>
                        <a:pt x="57" y="439"/>
                      </a:lnTo>
                      <a:lnTo>
                        <a:pt x="57" y="439"/>
                      </a:lnTo>
                      <a:lnTo>
                        <a:pt x="57" y="437"/>
                      </a:lnTo>
                      <a:lnTo>
                        <a:pt x="55" y="437"/>
                      </a:lnTo>
                      <a:lnTo>
                        <a:pt x="55" y="439"/>
                      </a:lnTo>
                      <a:lnTo>
                        <a:pt x="54" y="439"/>
                      </a:lnTo>
                      <a:lnTo>
                        <a:pt x="53" y="439"/>
                      </a:lnTo>
                      <a:lnTo>
                        <a:pt x="53" y="441"/>
                      </a:lnTo>
                      <a:lnTo>
                        <a:pt x="53" y="441"/>
                      </a:lnTo>
                      <a:lnTo>
                        <a:pt x="30" y="442"/>
                      </a:lnTo>
                      <a:lnTo>
                        <a:pt x="9" y="445"/>
                      </a:lnTo>
                      <a:lnTo>
                        <a:pt x="9" y="443"/>
                      </a:lnTo>
                      <a:lnTo>
                        <a:pt x="10" y="441"/>
                      </a:lnTo>
                      <a:lnTo>
                        <a:pt x="11" y="439"/>
                      </a:lnTo>
                      <a:lnTo>
                        <a:pt x="11" y="436"/>
                      </a:lnTo>
                      <a:lnTo>
                        <a:pt x="11" y="435"/>
                      </a:lnTo>
                      <a:lnTo>
                        <a:pt x="11" y="434"/>
                      </a:lnTo>
                      <a:lnTo>
                        <a:pt x="10" y="434"/>
                      </a:lnTo>
                      <a:lnTo>
                        <a:pt x="9" y="434"/>
                      </a:lnTo>
                      <a:lnTo>
                        <a:pt x="5" y="432"/>
                      </a:lnTo>
                      <a:lnTo>
                        <a:pt x="3" y="429"/>
                      </a:lnTo>
                      <a:lnTo>
                        <a:pt x="0" y="423"/>
                      </a:lnTo>
                      <a:lnTo>
                        <a:pt x="3" y="417"/>
                      </a:lnTo>
                      <a:lnTo>
                        <a:pt x="5" y="414"/>
                      </a:lnTo>
                      <a:lnTo>
                        <a:pt x="8" y="412"/>
                      </a:lnTo>
                      <a:lnTo>
                        <a:pt x="11" y="410"/>
                      </a:lnTo>
                      <a:lnTo>
                        <a:pt x="14" y="408"/>
                      </a:lnTo>
                      <a:lnTo>
                        <a:pt x="17" y="406"/>
                      </a:lnTo>
                      <a:lnTo>
                        <a:pt x="19" y="402"/>
                      </a:lnTo>
                      <a:lnTo>
                        <a:pt x="22" y="399"/>
                      </a:lnTo>
                      <a:lnTo>
                        <a:pt x="22" y="397"/>
                      </a:lnTo>
                      <a:lnTo>
                        <a:pt x="25" y="395"/>
                      </a:lnTo>
                      <a:lnTo>
                        <a:pt x="27" y="392"/>
                      </a:lnTo>
                      <a:lnTo>
                        <a:pt x="29" y="390"/>
                      </a:lnTo>
                      <a:lnTo>
                        <a:pt x="31" y="388"/>
                      </a:lnTo>
                      <a:lnTo>
                        <a:pt x="33" y="386"/>
                      </a:lnTo>
                      <a:lnTo>
                        <a:pt x="36" y="385"/>
                      </a:lnTo>
                      <a:lnTo>
                        <a:pt x="37" y="384"/>
                      </a:lnTo>
                      <a:lnTo>
                        <a:pt x="39" y="385"/>
                      </a:lnTo>
                      <a:lnTo>
                        <a:pt x="40" y="386"/>
                      </a:lnTo>
                      <a:lnTo>
                        <a:pt x="40" y="387"/>
                      </a:lnTo>
                      <a:lnTo>
                        <a:pt x="40" y="389"/>
                      </a:lnTo>
                      <a:lnTo>
                        <a:pt x="39" y="391"/>
                      </a:lnTo>
                      <a:lnTo>
                        <a:pt x="38" y="392"/>
                      </a:lnTo>
                      <a:lnTo>
                        <a:pt x="38" y="395"/>
                      </a:lnTo>
                      <a:lnTo>
                        <a:pt x="38" y="396"/>
                      </a:lnTo>
                      <a:lnTo>
                        <a:pt x="40" y="396"/>
                      </a:lnTo>
                      <a:lnTo>
                        <a:pt x="41" y="397"/>
                      </a:lnTo>
                      <a:lnTo>
                        <a:pt x="43" y="397"/>
                      </a:lnTo>
                      <a:lnTo>
                        <a:pt x="44" y="397"/>
                      </a:lnTo>
                      <a:lnTo>
                        <a:pt x="46" y="397"/>
                      </a:lnTo>
                      <a:lnTo>
                        <a:pt x="49" y="397"/>
                      </a:lnTo>
                      <a:lnTo>
                        <a:pt x="51" y="397"/>
                      </a:lnTo>
                      <a:lnTo>
                        <a:pt x="53" y="397"/>
                      </a:lnTo>
                      <a:lnTo>
                        <a:pt x="57" y="396"/>
                      </a:lnTo>
                      <a:lnTo>
                        <a:pt x="58" y="393"/>
                      </a:lnTo>
                      <a:lnTo>
                        <a:pt x="59" y="390"/>
                      </a:lnTo>
                      <a:lnTo>
                        <a:pt x="59" y="388"/>
                      </a:lnTo>
                      <a:lnTo>
                        <a:pt x="59" y="387"/>
                      </a:lnTo>
                      <a:lnTo>
                        <a:pt x="58" y="387"/>
                      </a:lnTo>
                      <a:lnTo>
                        <a:pt x="57" y="387"/>
                      </a:lnTo>
                      <a:lnTo>
                        <a:pt x="55" y="386"/>
                      </a:lnTo>
                      <a:lnTo>
                        <a:pt x="54" y="386"/>
                      </a:lnTo>
                      <a:lnTo>
                        <a:pt x="53" y="385"/>
                      </a:lnTo>
                      <a:lnTo>
                        <a:pt x="54" y="384"/>
                      </a:lnTo>
                      <a:lnTo>
                        <a:pt x="55" y="381"/>
                      </a:lnTo>
                      <a:lnTo>
                        <a:pt x="55" y="378"/>
                      </a:lnTo>
                      <a:lnTo>
                        <a:pt x="55" y="376"/>
                      </a:lnTo>
                      <a:lnTo>
                        <a:pt x="54" y="374"/>
                      </a:lnTo>
                      <a:lnTo>
                        <a:pt x="52" y="371"/>
                      </a:lnTo>
                      <a:lnTo>
                        <a:pt x="50" y="370"/>
                      </a:lnTo>
                      <a:lnTo>
                        <a:pt x="48" y="369"/>
                      </a:lnTo>
                      <a:lnTo>
                        <a:pt x="47" y="370"/>
                      </a:lnTo>
                      <a:lnTo>
                        <a:pt x="42" y="370"/>
                      </a:lnTo>
                      <a:lnTo>
                        <a:pt x="41" y="367"/>
                      </a:lnTo>
                      <a:lnTo>
                        <a:pt x="41" y="363"/>
                      </a:lnTo>
                      <a:lnTo>
                        <a:pt x="42" y="358"/>
                      </a:lnTo>
                      <a:lnTo>
                        <a:pt x="44" y="353"/>
                      </a:lnTo>
                      <a:lnTo>
                        <a:pt x="43" y="349"/>
                      </a:lnTo>
                      <a:lnTo>
                        <a:pt x="43" y="346"/>
                      </a:lnTo>
                      <a:lnTo>
                        <a:pt x="42" y="344"/>
                      </a:lnTo>
                      <a:lnTo>
                        <a:pt x="41" y="343"/>
                      </a:lnTo>
                      <a:lnTo>
                        <a:pt x="40" y="342"/>
                      </a:lnTo>
                      <a:lnTo>
                        <a:pt x="38" y="338"/>
                      </a:lnTo>
                      <a:lnTo>
                        <a:pt x="37" y="335"/>
                      </a:lnTo>
                      <a:lnTo>
                        <a:pt x="35" y="333"/>
                      </a:lnTo>
                      <a:lnTo>
                        <a:pt x="33" y="333"/>
                      </a:lnTo>
                      <a:lnTo>
                        <a:pt x="31" y="331"/>
                      </a:lnTo>
                      <a:lnTo>
                        <a:pt x="29" y="330"/>
                      </a:lnTo>
                      <a:lnTo>
                        <a:pt x="27" y="328"/>
                      </a:lnTo>
                      <a:lnTo>
                        <a:pt x="25" y="328"/>
                      </a:lnTo>
                      <a:lnTo>
                        <a:pt x="24" y="327"/>
                      </a:lnTo>
                      <a:lnTo>
                        <a:pt x="24" y="327"/>
                      </a:lnTo>
                      <a:lnTo>
                        <a:pt x="24" y="326"/>
                      </a:lnTo>
                      <a:lnTo>
                        <a:pt x="25" y="326"/>
                      </a:lnTo>
                      <a:lnTo>
                        <a:pt x="27" y="325"/>
                      </a:lnTo>
                      <a:lnTo>
                        <a:pt x="28" y="323"/>
                      </a:lnTo>
                      <a:lnTo>
                        <a:pt x="29" y="321"/>
                      </a:lnTo>
                      <a:lnTo>
                        <a:pt x="30" y="319"/>
                      </a:lnTo>
                      <a:lnTo>
                        <a:pt x="31" y="315"/>
                      </a:lnTo>
                      <a:lnTo>
                        <a:pt x="31" y="313"/>
                      </a:lnTo>
                      <a:lnTo>
                        <a:pt x="32" y="311"/>
                      </a:lnTo>
                      <a:lnTo>
                        <a:pt x="33" y="308"/>
                      </a:lnTo>
                      <a:lnTo>
                        <a:pt x="36" y="304"/>
                      </a:lnTo>
                      <a:lnTo>
                        <a:pt x="38" y="302"/>
                      </a:lnTo>
                      <a:lnTo>
                        <a:pt x="40" y="302"/>
                      </a:lnTo>
                      <a:lnTo>
                        <a:pt x="42" y="302"/>
                      </a:lnTo>
                      <a:lnTo>
                        <a:pt x="44" y="301"/>
                      </a:lnTo>
                      <a:lnTo>
                        <a:pt x="47" y="300"/>
                      </a:lnTo>
                      <a:lnTo>
                        <a:pt x="49" y="298"/>
                      </a:lnTo>
                      <a:lnTo>
                        <a:pt x="58" y="288"/>
                      </a:lnTo>
                      <a:lnTo>
                        <a:pt x="63" y="276"/>
                      </a:lnTo>
                      <a:lnTo>
                        <a:pt x="64" y="272"/>
                      </a:lnTo>
                      <a:lnTo>
                        <a:pt x="64" y="269"/>
                      </a:lnTo>
                      <a:lnTo>
                        <a:pt x="65" y="266"/>
                      </a:lnTo>
                      <a:lnTo>
                        <a:pt x="65" y="262"/>
                      </a:lnTo>
                      <a:lnTo>
                        <a:pt x="68" y="260"/>
                      </a:lnTo>
                      <a:lnTo>
                        <a:pt x="70" y="257"/>
                      </a:lnTo>
                      <a:lnTo>
                        <a:pt x="72" y="254"/>
                      </a:lnTo>
                      <a:lnTo>
                        <a:pt x="74" y="251"/>
                      </a:lnTo>
                      <a:lnTo>
                        <a:pt x="75" y="248"/>
                      </a:lnTo>
                      <a:lnTo>
                        <a:pt x="76" y="244"/>
                      </a:lnTo>
                      <a:lnTo>
                        <a:pt x="77" y="240"/>
                      </a:lnTo>
                      <a:lnTo>
                        <a:pt x="79" y="238"/>
                      </a:lnTo>
                      <a:lnTo>
                        <a:pt x="81" y="238"/>
                      </a:lnTo>
                      <a:lnTo>
                        <a:pt x="83" y="237"/>
                      </a:lnTo>
                      <a:lnTo>
                        <a:pt x="85" y="236"/>
                      </a:lnTo>
                      <a:lnTo>
                        <a:pt x="92" y="229"/>
                      </a:lnTo>
                      <a:lnTo>
                        <a:pt x="93" y="227"/>
                      </a:lnTo>
                      <a:lnTo>
                        <a:pt x="95" y="225"/>
                      </a:lnTo>
                      <a:lnTo>
                        <a:pt x="96" y="222"/>
                      </a:lnTo>
                      <a:lnTo>
                        <a:pt x="97" y="218"/>
                      </a:lnTo>
                      <a:lnTo>
                        <a:pt x="99" y="216"/>
                      </a:lnTo>
                      <a:lnTo>
                        <a:pt x="101" y="215"/>
                      </a:lnTo>
                      <a:lnTo>
                        <a:pt x="102" y="214"/>
                      </a:lnTo>
                      <a:lnTo>
                        <a:pt x="103" y="214"/>
                      </a:lnTo>
                      <a:lnTo>
                        <a:pt x="104" y="215"/>
                      </a:lnTo>
                      <a:lnTo>
                        <a:pt x="105" y="216"/>
                      </a:lnTo>
                      <a:lnTo>
                        <a:pt x="106" y="216"/>
                      </a:lnTo>
                      <a:lnTo>
                        <a:pt x="107" y="216"/>
                      </a:lnTo>
                      <a:lnTo>
                        <a:pt x="109" y="216"/>
                      </a:lnTo>
                      <a:lnTo>
                        <a:pt x="112" y="214"/>
                      </a:lnTo>
                      <a:lnTo>
                        <a:pt x="115" y="212"/>
                      </a:lnTo>
                      <a:lnTo>
                        <a:pt x="118" y="210"/>
                      </a:lnTo>
                      <a:lnTo>
                        <a:pt x="123" y="204"/>
                      </a:lnTo>
                      <a:lnTo>
                        <a:pt x="126" y="197"/>
                      </a:lnTo>
                      <a:lnTo>
                        <a:pt x="130" y="192"/>
                      </a:lnTo>
                      <a:lnTo>
                        <a:pt x="134" y="190"/>
                      </a:lnTo>
                      <a:lnTo>
                        <a:pt x="137" y="192"/>
                      </a:lnTo>
                      <a:lnTo>
                        <a:pt x="137" y="195"/>
                      </a:lnTo>
                      <a:lnTo>
                        <a:pt x="136" y="200"/>
                      </a:lnTo>
                      <a:lnTo>
                        <a:pt x="134" y="205"/>
                      </a:lnTo>
                      <a:lnTo>
                        <a:pt x="134" y="210"/>
                      </a:lnTo>
                      <a:lnTo>
                        <a:pt x="136" y="212"/>
                      </a:lnTo>
                      <a:lnTo>
                        <a:pt x="137" y="214"/>
                      </a:lnTo>
                      <a:lnTo>
                        <a:pt x="138" y="216"/>
                      </a:lnTo>
                      <a:lnTo>
                        <a:pt x="139" y="216"/>
                      </a:lnTo>
                      <a:lnTo>
                        <a:pt x="140" y="216"/>
                      </a:lnTo>
                      <a:lnTo>
                        <a:pt x="141" y="215"/>
                      </a:lnTo>
                      <a:lnTo>
                        <a:pt x="142" y="215"/>
                      </a:lnTo>
                      <a:lnTo>
                        <a:pt x="142" y="214"/>
                      </a:lnTo>
                      <a:lnTo>
                        <a:pt x="142" y="212"/>
                      </a:lnTo>
                      <a:lnTo>
                        <a:pt x="142" y="210"/>
                      </a:lnTo>
                      <a:lnTo>
                        <a:pt x="141" y="210"/>
                      </a:lnTo>
                      <a:lnTo>
                        <a:pt x="140" y="208"/>
                      </a:lnTo>
                      <a:lnTo>
                        <a:pt x="140" y="207"/>
                      </a:lnTo>
                      <a:lnTo>
                        <a:pt x="140" y="205"/>
                      </a:lnTo>
                      <a:lnTo>
                        <a:pt x="141" y="203"/>
                      </a:lnTo>
                      <a:lnTo>
                        <a:pt x="141" y="201"/>
                      </a:lnTo>
                      <a:lnTo>
                        <a:pt x="142" y="199"/>
                      </a:lnTo>
                      <a:lnTo>
                        <a:pt x="144" y="195"/>
                      </a:lnTo>
                      <a:lnTo>
                        <a:pt x="145" y="193"/>
                      </a:lnTo>
                      <a:lnTo>
                        <a:pt x="146" y="192"/>
                      </a:lnTo>
                      <a:lnTo>
                        <a:pt x="147" y="192"/>
                      </a:lnTo>
                      <a:lnTo>
                        <a:pt x="148" y="193"/>
                      </a:lnTo>
                      <a:lnTo>
                        <a:pt x="149" y="195"/>
                      </a:lnTo>
                      <a:lnTo>
                        <a:pt x="149" y="196"/>
                      </a:lnTo>
                      <a:lnTo>
                        <a:pt x="149" y="199"/>
                      </a:lnTo>
                      <a:lnTo>
                        <a:pt x="149" y="202"/>
                      </a:lnTo>
                      <a:lnTo>
                        <a:pt x="150" y="204"/>
                      </a:lnTo>
                      <a:lnTo>
                        <a:pt x="151" y="204"/>
                      </a:lnTo>
                      <a:lnTo>
                        <a:pt x="152" y="204"/>
                      </a:lnTo>
                      <a:lnTo>
                        <a:pt x="153" y="204"/>
                      </a:lnTo>
                      <a:lnTo>
                        <a:pt x="155" y="203"/>
                      </a:lnTo>
                      <a:lnTo>
                        <a:pt x="156" y="202"/>
                      </a:lnTo>
                      <a:lnTo>
                        <a:pt x="158" y="201"/>
                      </a:lnTo>
                      <a:lnTo>
                        <a:pt x="159" y="200"/>
                      </a:lnTo>
                      <a:lnTo>
                        <a:pt x="160" y="199"/>
                      </a:lnTo>
                      <a:lnTo>
                        <a:pt x="162" y="199"/>
                      </a:lnTo>
                      <a:lnTo>
                        <a:pt x="163" y="199"/>
                      </a:lnTo>
                      <a:lnTo>
                        <a:pt x="166" y="199"/>
                      </a:lnTo>
                      <a:lnTo>
                        <a:pt x="167" y="200"/>
                      </a:lnTo>
                      <a:lnTo>
                        <a:pt x="167" y="201"/>
                      </a:lnTo>
                      <a:lnTo>
                        <a:pt x="167" y="205"/>
                      </a:lnTo>
                      <a:lnTo>
                        <a:pt x="168" y="206"/>
                      </a:lnTo>
                      <a:lnTo>
                        <a:pt x="169" y="207"/>
                      </a:lnTo>
                      <a:lnTo>
                        <a:pt x="170" y="207"/>
                      </a:lnTo>
                      <a:lnTo>
                        <a:pt x="170" y="207"/>
                      </a:lnTo>
                      <a:lnTo>
                        <a:pt x="171" y="207"/>
                      </a:lnTo>
                      <a:lnTo>
                        <a:pt x="173" y="207"/>
                      </a:lnTo>
                      <a:lnTo>
                        <a:pt x="174" y="208"/>
                      </a:lnTo>
                      <a:lnTo>
                        <a:pt x="175" y="211"/>
                      </a:lnTo>
                      <a:lnTo>
                        <a:pt x="175" y="212"/>
                      </a:lnTo>
                      <a:lnTo>
                        <a:pt x="175" y="214"/>
                      </a:lnTo>
                      <a:lnTo>
                        <a:pt x="178" y="214"/>
                      </a:lnTo>
                      <a:lnTo>
                        <a:pt x="179" y="214"/>
                      </a:lnTo>
                      <a:lnTo>
                        <a:pt x="181" y="212"/>
                      </a:lnTo>
                      <a:lnTo>
                        <a:pt x="183" y="210"/>
                      </a:lnTo>
                      <a:lnTo>
                        <a:pt x="184" y="207"/>
                      </a:lnTo>
                      <a:lnTo>
                        <a:pt x="188" y="203"/>
                      </a:lnTo>
                      <a:lnTo>
                        <a:pt x="190" y="201"/>
                      </a:lnTo>
                      <a:lnTo>
                        <a:pt x="193" y="200"/>
                      </a:lnTo>
                      <a:lnTo>
                        <a:pt x="195" y="201"/>
                      </a:lnTo>
                      <a:lnTo>
                        <a:pt x="197" y="202"/>
                      </a:lnTo>
                      <a:lnTo>
                        <a:pt x="200" y="203"/>
                      </a:lnTo>
                      <a:lnTo>
                        <a:pt x="202" y="205"/>
                      </a:lnTo>
                      <a:lnTo>
                        <a:pt x="206" y="206"/>
                      </a:lnTo>
                      <a:lnTo>
                        <a:pt x="211" y="208"/>
                      </a:lnTo>
                      <a:lnTo>
                        <a:pt x="216" y="208"/>
                      </a:lnTo>
                      <a:lnTo>
                        <a:pt x="222" y="207"/>
                      </a:lnTo>
                      <a:lnTo>
                        <a:pt x="224" y="206"/>
                      </a:lnTo>
                      <a:lnTo>
                        <a:pt x="226" y="205"/>
                      </a:lnTo>
                      <a:lnTo>
                        <a:pt x="228" y="206"/>
                      </a:lnTo>
                      <a:lnTo>
                        <a:pt x="230" y="207"/>
                      </a:lnTo>
                      <a:lnTo>
                        <a:pt x="233" y="208"/>
                      </a:lnTo>
                      <a:lnTo>
                        <a:pt x="235" y="208"/>
                      </a:lnTo>
                      <a:lnTo>
                        <a:pt x="237" y="210"/>
                      </a:lnTo>
                      <a:lnTo>
                        <a:pt x="245" y="207"/>
                      </a:lnTo>
                      <a:lnTo>
                        <a:pt x="251" y="204"/>
                      </a:lnTo>
                      <a:lnTo>
                        <a:pt x="259" y="203"/>
                      </a:lnTo>
                      <a:lnTo>
                        <a:pt x="261" y="202"/>
                      </a:lnTo>
                      <a:lnTo>
                        <a:pt x="265" y="203"/>
                      </a:lnTo>
                      <a:lnTo>
                        <a:pt x="267" y="204"/>
                      </a:lnTo>
                      <a:lnTo>
                        <a:pt x="269" y="205"/>
                      </a:lnTo>
                      <a:lnTo>
                        <a:pt x="270" y="207"/>
                      </a:lnTo>
                      <a:lnTo>
                        <a:pt x="272" y="208"/>
                      </a:lnTo>
                      <a:lnTo>
                        <a:pt x="275" y="210"/>
                      </a:lnTo>
                      <a:lnTo>
                        <a:pt x="277" y="211"/>
                      </a:lnTo>
                      <a:lnTo>
                        <a:pt x="279" y="212"/>
                      </a:lnTo>
                      <a:lnTo>
                        <a:pt x="282" y="213"/>
                      </a:lnTo>
                      <a:lnTo>
                        <a:pt x="286" y="213"/>
                      </a:lnTo>
                      <a:lnTo>
                        <a:pt x="289" y="213"/>
                      </a:lnTo>
                      <a:lnTo>
                        <a:pt x="292" y="214"/>
                      </a:lnTo>
                      <a:lnTo>
                        <a:pt x="293" y="214"/>
                      </a:lnTo>
                      <a:lnTo>
                        <a:pt x="294" y="215"/>
                      </a:lnTo>
                      <a:lnTo>
                        <a:pt x="295" y="216"/>
                      </a:lnTo>
                      <a:lnTo>
                        <a:pt x="298" y="216"/>
                      </a:lnTo>
                      <a:lnTo>
                        <a:pt x="299" y="216"/>
                      </a:lnTo>
                      <a:lnTo>
                        <a:pt x="302" y="216"/>
                      </a:lnTo>
                      <a:lnTo>
                        <a:pt x="306" y="218"/>
                      </a:lnTo>
                      <a:lnTo>
                        <a:pt x="310" y="221"/>
                      </a:lnTo>
                      <a:lnTo>
                        <a:pt x="313" y="224"/>
                      </a:lnTo>
                      <a:lnTo>
                        <a:pt x="316" y="227"/>
                      </a:lnTo>
                      <a:lnTo>
                        <a:pt x="316" y="229"/>
                      </a:lnTo>
                      <a:lnTo>
                        <a:pt x="317" y="232"/>
                      </a:lnTo>
                      <a:lnTo>
                        <a:pt x="320" y="233"/>
                      </a:lnTo>
                      <a:lnTo>
                        <a:pt x="323" y="234"/>
                      </a:lnTo>
                      <a:lnTo>
                        <a:pt x="326" y="234"/>
                      </a:lnTo>
                      <a:lnTo>
                        <a:pt x="330" y="234"/>
                      </a:lnTo>
                      <a:lnTo>
                        <a:pt x="332" y="234"/>
                      </a:lnTo>
                      <a:lnTo>
                        <a:pt x="335" y="235"/>
                      </a:lnTo>
                      <a:lnTo>
                        <a:pt x="338" y="236"/>
                      </a:lnTo>
                      <a:lnTo>
                        <a:pt x="341" y="227"/>
                      </a:lnTo>
                      <a:lnTo>
                        <a:pt x="339" y="225"/>
                      </a:lnTo>
                      <a:lnTo>
                        <a:pt x="338" y="223"/>
                      </a:lnTo>
                      <a:lnTo>
                        <a:pt x="337" y="223"/>
                      </a:lnTo>
                      <a:lnTo>
                        <a:pt x="335" y="222"/>
                      </a:lnTo>
                      <a:lnTo>
                        <a:pt x="334" y="221"/>
                      </a:lnTo>
                      <a:lnTo>
                        <a:pt x="335" y="217"/>
                      </a:lnTo>
                      <a:lnTo>
                        <a:pt x="339" y="213"/>
                      </a:lnTo>
                      <a:lnTo>
                        <a:pt x="345" y="208"/>
                      </a:lnTo>
                      <a:lnTo>
                        <a:pt x="350" y="205"/>
                      </a:lnTo>
                      <a:lnTo>
                        <a:pt x="354" y="203"/>
                      </a:lnTo>
                      <a:lnTo>
                        <a:pt x="355" y="201"/>
                      </a:lnTo>
                      <a:lnTo>
                        <a:pt x="357" y="197"/>
                      </a:lnTo>
                      <a:lnTo>
                        <a:pt x="358" y="195"/>
                      </a:lnTo>
                      <a:lnTo>
                        <a:pt x="360" y="193"/>
                      </a:lnTo>
                      <a:lnTo>
                        <a:pt x="361" y="192"/>
                      </a:lnTo>
                      <a:lnTo>
                        <a:pt x="364" y="192"/>
                      </a:lnTo>
                      <a:lnTo>
                        <a:pt x="365" y="192"/>
                      </a:lnTo>
                      <a:lnTo>
                        <a:pt x="366" y="193"/>
                      </a:lnTo>
                      <a:lnTo>
                        <a:pt x="367" y="196"/>
                      </a:lnTo>
                      <a:lnTo>
                        <a:pt x="367" y="196"/>
                      </a:lnTo>
                      <a:lnTo>
                        <a:pt x="367" y="197"/>
                      </a:lnTo>
                      <a:lnTo>
                        <a:pt x="367" y="199"/>
                      </a:lnTo>
                      <a:lnTo>
                        <a:pt x="368" y="200"/>
                      </a:lnTo>
                      <a:lnTo>
                        <a:pt x="369" y="201"/>
                      </a:lnTo>
                      <a:lnTo>
                        <a:pt x="370" y="200"/>
                      </a:lnTo>
                      <a:lnTo>
                        <a:pt x="372" y="199"/>
                      </a:lnTo>
                      <a:lnTo>
                        <a:pt x="375" y="197"/>
                      </a:lnTo>
                      <a:lnTo>
                        <a:pt x="376" y="195"/>
                      </a:lnTo>
                      <a:lnTo>
                        <a:pt x="378" y="194"/>
                      </a:lnTo>
                      <a:lnTo>
                        <a:pt x="378" y="192"/>
                      </a:lnTo>
                      <a:lnTo>
                        <a:pt x="379" y="191"/>
                      </a:lnTo>
                      <a:lnTo>
                        <a:pt x="379" y="190"/>
                      </a:lnTo>
                      <a:lnTo>
                        <a:pt x="380" y="188"/>
                      </a:lnTo>
                      <a:lnTo>
                        <a:pt x="382" y="185"/>
                      </a:lnTo>
                      <a:lnTo>
                        <a:pt x="383" y="184"/>
                      </a:lnTo>
                      <a:lnTo>
                        <a:pt x="387" y="183"/>
                      </a:lnTo>
                      <a:lnTo>
                        <a:pt x="389" y="182"/>
                      </a:lnTo>
                      <a:lnTo>
                        <a:pt x="391" y="181"/>
                      </a:lnTo>
                      <a:lnTo>
                        <a:pt x="395" y="180"/>
                      </a:lnTo>
                      <a:lnTo>
                        <a:pt x="397" y="179"/>
                      </a:lnTo>
                      <a:lnTo>
                        <a:pt x="399" y="178"/>
                      </a:lnTo>
                      <a:lnTo>
                        <a:pt x="400" y="175"/>
                      </a:lnTo>
                      <a:lnTo>
                        <a:pt x="402" y="172"/>
                      </a:lnTo>
                      <a:lnTo>
                        <a:pt x="403" y="169"/>
                      </a:lnTo>
                      <a:lnTo>
                        <a:pt x="407" y="166"/>
                      </a:lnTo>
                      <a:lnTo>
                        <a:pt x="410" y="162"/>
                      </a:lnTo>
                      <a:lnTo>
                        <a:pt x="412" y="161"/>
                      </a:lnTo>
                      <a:lnTo>
                        <a:pt x="415" y="162"/>
                      </a:lnTo>
                      <a:lnTo>
                        <a:pt x="418" y="163"/>
                      </a:lnTo>
                      <a:lnTo>
                        <a:pt x="419" y="163"/>
                      </a:lnTo>
                      <a:lnTo>
                        <a:pt x="420" y="164"/>
                      </a:lnTo>
                      <a:lnTo>
                        <a:pt x="420" y="166"/>
                      </a:lnTo>
                      <a:lnTo>
                        <a:pt x="420" y="168"/>
                      </a:lnTo>
                      <a:lnTo>
                        <a:pt x="420" y="169"/>
                      </a:lnTo>
                      <a:lnTo>
                        <a:pt x="420" y="171"/>
                      </a:lnTo>
                      <a:lnTo>
                        <a:pt x="420" y="172"/>
                      </a:lnTo>
                      <a:lnTo>
                        <a:pt x="420" y="174"/>
                      </a:lnTo>
                      <a:lnTo>
                        <a:pt x="421" y="174"/>
                      </a:lnTo>
                      <a:lnTo>
                        <a:pt x="422" y="174"/>
                      </a:lnTo>
                      <a:lnTo>
                        <a:pt x="424" y="173"/>
                      </a:lnTo>
                      <a:lnTo>
                        <a:pt x="426" y="172"/>
                      </a:lnTo>
                      <a:lnTo>
                        <a:pt x="429" y="170"/>
                      </a:lnTo>
                      <a:lnTo>
                        <a:pt x="430" y="168"/>
                      </a:lnTo>
                      <a:lnTo>
                        <a:pt x="432" y="164"/>
                      </a:lnTo>
                      <a:lnTo>
                        <a:pt x="434" y="162"/>
                      </a:lnTo>
                      <a:lnTo>
                        <a:pt x="435" y="160"/>
                      </a:lnTo>
                      <a:lnTo>
                        <a:pt x="436" y="158"/>
                      </a:lnTo>
                      <a:lnTo>
                        <a:pt x="436" y="157"/>
                      </a:lnTo>
                      <a:lnTo>
                        <a:pt x="439" y="152"/>
                      </a:lnTo>
                      <a:lnTo>
                        <a:pt x="440" y="146"/>
                      </a:lnTo>
                      <a:lnTo>
                        <a:pt x="440" y="140"/>
                      </a:lnTo>
                      <a:lnTo>
                        <a:pt x="441" y="136"/>
                      </a:lnTo>
                      <a:lnTo>
                        <a:pt x="444" y="134"/>
                      </a:lnTo>
                      <a:lnTo>
                        <a:pt x="447" y="135"/>
                      </a:lnTo>
                      <a:lnTo>
                        <a:pt x="452" y="139"/>
                      </a:lnTo>
                      <a:lnTo>
                        <a:pt x="454" y="146"/>
                      </a:lnTo>
                      <a:lnTo>
                        <a:pt x="455" y="153"/>
                      </a:lnTo>
                      <a:lnTo>
                        <a:pt x="456" y="161"/>
                      </a:lnTo>
                      <a:lnTo>
                        <a:pt x="457" y="164"/>
                      </a:lnTo>
                      <a:lnTo>
                        <a:pt x="459" y="171"/>
                      </a:lnTo>
                      <a:lnTo>
                        <a:pt x="462" y="177"/>
                      </a:lnTo>
                      <a:lnTo>
                        <a:pt x="465" y="181"/>
                      </a:lnTo>
                      <a:lnTo>
                        <a:pt x="467" y="181"/>
                      </a:lnTo>
                      <a:lnTo>
                        <a:pt x="472" y="178"/>
                      </a:lnTo>
                      <a:lnTo>
                        <a:pt x="475" y="172"/>
                      </a:lnTo>
                      <a:lnTo>
                        <a:pt x="477" y="168"/>
                      </a:lnTo>
                      <a:lnTo>
                        <a:pt x="476" y="163"/>
                      </a:lnTo>
                      <a:lnTo>
                        <a:pt x="477" y="162"/>
                      </a:lnTo>
                      <a:lnTo>
                        <a:pt x="478" y="161"/>
                      </a:lnTo>
                      <a:lnTo>
                        <a:pt x="479" y="160"/>
                      </a:lnTo>
                      <a:lnTo>
                        <a:pt x="480" y="158"/>
                      </a:lnTo>
                      <a:lnTo>
                        <a:pt x="481" y="155"/>
                      </a:lnTo>
                      <a:lnTo>
                        <a:pt x="483" y="152"/>
                      </a:lnTo>
                      <a:lnTo>
                        <a:pt x="484" y="151"/>
                      </a:lnTo>
                      <a:lnTo>
                        <a:pt x="485" y="149"/>
                      </a:lnTo>
                      <a:lnTo>
                        <a:pt x="487" y="149"/>
                      </a:lnTo>
                      <a:lnTo>
                        <a:pt x="489" y="149"/>
                      </a:lnTo>
                      <a:lnTo>
                        <a:pt x="491" y="150"/>
                      </a:lnTo>
                      <a:lnTo>
                        <a:pt x="495" y="155"/>
                      </a:lnTo>
                      <a:lnTo>
                        <a:pt x="494" y="161"/>
                      </a:lnTo>
                      <a:lnTo>
                        <a:pt x="489" y="170"/>
                      </a:lnTo>
                      <a:lnTo>
                        <a:pt x="489" y="173"/>
                      </a:lnTo>
                      <a:lnTo>
                        <a:pt x="488" y="175"/>
                      </a:lnTo>
                      <a:lnTo>
                        <a:pt x="489" y="178"/>
                      </a:lnTo>
                      <a:lnTo>
                        <a:pt x="489" y="178"/>
                      </a:lnTo>
                      <a:lnTo>
                        <a:pt x="491" y="179"/>
                      </a:lnTo>
                      <a:lnTo>
                        <a:pt x="492" y="178"/>
                      </a:lnTo>
                      <a:lnTo>
                        <a:pt x="495" y="178"/>
                      </a:lnTo>
                      <a:lnTo>
                        <a:pt x="497" y="177"/>
                      </a:lnTo>
                      <a:lnTo>
                        <a:pt x="498" y="175"/>
                      </a:lnTo>
                      <a:lnTo>
                        <a:pt x="500" y="174"/>
                      </a:lnTo>
                      <a:lnTo>
                        <a:pt x="502" y="171"/>
                      </a:lnTo>
                      <a:lnTo>
                        <a:pt x="505" y="169"/>
                      </a:lnTo>
                      <a:lnTo>
                        <a:pt x="508" y="166"/>
                      </a:lnTo>
                      <a:lnTo>
                        <a:pt x="509" y="163"/>
                      </a:lnTo>
                      <a:lnTo>
                        <a:pt x="511" y="159"/>
                      </a:lnTo>
                      <a:lnTo>
                        <a:pt x="515" y="157"/>
                      </a:lnTo>
                      <a:lnTo>
                        <a:pt x="518" y="155"/>
                      </a:lnTo>
                      <a:lnTo>
                        <a:pt x="522" y="153"/>
                      </a:lnTo>
                      <a:lnTo>
                        <a:pt x="526" y="152"/>
                      </a:lnTo>
                      <a:lnTo>
                        <a:pt x="530" y="151"/>
                      </a:lnTo>
                      <a:lnTo>
                        <a:pt x="533" y="151"/>
                      </a:lnTo>
                      <a:lnTo>
                        <a:pt x="535" y="152"/>
                      </a:lnTo>
                      <a:lnTo>
                        <a:pt x="539" y="153"/>
                      </a:lnTo>
                      <a:lnTo>
                        <a:pt x="542" y="156"/>
                      </a:lnTo>
                      <a:lnTo>
                        <a:pt x="545" y="158"/>
                      </a:lnTo>
                      <a:lnTo>
                        <a:pt x="549" y="159"/>
                      </a:lnTo>
                      <a:lnTo>
                        <a:pt x="551" y="161"/>
                      </a:lnTo>
                      <a:lnTo>
                        <a:pt x="552" y="162"/>
                      </a:lnTo>
                      <a:lnTo>
                        <a:pt x="555" y="162"/>
                      </a:lnTo>
                      <a:lnTo>
                        <a:pt x="557" y="163"/>
                      </a:lnTo>
                      <a:lnTo>
                        <a:pt x="560" y="163"/>
                      </a:lnTo>
                      <a:lnTo>
                        <a:pt x="563" y="163"/>
                      </a:lnTo>
                      <a:lnTo>
                        <a:pt x="566" y="164"/>
                      </a:lnTo>
                      <a:lnTo>
                        <a:pt x="568" y="164"/>
                      </a:lnTo>
                      <a:lnTo>
                        <a:pt x="571" y="167"/>
                      </a:lnTo>
                      <a:lnTo>
                        <a:pt x="573" y="168"/>
                      </a:lnTo>
                      <a:lnTo>
                        <a:pt x="581" y="174"/>
                      </a:lnTo>
                      <a:lnTo>
                        <a:pt x="589" y="180"/>
                      </a:lnTo>
                      <a:lnTo>
                        <a:pt x="601" y="183"/>
                      </a:lnTo>
                      <a:lnTo>
                        <a:pt x="605" y="181"/>
                      </a:lnTo>
                      <a:lnTo>
                        <a:pt x="609" y="179"/>
                      </a:lnTo>
                      <a:lnTo>
                        <a:pt x="615" y="177"/>
                      </a:lnTo>
                      <a:lnTo>
                        <a:pt x="619" y="177"/>
                      </a:lnTo>
                      <a:lnTo>
                        <a:pt x="621" y="175"/>
                      </a:lnTo>
                      <a:lnTo>
                        <a:pt x="623" y="177"/>
                      </a:lnTo>
                      <a:lnTo>
                        <a:pt x="626" y="178"/>
                      </a:lnTo>
                      <a:lnTo>
                        <a:pt x="628" y="179"/>
                      </a:lnTo>
                      <a:lnTo>
                        <a:pt x="630" y="181"/>
                      </a:lnTo>
                      <a:lnTo>
                        <a:pt x="632" y="183"/>
                      </a:lnTo>
                      <a:lnTo>
                        <a:pt x="636" y="186"/>
                      </a:lnTo>
                      <a:lnTo>
                        <a:pt x="639" y="191"/>
                      </a:lnTo>
                      <a:lnTo>
                        <a:pt x="641" y="195"/>
                      </a:lnTo>
                      <a:lnTo>
                        <a:pt x="641" y="200"/>
                      </a:lnTo>
                      <a:lnTo>
                        <a:pt x="637" y="203"/>
                      </a:lnTo>
                      <a:lnTo>
                        <a:pt x="631" y="204"/>
                      </a:lnTo>
                      <a:lnTo>
                        <a:pt x="626" y="204"/>
                      </a:lnTo>
                      <a:lnTo>
                        <a:pt x="621" y="206"/>
                      </a:lnTo>
                      <a:lnTo>
                        <a:pt x="617" y="212"/>
                      </a:lnTo>
                      <a:lnTo>
                        <a:pt x="617" y="215"/>
                      </a:lnTo>
                      <a:lnTo>
                        <a:pt x="617" y="218"/>
                      </a:lnTo>
                      <a:lnTo>
                        <a:pt x="618" y="221"/>
                      </a:lnTo>
                      <a:lnTo>
                        <a:pt x="620" y="222"/>
                      </a:lnTo>
                      <a:lnTo>
                        <a:pt x="622" y="223"/>
                      </a:lnTo>
                      <a:lnTo>
                        <a:pt x="625" y="223"/>
                      </a:lnTo>
                      <a:lnTo>
                        <a:pt x="628" y="223"/>
                      </a:lnTo>
                      <a:lnTo>
                        <a:pt x="630" y="223"/>
                      </a:lnTo>
                      <a:lnTo>
                        <a:pt x="637" y="223"/>
                      </a:lnTo>
                      <a:lnTo>
                        <a:pt x="643" y="225"/>
                      </a:lnTo>
                      <a:lnTo>
                        <a:pt x="649" y="227"/>
                      </a:lnTo>
                      <a:lnTo>
                        <a:pt x="655" y="228"/>
                      </a:lnTo>
                      <a:lnTo>
                        <a:pt x="663" y="227"/>
                      </a:lnTo>
                      <a:lnTo>
                        <a:pt x="674" y="220"/>
                      </a:lnTo>
                      <a:lnTo>
                        <a:pt x="686" y="214"/>
                      </a:lnTo>
                      <a:lnTo>
                        <a:pt x="701" y="212"/>
                      </a:lnTo>
                      <a:lnTo>
                        <a:pt x="710" y="215"/>
                      </a:lnTo>
                      <a:lnTo>
                        <a:pt x="720" y="221"/>
                      </a:lnTo>
                      <a:lnTo>
                        <a:pt x="729" y="227"/>
                      </a:lnTo>
                      <a:lnTo>
                        <a:pt x="731" y="228"/>
                      </a:lnTo>
                      <a:lnTo>
                        <a:pt x="734" y="228"/>
                      </a:lnTo>
                      <a:lnTo>
                        <a:pt x="735" y="227"/>
                      </a:lnTo>
                      <a:lnTo>
                        <a:pt x="735" y="226"/>
                      </a:lnTo>
                      <a:lnTo>
                        <a:pt x="736" y="224"/>
                      </a:lnTo>
                      <a:lnTo>
                        <a:pt x="736" y="222"/>
                      </a:lnTo>
                      <a:lnTo>
                        <a:pt x="736" y="220"/>
                      </a:lnTo>
                      <a:lnTo>
                        <a:pt x="735" y="217"/>
                      </a:lnTo>
                      <a:lnTo>
                        <a:pt x="735" y="215"/>
                      </a:lnTo>
                      <a:lnTo>
                        <a:pt x="735" y="213"/>
                      </a:lnTo>
                      <a:lnTo>
                        <a:pt x="736" y="212"/>
                      </a:lnTo>
                      <a:lnTo>
                        <a:pt x="737" y="210"/>
                      </a:lnTo>
                      <a:lnTo>
                        <a:pt x="740" y="207"/>
                      </a:lnTo>
                      <a:lnTo>
                        <a:pt x="742" y="205"/>
                      </a:lnTo>
                      <a:lnTo>
                        <a:pt x="746" y="203"/>
                      </a:lnTo>
                      <a:lnTo>
                        <a:pt x="749" y="201"/>
                      </a:lnTo>
                      <a:lnTo>
                        <a:pt x="750" y="199"/>
                      </a:lnTo>
                      <a:lnTo>
                        <a:pt x="753" y="196"/>
                      </a:lnTo>
                      <a:lnTo>
                        <a:pt x="756" y="195"/>
                      </a:lnTo>
                      <a:lnTo>
                        <a:pt x="758" y="194"/>
                      </a:lnTo>
                      <a:lnTo>
                        <a:pt x="760" y="192"/>
                      </a:lnTo>
                      <a:lnTo>
                        <a:pt x="763" y="188"/>
                      </a:lnTo>
                      <a:lnTo>
                        <a:pt x="769" y="183"/>
                      </a:lnTo>
                      <a:lnTo>
                        <a:pt x="775" y="180"/>
                      </a:lnTo>
                      <a:lnTo>
                        <a:pt x="782" y="179"/>
                      </a:lnTo>
                      <a:lnTo>
                        <a:pt x="786" y="179"/>
                      </a:lnTo>
                      <a:lnTo>
                        <a:pt x="789" y="179"/>
                      </a:lnTo>
                      <a:lnTo>
                        <a:pt x="791" y="181"/>
                      </a:lnTo>
                      <a:lnTo>
                        <a:pt x="793" y="182"/>
                      </a:lnTo>
                      <a:lnTo>
                        <a:pt x="795" y="185"/>
                      </a:lnTo>
                      <a:lnTo>
                        <a:pt x="796" y="188"/>
                      </a:lnTo>
                      <a:lnTo>
                        <a:pt x="799" y="190"/>
                      </a:lnTo>
                      <a:lnTo>
                        <a:pt x="801" y="191"/>
                      </a:lnTo>
                      <a:lnTo>
                        <a:pt x="804" y="192"/>
                      </a:lnTo>
                      <a:lnTo>
                        <a:pt x="805" y="192"/>
                      </a:lnTo>
                      <a:lnTo>
                        <a:pt x="807" y="191"/>
                      </a:lnTo>
                      <a:lnTo>
                        <a:pt x="810" y="190"/>
                      </a:lnTo>
                      <a:lnTo>
                        <a:pt x="811" y="189"/>
                      </a:lnTo>
                      <a:lnTo>
                        <a:pt x="813" y="186"/>
                      </a:lnTo>
                      <a:lnTo>
                        <a:pt x="815" y="185"/>
                      </a:lnTo>
                      <a:lnTo>
                        <a:pt x="816" y="184"/>
                      </a:lnTo>
                      <a:lnTo>
                        <a:pt x="818" y="184"/>
                      </a:lnTo>
                      <a:lnTo>
                        <a:pt x="819" y="185"/>
                      </a:lnTo>
                      <a:lnTo>
                        <a:pt x="821" y="186"/>
                      </a:lnTo>
                      <a:lnTo>
                        <a:pt x="823" y="190"/>
                      </a:lnTo>
                      <a:lnTo>
                        <a:pt x="824" y="192"/>
                      </a:lnTo>
                      <a:lnTo>
                        <a:pt x="824" y="194"/>
                      </a:lnTo>
                      <a:lnTo>
                        <a:pt x="825" y="196"/>
                      </a:lnTo>
                      <a:lnTo>
                        <a:pt x="827" y="199"/>
                      </a:lnTo>
                      <a:lnTo>
                        <a:pt x="829" y="201"/>
                      </a:lnTo>
                      <a:lnTo>
                        <a:pt x="833" y="202"/>
                      </a:lnTo>
                      <a:lnTo>
                        <a:pt x="836" y="202"/>
                      </a:lnTo>
                      <a:lnTo>
                        <a:pt x="838" y="203"/>
                      </a:lnTo>
                      <a:lnTo>
                        <a:pt x="850" y="200"/>
                      </a:lnTo>
                      <a:lnTo>
                        <a:pt x="861" y="196"/>
                      </a:lnTo>
                      <a:lnTo>
                        <a:pt x="873" y="195"/>
                      </a:lnTo>
                      <a:lnTo>
                        <a:pt x="884" y="196"/>
                      </a:lnTo>
                      <a:lnTo>
                        <a:pt x="888" y="196"/>
                      </a:lnTo>
                      <a:lnTo>
                        <a:pt x="891" y="196"/>
                      </a:lnTo>
                      <a:lnTo>
                        <a:pt x="893" y="197"/>
                      </a:lnTo>
                      <a:lnTo>
                        <a:pt x="897" y="196"/>
                      </a:lnTo>
                      <a:lnTo>
                        <a:pt x="898" y="196"/>
                      </a:lnTo>
                      <a:lnTo>
                        <a:pt x="901" y="195"/>
                      </a:lnTo>
                      <a:lnTo>
                        <a:pt x="903" y="193"/>
                      </a:lnTo>
                      <a:lnTo>
                        <a:pt x="904" y="191"/>
                      </a:lnTo>
                      <a:lnTo>
                        <a:pt x="905" y="189"/>
                      </a:lnTo>
                      <a:lnTo>
                        <a:pt x="905" y="186"/>
                      </a:lnTo>
                      <a:lnTo>
                        <a:pt x="906" y="185"/>
                      </a:lnTo>
                      <a:lnTo>
                        <a:pt x="906" y="183"/>
                      </a:lnTo>
                      <a:lnTo>
                        <a:pt x="911" y="178"/>
                      </a:lnTo>
                      <a:lnTo>
                        <a:pt x="917" y="175"/>
                      </a:lnTo>
                      <a:lnTo>
                        <a:pt x="924" y="175"/>
                      </a:lnTo>
                      <a:lnTo>
                        <a:pt x="931" y="174"/>
                      </a:lnTo>
                      <a:lnTo>
                        <a:pt x="933" y="174"/>
                      </a:lnTo>
                      <a:lnTo>
                        <a:pt x="935" y="173"/>
                      </a:lnTo>
                      <a:lnTo>
                        <a:pt x="937" y="173"/>
                      </a:lnTo>
                      <a:lnTo>
                        <a:pt x="938" y="173"/>
                      </a:lnTo>
                      <a:lnTo>
                        <a:pt x="939" y="172"/>
                      </a:lnTo>
                      <a:lnTo>
                        <a:pt x="942" y="173"/>
                      </a:lnTo>
                      <a:lnTo>
                        <a:pt x="943" y="174"/>
                      </a:lnTo>
                      <a:lnTo>
                        <a:pt x="944" y="177"/>
                      </a:lnTo>
                      <a:lnTo>
                        <a:pt x="945" y="179"/>
                      </a:lnTo>
                      <a:lnTo>
                        <a:pt x="946" y="181"/>
                      </a:lnTo>
                      <a:lnTo>
                        <a:pt x="947" y="183"/>
                      </a:lnTo>
                      <a:lnTo>
                        <a:pt x="948" y="185"/>
                      </a:lnTo>
                      <a:lnTo>
                        <a:pt x="950" y="188"/>
                      </a:lnTo>
                      <a:lnTo>
                        <a:pt x="952" y="191"/>
                      </a:lnTo>
                      <a:lnTo>
                        <a:pt x="952" y="194"/>
                      </a:lnTo>
                      <a:lnTo>
                        <a:pt x="950" y="197"/>
                      </a:lnTo>
                      <a:lnTo>
                        <a:pt x="948" y="201"/>
                      </a:lnTo>
                      <a:lnTo>
                        <a:pt x="947" y="204"/>
                      </a:lnTo>
                      <a:lnTo>
                        <a:pt x="947" y="207"/>
                      </a:lnTo>
                      <a:lnTo>
                        <a:pt x="947" y="211"/>
                      </a:lnTo>
                      <a:lnTo>
                        <a:pt x="949" y="214"/>
                      </a:lnTo>
                      <a:lnTo>
                        <a:pt x="952" y="216"/>
                      </a:lnTo>
                      <a:lnTo>
                        <a:pt x="954" y="218"/>
                      </a:lnTo>
                      <a:lnTo>
                        <a:pt x="957" y="220"/>
                      </a:lnTo>
                      <a:lnTo>
                        <a:pt x="960" y="220"/>
                      </a:lnTo>
                      <a:lnTo>
                        <a:pt x="964" y="218"/>
                      </a:lnTo>
                      <a:lnTo>
                        <a:pt x="966" y="216"/>
                      </a:lnTo>
                      <a:lnTo>
                        <a:pt x="968" y="208"/>
                      </a:lnTo>
                      <a:lnTo>
                        <a:pt x="966" y="203"/>
                      </a:lnTo>
                      <a:lnTo>
                        <a:pt x="964" y="196"/>
                      </a:lnTo>
                      <a:lnTo>
                        <a:pt x="963" y="191"/>
                      </a:lnTo>
                      <a:lnTo>
                        <a:pt x="964" y="185"/>
                      </a:lnTo>
                      <a:lnTo>
                        <a:pt x="967" y="182"/>
                      </a:lnTo>
                      <a:lnTo>
                        <a:pt x="972" y="177"/>
                      </a:lnTo>
                      <a:lnTo>
                        <a:pt x="979" y="171"/>
                      </a:lnTo>
                      <a:lnTo>
                        <a:pt x="986" y="166"/>
                      </a:lnTo>
                      <a:lnTo>
                        <a:pt x="992" y="160"/>
                      </a:lnTo>
                      <a:lnTo>
                        <a:pt x="996" y="155"/>
                      </a:lnTo>
                      <a:lnTo>
                        <a:pt x="996" y="150"/>
                      </a:lnTo>
                      <a:lnTo>
                        <a:pt x="990" y="148"/>
                      </a:lnTo>
                      <a:lnTo>
                        <a:pt x="987" y="147"/>
                      </a:lnTo>
                      <a:lnTo>
                        <a:pt x="983" y="147"/>
                      </a:lnTo>
                      <a:lnTo>
                        <a:pt x="981" y="145"/>
                      </a:lnTo>
                      <a:lnTo>
                        <a:pt x="980" y="142"/>
                      </a:lnTo>
                      <a:lnTo>
                        <a:pt x="979" y="139"/>
                      </a:lnTo>
                      <a:lnTo>
                        <a:pt x="979" y="136"/>
                      </a:lnTo>
                      <a:lnTo>
                        <a:pt x="980" y="134"/>
                      </a:lnTo>
                      <a:lnTo>
                        <a:pt x="982" y="131"/>
                      </a:lnTo>
                      <a:lnTo>
                        <a:pt x="985" y="129"/>
                      </a:lnTo>
                      <a:lnTo>
                        <a:pt x="988" y="128"/>
                      </a:lnTo>
                      <a:lnTo>
                        <a:pt x="990" y="126"/>
                      </a:lnTo>
                      <a:lnTo>
                        <a:pt x="992" y="125"/>
                      </a:lnTo>
                      <a:lnTo>
                        <a:pt x="994" y="124"/>
                      </a:lnTo>
                      <a:lnTo>
                        <a:pt x="997" y="122"/>
                      </a:lnTo>
                      <a:lnTo>
                        <a:pt x="999" y="119"/>
                      </a:lnTo>
                      <a:lnTo>
                        <a:pt x="999" y="118"/>
                      </a:lnTo>
                      <a:lnTo>
                        <a:pt x="999" y="116"/>
                      </a:lnTo>
                      <a:lnTo>
                        <a:pt x="998" y="115"/>
                      </a:lnTo>
                      <a:lnTo>
                        <a:pt x="996" y="113"/>
                      </a:lnTo>
                      <a:lnTo>
                        <a:pt x="993" y="112"/>
                      </a:lnTo>
                      <a:lnTo>
                        <a:pt x="992" y="111"/>
                      </a:lnTo>
                      <a:lnTo>
                        <a:pt x="982" y="108"/>
                      </a:lnTo>
                      <a:lnTo>
                        <a:pt x="974" y="106"/>
                      </a:lnTo>
                      <a:lnTo>
                        <a:pt x="966" y="102"/>
                      </a:lnTo>
                      <a:lnTo>
                        <a:pt x="959" y="95"/>
                      </a:lnTo>
                      <a:lnTo>
                        <a:pt x="955" y="90"/>
                      </a:lnTo>
                      <a:lnTo>
                        <a:pt x="949" y="84"/>
                      </a:lnTo>
                      <a:lnTo>
                        <a:pt x="946" y="77"/>
                      </a:lnTo>
                      <a:lnTo>
                        <a:pt x="946" y="71"/>
                      </a:lnTo>
                      <a:lnTo>
                        <a:pt x="948" y="69"/>
                      </a:lnTo>
                      <a:lnTo>
                        <a:pt x="950" y="66"/>
                      </a:lnTo>
                      <a:lnTo>
                        <a:pt x="953" y="65"/>
                      </a:lnTo>
                      <a:lnTo>
                        <a:pt x="956" y="64"/>
                      </a:lnTo>
                      <a:lnTo>
                        <a:pt x="957" y="62"/>
                      </a:lnTo>
                      <a:lnTo>
                        <a:pt x="959" y="59"/>
                      </a:lnTo>
                      <a:lnTo>
                        <a:pt x="959" y="57"/>
                      </a:lnTo>
                      <a:lnTo>
                        <a:pt x="958" y="54"/>
                      </a:lnTo>
                      <a:lnTo>
                        <a:pt x="957" y="52"/>
                      </a:lnTo>
                      <a:lnTo>
                        <a:pt x="955" y="51"/>
                      </a:lnTo>
                      <a:lnTo>
                        <a:pt x="954" y="46"/>
                      </a:lnTo>
                      <a:lnTo>
                        <a:pt x="954" y="42"/>
                      </a:lnTo>
                      <a:lnTo>
                        <a:pt x="954" y="38"/>
                      </a:lnTo>
                      <a:lnTo>
                        <a:pt x="955" y="33"/>
                      </a:lnTo>
                      <a:lnTo>
                        <a:pt x="957" y="31"/>
                      </a:lnTo>
                      <a:lnTo>
                        <a:pt x="958" y="29"/>
                      </a:lnTo>
                      <a:lnTo>
                        <a:pt x="960" y="28"/>
                      </a:lnTo>
                      <a:lnTo>
                        <a:pt x="964" y="28"/>
                      </a:lnTo>
                      <a:lnTo>
                        <a:pt x="966" y="27"/>
                      </a:lnTo>
                      <a:lnTo>
                        <a:pt x="969" y="24"/>
                      </a:lnTo>
                      <a:lnTo>
                        <a:pt x="971" y="17"/>
                      </a:lnTo>
                      <a:lnTo>
                        <a:pt x="972" y="11"/>
                      </a:lnTo>
                      <a:lnTo>
                        <a:pt x="975" y="7"/>
                      </a:lnTo>
                      <a:lnTo>
                        <a:pt x="976" y="5"/>
                      </a:lnTo>
                      <a:lnTo>
                        <a:pt x="978" y="4"/>
                      </a:lnTo>
                      <a:lnTo>
                        <a:pt x="980" y="2"/>
                      </a:lnTo>
                      <a:lnTo>
                        <a:pt x="983" y="0"/>
                      </a:lnTo>
                      <a:lnTo>
                        <a:pt x="98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9" name="Freeform 36"/>
                <p:cNvSpPr>
                  <a:spLocks noEditPoints="1"/>
                </p:cNvSpPr>
                <p:nvPr/>
              </p:nvSpPr>
              <p:spPr bwMode="auto">
                <a:xfrm>
                  <a:off x="5643" y="727"/>
                  <a:ext cx="333" cy="80"/>
                </a:xfrm>
                <a:custGeom>
                  <a:avLst/>
                  <a:gdLst>
                    <a:gd name="T0" fmla="*/ 2220 w 2332"/>
                    <a:gd name="T1" fmla="*/ 79 h 560"/>
                    <a:gd name="T2" fmla="*/ 1684 w 2332"/>
                    <a:gd name="T3" fmla="*/ 73 h 560"/>
                    <a:gd name="T4" fmla="*/ 343 w 2332"/>
                    <a:gd name="T5" fmla="*/ 71 h 560"/>
                    <a:gd name="T6" fmla="*/ 333 w 2332"/>
                    <a:gd name="T7" fmla="*/ 149 h 560"/>
                    <a:gd name="T8" fmla="*/ 379 w 2332"/>
                    <a:gd name="T9" fmla="*/ 230 h 560"/>
                    <a:gd name="T10" fmla="*/ 349 w 2332"/>
                    <a:gd name="T11" fmla="*/ 271 h 560"/>
                    <a:gd name="T12" fmla="*/ 270 w 2332"/>
                    <a:gd name="T13" fmla="*/ 273 h 560"/>
                    <a:gd name="T14" fmla="*/ 121 w 2332"/>
                    <a:gd name="T15" fmla="*/ 269 h 560"/>
                    <a:gd name="T16" fmla="*/ 128 w 2332"/>
                    <a:gd name="T17" fmla="*/ 228 h 560"/>
                    <a:gd name="T18" fmla="*/ 110 w 2332"/>
                    <a:gd name="T19" fmla="*/ 161 h 560"/>
                    <a:gd name="T20" fmla="*/ 189 w 2332"/>
                    <a:gd name="T21" fmla="*/ 90 h 560"/>
                    <a:gd name="T22" fmla="*/ 224 w 2332"/>
                    <a:gd name="T23" fmla="*/ 122 h 560"/>
                    <a:gd name="T24" fmla="*/ 256 w 2332"/>
                    <a:gd name="T25" fmla="*/ 97 h 560"/>
                    <a:gd name="T26" fmla="*/ 289 w 2332"/>
                    <a:gd name="T27" fmla="*/ 82 h 560"/>
                    <a:gd name="T28" fmla="*/ 306 w 2332"/>
                    <a:gd name="T29" fmla="*/ 69 h 560"/>
                    <a:gd name="T30" fmla="*/ 113 w 2332"/>
                    <a:gd name="T31" fmla="*/ 64 h 560"/>
                    <a:gd name="T32" fmla="*/ 118 w 2332"/>
                    <a:gd name="T33" fmla="*/ 126 h 560"/>
                    <a:gd name="T34" fmla="*/ 14 w 2332"/>
                    <a:gd name="T35" fmla="*/ 197 h 560"/>
                    <a:gd name="T36" fmla="*/ 38 w 2332"/>
                    <a:gd name="T37" fmla="*/ 90 h 560"/>
                    <a:gd name="T38" fmla="*/ 2002 w 2332"/>
                    <a:gd name="T39" fmla="*/ 66 h 560"/>
                    <a:gd name="T40" fmla="*/ 2022 w 2332"/>
                    <a:gd name="T41" fmla="*/ 118 h 560"/>
                    <a:gd name="T42" fmla="*/ 1994 w 2332"/>
                    <a:gd name="T43" fmla="*/ 57 h 560"/>
                    <a:gd name="T44" fmla="*/ 2166 w 2332"/>
                    <a:gd name="T45" fmla="*/ 45 h 560"/>
                    <a:gd name="T46" fmla="*/ 2158 w 2332"/>
                    <a:gd name="T47" fmla="*/ 45 h 560"/>
                    <a:gd name="T48" fmla="*/ 454 w 2332"/>
                    <a:gd name="T49" fmla="*/ 137 h 560"/>
                    <a:gd name="T50" fmla="*/ 380 w 2332"/>
                    <a:gd name="T51" fmla="*/ 105 h 560"/>
                    <a:gd name="T52" fmla="*/ 408 w 2332"/>
                    <a:gd name="T53" fmla="*/ 56 h 560"/>
                    <a:gd name="T54" fmla="*/ 2211 w 2332"/>
                    <a:gd name="T55" fmla="*/ 29 h 560"/>
                    <a:gd name="T56" fmla="*/ 2222 w 2332"/>
                    <a:gd name="T57" fmla="*/ 57 h 560"/>
                    <a:gd name="T58" fmla="*/ 679 w 2332"/>
                    <a:gd name="T59" fmla="*/ 17 h 560"/>
                    <a:gd name="T60" fmla="*/ 665 w 2332"/>
                    <a:gd name="T61" fmla="*/ 110 h 560"/>
                    <a:gd name="T62" fmla="*/ 684 w 2332"/>
                    <a:gd name="T63" fmla="*/ 82 h 560"/>
                    <a:gd name="T64" fmla="*/ 717 w 2332"/>
                    <a:gd name="T65" fmla="*/ 24 h 560"/>
                    <a:gd name="T66" fmla="*/ 781 w 2332"/>
                    <a:gd name="T67" fmla="*/ 95 h 560"/>
                    <a:gd name="T68" fmla="*/ 808 w 2332"/>
                    <a:gd name="T69" fmla="*/ 71 h 560"/>
                    <a:gd name="T70" fmla="*/ 830 w 2332"/>
                    <a:gd name="T71" fmla="*/ 36 h 560"/>
                    <a:gd name="T72" fmla="*/ 864 w 2332"/>
                    <a:gd name="T73" fmla="*/ 94 h 560"/>
                    <a:gd name="T74" fmla="*/ 898 w 2332"/>
                    <a:gd name="T75" fmla="*/ 131 h 560"/>
                    <a:gd name="T76" fmla="*/ 938 w 2332"/>
                    <a:gd name="T77" fmla="*/ 155 h 560"/>
                    <a:gd name="T78" fmla="*/ 1006 w 2332"/>
                    <a:gd name="T79" fmla="*/ 191 h 560"/>
                    <a:gd name="T80" fmla="*/ 1000 w 2332"/>
                    <a:gd name="T81" fmla="*/ 243 h 560"/>
                    <a:gd name="T82" fmla="*/ 1128 w 2332"/>
                    <a:gd name="T83" fmla="*/ 341 h 560"/>
                    <a:gd name="T84" fmla="*/ 1099 w 2332"/>
                    <a:gd name="T85" fmla="*/ 431 h 560"/>
                    <a:gd name="T86" fmla="*/ 1009 w 2332"/>
                    <a:gd name="T87" fmla="*/ 378 h 560"/>
                    <a:gd name="T88" fmla="*/ 1082 w 2332"/>
                    <a:gd name="T89" fmla="*/ 531 h 560"/>
                    <a:gd name="T90" fmla="*/ 991 w 2332"/>
                    <a:gd name="T91" fmla="*/ 525 h 560"/>
                    <a:gd name="T92" fmla="*/ 909 w 2332"/>
                    <a:gd name="T93" fmla="*/ 450 h 560"/>
                    <a:gd name="T94" fmla="*/ 820 w 2332"/>
                    <a:gd name="T95" fmla="*/ 436 h 560"/>
                    <a:gd name="T96" fmla="*/ 929 w 2332"/>
                    <a:gd name="T97" fmla="*/ 356 h 560"/>
                    <a:gd name="T98" fmla="*/ 951 w 2332"/>
                    <a:gd name="T99" fmla="*/ 343 h 560"/>
                    <a:gd name="T100" fmla="*/ 869 w 2332"/>
                    <a:gd name="T101" fmla="*/ 256 h 560"/>
                    <a:gd name="T102" fmla="*/ 838 w 2332"/>
                    <a:gd name="T103" fmla="*/ 231 h 560"/>
                    <a:gd name="T104" fmla="*/ 804 w 2332"/>
                    <a:gd name="T105" fmla="*/ 172 h 560"/>
                    <a:gd name="T106" fmla="*/ 681 w 2332"/>
                    <a:gd name="T107" fmla="*/ 199 h 560"/>
                    <a:gd name="T108" fmla="*/ 627 w 2332"/>
                    <a:gd name="T109" fmla="*/ 147 h 560"/>
                    <a:gd name="T110" fmla="*/ 2237 w 2332"/>
                    <a:gd name="T111" fmla="*/ 42 h 560"/>
                    <a:gd name="T112" fmla="*/ 2221 w 2332"/>
                    <a:gd name="T113" fmla="*/ 27 h 560"/>
                    <a:gd name="T114" fmla="*/ 1656 w 2332"/>
                    <a:gd name="T115" fmla="*/ 12 h 560"/>
                    <a:gd name="T116" fmla="*/ 561 w 2332"/>
                    <a:gd name="T117" fmla="*/ 61 h 560"/>
                    <a:gd name="T118" fmla="*/ 491 w 2332"/>
                    <a:gd name="T119" fmla="*/ 93 h 560"/>
                    <a:gd name="T120" fmla="*/ 2198 w 2332"/>
                    <a:gd name="T121" fmla="*/ 17 h 560"/>
                    <a:gd name="T122" fmla="*/ 1897 w 2332"/>
                    <a:gd name="T123" fmla="*/ 0 h 560"/>
                    <a:gd name="T124" fmla="*/ 1897 w 2332"/>
                    <a:gd name="T125" fmla="*/ 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32" h="560">
                      <a:moveTo>
                        <a:pt x="2326" y="76"/>
                      </a:moveTo>
                      <a:lnTo>
                        <a:pt x="2327" y="77"/>
                      </a:lnTo>
                      <a:lnTo>
                        <a:pt x="2328" y="78"/>
                      </a:lnTo>
                      <a:lnTo>
                        <a:pt x="2329" y="79"/>
                      </a:lnTo>
                      <a:lnTo>
                        <a:pt x="2329" y="82"/>
                      </a:lnTo>
                      <a:lnTo>
                        <a:pt x="2330" y="83"/>
                      </a:lnTo>
                      <a:lnTo>
                        <a:pt x="2330" y="84"/>
                      </a:lnTo>
                      <a:lnTo>
                        <a:pt x="2331" y="86"/>
                      </a:lnTo>
                      <a:lnTo>
                        <a:pt x="2331" y="87"/>
                      </a:lnTo>
                      <a:lnTo>
                        <a:pt x="2332" y="88"/>
                      </a:lnTo>
                      <a:lnTo>
                        <a:pt x="2331" y="89"/>
                      </a:lnTo>
                      <a:lnTo>
                        <a:pt x="2331" y="89"/>
                      </a:lnTo>
                      <a:lnTo>
                        <a:pt x="2330" y="89"/>
                      </a:lnTo>
                      <a:lnTo>
                        <a:pt x="2328" y="87"/>
                      </a:lnTo>
                      <a:lnTo>
                        <a:pt x="2326" y="86"/>
                      </a:lnTo>
                      <a:lnTo>
                        <a:pt x="2324" y="84"/>
                      </a:lnTo>
                      <a:lnTo>
                        <a:pt x="2324" y="82"/>
                      </a:lnTo>
                      <a:lnTo>
                        <a:pt x="2324" y="79"/>
                      </a:lnTo>
                      <a:lnTo>
                        <a:pt x="2325" y="78"/>
                      </a:lnTo>
                      <a:lnTo>
                        <a:pt x="2326" y="77"/>
                      </a:lnTo>
                      <a:lnTo>
                        <a:pt x="2326" y="76"/>
                      </a:lnTo>
                      <a:lnTo>
                        <a:pt x="2326" y="76"/>
                      </a:lnTo>
                      <a:close/>
                      <a:moveTo>
                        <a:pt x="2213" y="65"/>
                      </a:moveTo>
                      <a:lnTo>
                        <a:pt x="2215" y="66"/>
                      </a:lnTo>
                      <a:lnTo>
                        <a:pt x="2215" y="67"/>
                      </a:lnTo>
                      <a:lnTo>
                        <a:pt x="2216" y="68"/>
                      </a:lnTo>
                      <a:lnTo>
                        <a:pt x="2217" y="71"/>
                      </a:lnTo>
                      <a:lnTo>
                        <a:pt x="2219" y="73"/>
                      </a:lnTo>
                      <a:lnTo>
                        <a:pt x="2220" y="75"/>
                      </a:lnTo>
                      <a:lnTo>
                        <a:pt x="2221" y="78"/>
                      </a:lnTo>
                      <a:lnTo>
                        <a:pt x="2221" y="82"/>
                      </a:lnTo>
                      <a:lnTo>
                        <a:pt x="2220" y="79"/>
                      </a:lnTo>
                      <a:lnTo>
                        <a:pt x="2218" y="78"/>
                      </a:lnTo>
                      <a:lnTo>
                        <a:pt x="2217" y="77"/>
                      </a:lnTo>
                      <a:lnTo>
                        <a:pt x="2217" y="77"/>
                      </a:lnTo>
                      <a:lnTo>
                        <a:pt x="2216" y="77"/>
                      </a:lnTo>
                      <a:lnTo>
                        <a:pt x="2215" y="76"/>
                      </a:lnTo>
                      <a:lnTo>
                        <a:pt x="2213" y="75"/>
                      </a:lnTo>
                      <a:lnTo>
                        <a:pt x="2212" y="73"/>
                      </a:lnTo>
                      <a:lnTo>
                        <a:pt x="2212" y="69"/>
                      </a:lnTo>
                      <a:lnTo>
                        <a:pt x="2212" y="67"/>
                      </a:lnTo>
                      <a:lnTo>
                        <a:pt x="2212" y="66"/>
                      </a:lnTo>
                      <a:lnTo>
                        <a:pt x="2213" y="66"/>
                      </a:lnTo>
                      <a:lnTo>
                        <a:pt x="2213" y="65"/>
                      </a:lnTo>
                      <a:close/>
                      <a:moveTo>
                        <a:pt x="1691" y="63"/>
                      </a:moveTo>
                      <a:lnTo>
                        <a:pt x="1693" y="71"/>
                      </a:lnTo>
                      <a:lnTo>
                        <a:pt x="1699" y="76"/>
                      </a:lnTo>
                      <a:lnTo>
                        <a:pt x="1705" y="82"/>
                      </a:lnTo>
                      <a:lnTo>
                        <a:pt x="1706" y="84"/>
                      </a:lnTo>
                      <a:lnTo>
                        <a:pt x="1707" y="86"/>
                      </a:lnTo>
                      <a:lnTo>
                        <a:pt x="1708" y="88"/>
                      </a:lnTo>
                      <a:lnTo>
                        <a:pt x="1709" y="92"/>
                      </a:lnTo>
                      <a:lnTo>
                        <a:pt x="1709" y="94"/>
                      </a:lnTo>
                      <a:lnTo>
                        <a:pt x="1709" y="96"/>
                      </a:lnTo>
                      <a:lnTo>
                        <a:pt x="1709" y="98"/>
                      </a:lnTo>
                      <a:lnTo>
                        <a:pt x="1706" y="98"/>
                      </a:lnTo>
                      <a:lnTo>
                        <a:pt x="1702" y="96"/>
                      </a:lnTo>
                      <a:lnTo>
                        <a:pt x="1696" y="92"/>
                      </a:lnTo>
                      <a:lnTo>
                        <a:pt x="1692" y="87"/>
                      </a:lnTo>
                      <a:lnTo>
                        <a:pt x="1688" y="82"/>
                      </a:lnTo>
                      <a:lnTo>
                        <a:pt x="1686" y="80"/>
                      </a:lnTo>
                      <a:lnTo>
                        <a:pt x="1685" y="78"/>
                      </a:lnTo>
                      <a:lnTo>
                        <a:pt x="1684" y="75"/>
                      </a:lnTo>
                      <a:lnTo>
                        <a:pt x="1684" y="73"/>
                      </a:lnTo>
                      <a:lnTo>
                        <a:pt x="1684" y="71"/>
                      </a:lnTo>
                      <a:lnTo>
                        <a:pt x="1684" y="68"/>
                      </a:lnTo>
                      <a:lnTo>
                        <a:pt x="1684" y="67"/>
                      </a:lnTo>
                      <a:lnTo>
                        <a:pt x="1685" y="66"/>
                      </a:lnTo>
                      <a:lnTo>
                        <a:pt x="1687" y="66"/>
                      </a:lnTo>
                      <a:lnTo>
                        <a:pt x="1689" y="65"/>
                      </a:lnTo>
                      <a:lnTo>
                        <a:pt x="1691" y="63"/>
                      </a:lnTo>
                      <a:close/>
                      <a:moveTo>
                        <a:pt x="291" y="57"/>
                      </a:moveTo>
                      <a:lnTo>
                        <a:pt x="294" y="57"/>
                      </a:lnTo>
                      <a:lnTo>
                        <a:pt x="295" y="58"/>
                      </a:lnTo>
                      <a:lnTo>
                        <a:pt x="297" y="60"/>
                      </a:lnTo>
                      <a:lnTo>
                        <a:pt x="297" y="61"/>
                      </a:lnTo>
                      <a:lnTo>
                        <a:pt x="297" y="62"/>
                      </a:lnTo>
                      <a:lnTo>
                        <a:pt x="296" y="63"/>
                      </a:lnTo>
                      <a:lnTo>
                        <a:pt x="294" y="65"/>
                      </a:lnTo>
                      <a:lnTo>
                        <a:pt x="291" y="67"/>
                      </a:lnTo>
                      <a:lnTo>
                        <a:pt x="289" y="68"/>
                      </a:lnTo>
                      <a:lnTo>
                        <a:pt x="287" y="68"/>
                      </a:lnTo>
                      <a:lnTo>
                        <a:pt x="285" y="68"/>
                      </a:lnTo>
                      <a:lnTo>
                        <a:pt x="283" y="68"/>
                      </a:lnTo>
                      <a:lnTo>
                        <a:pt x="280" y="66"/>
                      </a:lnTo>
                      <a:lnTo>
                        <a:pt x="280" y="64"/>
                      </a:lnTo>
                      <a:lnTo>
                        <a:pt x="281" y="62"/>
                      </a:lnTo>
                      <a:lnTo>
                        <a:pt x="284" y="60"/>
                      </a:lnTo>
                      <a:lnTo>
                        <a:pt x="286" y="58"/>
                      </a:lnTo>
                      <a:lnTo>
                        <a:pt x="289" y="57"/>
                      </a:lnTo>
                      <a:lnTo>
                        <a:pt x="291" y="57"/>
                      </a:lnTo>
                      <a:close/>
                      <a:moveTo>
                        <a:pt x="333" y="55"/>
                      </a:moveTo>
                      <a:lnTo>
                        <a:pt x="341" y="56"/>
                      </a:lnTo>
                      <a:lnTo>
                        <a:pt x="343" y="60"/>
                      </a:lnTo>
                      <a:lnTo>
                        <a:pt x="344" y="64"/>
                      </a:lnTo>
                      <a:lnTo>
                        <a:pt x="343" y="71"/>
                      </a:lnTo>
                      <a:lnTo>
                        <a:pt x="342" y="76"/>
                      </a:lnTo>
                      <a:lnTo>
                        <a:pt x="341" y="77"/>
                      </a:lnTo>
                      <a:lnTo>
                        <a:pt x="340" y="79"/>
                      </a:lnTo>
                      <a:lnTo>
                        <a:pt x="338" y="80"/>
                      </a:lnTo>
                      <a:lnTo>
                        <a:pt x="335" y="82"/>
                      </a:lnTo>
                      <a:lnTo>
                        <a:pt x="334" y="83"/>
                      </a:lnTo>
                      <a:lnTo>
                        <a:pt x="334" y="85"/>
                      </a:lnTo>
                      <a:lnTo>
                        <a:pt x="334" y="86"/>
                      </a:lnTo>
                      <a:lnTo>
                        <a:pt x="333" y="87"/>
                      </a:lnTo>
                      <a:lnTo>
                        <a:pt x="333" y="87"/>
                      </a:lnTo>
                      <a:lnTo>
                        <a:pt x="332" y="89"/>
                      </a:lnTo>
                      <a:lnTo>
                        <a:pt x="331" y="90"/>
                      </a:lnTo>
                      <a:lnTo>
                        <a:pt x="330" y="92"/>
                      </a:lnTo>
                      <a:lnTo>
                        <a:pt x="328" y="94"/>
                      </a:lnTo>
                      <a:lnTo>
                        <a:pt x="328" y="95"/>
                      </a:lnTo>
                      <a:lnTo>
                        <a:pt x="327" y="98"/>
                      </a:lnTo>
                      <a:lnTo>
                        <a:pt x="328" y="99"/>
                      </a:lnTo>
                      <a:lnTo>
                        <a:pt x="328" y="101"/>
                      </a:lnTo>
                      <a:lnTo>
                        <a:pt x="329" y="104"/>
                      </a:lnTo>
                      <a:lnTo>
                        <a:pt x="330" y="106"/>
                      </a:lnTo>
                      <a:lnTo>
                        <a:pt x="329" y="109"/>
                      </a:lnTo>
                      <a:lnTo>
                        <a:pt x="329" y="112"/>
                      </a:lnTo>
                      <a:lnTo>
                        <a:pt x="328" y="117"/>
                      </a:lnTo>
                      <a:lnTo>
                        <a:pt x="328" y="121"/>
                      </a:lnTo>
                      <a:lnTo>
                        <a:pt x="328" y="125"/>
                      </a:lnTo>
                      <a:lnTo>
                        <a:pt x="329" y="127"/>
                      </a:lnTo>
                      <a:lnTo>
                        <a:pt x="329" y="129"/>
                      </a:lnTo>
                      <a:lnTo>
                        <a:pt x="330" y="132"/>
                      </a:lnTo>
                      <a:lnTo>
                        <a:pt x="330" y="141"/>
                      </a:lnTo>
                      <a:lnTo>
                        <a:pt x="330" y="144"/>
                      </a:lnTo>
                      <a:lnTo>
                        <a:pt x="331" y="147"/>
                      </a:lnTo>
                      <a:lnTo>
                        <a:pt x="333" y="149"/>
                      </a:lnTo>
                      <a:lnTo>
                        <a:pt x="334" y="151"/>
                      </a:lnTo>
                      <a:lnTo>
                        <a:pt x="336" y="153"/>
                      </a:lnTo>
                      <a:lnTo>
                        <a:pt x="335" y="158"/>
                      </a:lnTo>
                      <a:lnTo>
                        <a:pt x="334" y="161"/>
                      </a:lnTo>
                      <a:lnTo>
                        <a:pt x="333" y="165"/>
                      </a:lnTo>
                      <a:lnTo>
                        <a:pt x="333" y="169"/>
                      </a:lnTo>
                      <a:lnTo>
                        <a:pt x="334" y="171"/>
                      </a:lnTo>
                      <a:lnTo>
                        <a:pt x="336" y="177"/>
                      </a:lnTo>
                      <a:lnTo>
                        <a:pt x="339" y="182"/>
                      </a:lnTo>
                      <a:lnTo>
                        <a:pt x="341" y="188"/>
                      </a:lnTo>
                      <a:lnTo>
                        <a:pt x="343" y="192"/>
                      </a:lnTo>
                      <a:lnTo>
                        <a:pt x="349" y="193"/>
                      </a:lnTo>
                      <a:lnTo>
                        <a:pt x="355" y="193"/>
                      </a:lnTo>
                      <a:lnTo>
                        <a:pt x="362" y="193"/>
                      </a:lnTo>
                      <a:lnTo>
                        <a:pt x="366" y="193"/>
                      </a:lnTo>
                      <a:lnTo>
                        <a:pt x="368" y="194"/>
                      </a:lnTo>
                      <a:lnTo>
                        <a:pt x="371" y="195"/>
                      </a:lnTo>
                      <a:lnTo>
                        <a:pt x="373" y="197"/>
                      </a:lnTo>
                      <a:lnTo>
                        <a:pt x="374" y="199"/>
                      </a:lnTo>
                      <a:lnTo>
                        <a:pt x="374" y="202"/>
                      </a:lnTo>
                      <a:lnTo>
                        <a:pt x="375" y="204"/>
                      </a:lnTo>
                      <a:lnTo>
                        <a:pt x="376" y="207"/>
                      </a:lnTo>
                      <a:lnTo>
                        <a:pt x="377" y="210"/>
                      </a:lnTo>
                      <a:lnTo>
                        <a:pt x="379" y="212"/>
                      </a:lnTo>
                      <a:lnTo>
                        <a:pt x="382" y="214"/>
                      </a:lnTo>
                      <a:lnTo>
                        <a:pt x="383" y="216"/>
                      </a:lnTo>
                      <a:lnTo>
                        <a:pt x="384" y="217"/>
                      </a:lnTo>
                      <a:lnTo>
                        <a:pt x="383" y="220"/>
                      </a:lnTo>
                      <a:lnTo>
                        <a:pt x="382" y="223"/>
                      </a:lnTo>
                      <a:lnTo>
                        <a:pt x="382" y="226"/>
                      </a:lnTo>
                      <a:lnTo>
                        <a:pt x="380" y="228"/>
                      </a:lnTo>
                      <a:lnTo>
                        <a:pt x="379" y="230"/>
                      </a:lnTo>
                      <a:lnTo>
                        <a:pt x="377" y="231"/>
                      </a:lnTo>
                      <a:lnTo>
                        <a:pt x="375" y="231"/>
                      </a:lnTo>
                      <a:lnTo>
                        <a:pt x="373" y="231"/>
                      </a:lnTo>
                      <a:lnTo>
                        <a:pt x="372" y="231"/>
                      </a:lnTo>
                      <a:lnTo>
                        <a:pt x="369" y="229"/>
                      </a:lnTo>
                      <a:lnTo>
                        <a:pt x="368" y="228"/>
                      </a:lnTo>
                      <a:lnTo>
                        <a:pt x="367" y="227"/>
                      </a:lnTo>
                      <a:lnTo>
                        <a:pt x="366" y="227"/>
                      </a:lnTo>
                      <a:lnTo>
                        <a:pt x="363" y="229"/>
                      </a:lnTo>
                      <a:lnTo>
                        <a:pt x="361" y="230"/>
                      </a:lnTo>
                      <a:lnTo>
                        <a:pt x="358" y="232"/>
                      </a:lnTo>
                      <a:lnTo>
                        <a:pt x="356" y="235"/>
                      </a:lnTo>
                      <a:lnTo>
                        <a:pt x="353" y="236"/>
                      </a:lnTo>
                      <a:lnTo>
                        <a:pt x="351" y="237"/>
                      </a:lnTo>
                      <a:lnTo>
                        <a:pt x="349" y="239"/>
                      </a:lnTo>
                      <a:lnTo>
                        <a:pt x="347" y="241"/>
                      </a:lnTo>
                      <a:lnTo>
                        <a:pt x="349" y="243"/>
                      </a:lnTo>
                      <a:lnTo>
                        <a:pt x="349" y="245"/>
                      </a:lnTo>
                      <a:lnTo>
                        <a:pt x="352" y="246"/>
                      </a:lnTo>
                      <a:lnTo>
                        <a:pt x="353" y="246"/>
                      </a:lnTo>
                      <a:lnTo>
                        <a:pt x="355" y="246"/>
                      </a:lnTo>
                      <a:lnTo>
                        <a:pt x="357" y="245"/>
                      </a:lnTo>
                      <a:lnTo>
                        <a:pt x="360" y="245"/>
                      </a:lnTo>
                      <a:lnTo>
                        <a:pt x="362" y="246"/>
                      </a:lnTo>
                      <a:lnTo>
                        <a:pt x="364" y="248"/>
                      </a:lnTo>
                      <a:lnTo>
                        <a:pt x="365" y="251"/>
                      </a:lnTo>
                      <a:lnTo>
                        <a:pt x="366" y="253"/>
                      </a:lnTo>
                      <a:lnTo>
                        <a:pt x="366" y="257"/>
                      </a:lnTo>
                      <a:lnTo>
                        <a:pt x="366" y="260"/>
                      </a:lnTo>
                      <a:lnTo>
                        <a:pt x="364" y="262"/>
                      </a:lnTo>
                      <a:lnTo>
                        <a:pt x="356" y="268"/>
                      </a:lnTo>
                      <a:lnTo>
                        <a:pt x="349" y="271"/>
                      </a:lnTo>
                      <a:lnTo>
                        <a:pt x="339" y="272"/>
                      </a:lnTo>
                      <a:lnTo>
                        <a:pt x="332" y="273"/>
                      </a:lnTo>
                      <a:lnTo>
                        <a:pt x="324" y="274"/>
                      </a:lnTo>
                      <a:lnTo>
                        <a:pt x="317" y="274"/>
                      </a:lnTo>
                      <a:lnTo>
                        <a:pt x="312" y="272"/>
                      </a:lnTo>
                      <a:lnTo>
                        <a:pt x="311" y="270"/>
                      </a:lnTo>
                      <a:lnTo>
                        <a:pt x="310" y="269"/>
                      </a:lnTo>
                      <a:lnTo>
                        <a:pt x="309" y="268"/>
                      </a:lnTo>
                      <a:lnTo>
                        <a:pt x="308" y="267"/>
                      </a:lnTo>
                      <a:lnTo>
                        <a:pt x="306" y="267"/>
                      </a:lnTo>
                      <a:lnTo>
                        <a:pt x="302" y="265"/>
                      </a:lnTo>
                      <a:lnTo>
                        <a:pt x="299" y="265"/>
                      </a:lnTo>
                      <a:lnTo>
                        <a:pt x="296" y="265"/>
                      </a:lnTo>
                      <a:lnTo>
                        <a:pt x="292" y="267"/>
                      </a:lnTo>
                      <a:lnTo>
                        <a:pt x="290" y="265"/>
                      </a:lnTo>
                      <a:lnTo>
                        <a:pt x="288" y="264"/>
                      </a:lnTo>
                      <a:lnTo>
                        <a:pt x="287" y="262"/>
                      </a:lnTo>
                      <a:lnTo>
                        <a:pt x="286" y="260"/>
                      </a:lnTo>
                      <a:lnTo>
                        <a:pt x="285" y="258"/>
                      </a:lnTo>
                      <a:lnTo>
                        <a:pt x="284" y="256"/>
                      </a:lnTo>
                      <a:lnTo>
                        <a:pt x="283" y="252"/>
                      </a:lnTo>
                      <a:lnTo>
                        <a:pt x="281" y="251"/>
                      </a:lnTo>
                      <a:lnTo>
                        <a:pt x="280" y="251"/>
                      </a:lnTo>
                      <a:lnTo>
                        <a:pt x="279" y="252"/>
                      </a:lnTo>
                      <a:lnTo>
                        <a:pt x="278" y="253"/>
                      </a:lnTo>
                      <a:lnTo>
                        <a:pt x="277" y="256"/>
                      </a:lnTo>
                      <a:lnTo>
                        <a:pt x="276" y="258"/>
                      </a:lnTo>
                      <a:lnTo>
                        <a:pt x="275" y="260"/>
                      </a:lnTo>
                      <a:lnTo>
                        <a:pt x="275" y="262"/>
                      </a:lnTo>
                      <a:lnTo>
                        <a:pt x="274" y="267"/>
                      </a:lnTo>
                      <a:lnTo>
                        <a:pt x="273" y="271"/>
                      </a:lnTo>
                      <a:lnTo>
                        <a:pt x="270" y="273"/>
                      </a:lnTo>
                      <a:lnTo>
                        <a:pt x="267" y="276"/>
                      </a:lnTo>
                      <a:lnTo>
                        <a:pt x="264" y="278"/>
                      </a:lnTo>
                      <a:lnTo>
                        <a:pt x="257" y="279"/>
                      </a:lnTo>
                      <a:lnTo>
                        <a:pt x="254" y="280"/>
                      </a:lnTo>
                      <a:lnTo>
                        <a:pt x="252" y="281"/>
                      </a:lnTo>
                      <a:lnTo>
                        <a:pt x="248" y="283"/>
                      </a:lnTo>
                      <a:lnTo>
                        <a:pt x="246" y="285"/>
                      </a:lnTo>
                      <a:lnTo>
                        <a:pt x="243" y="287"/>
                      </a:lnTo>
                      <a:lnTo>
                        <a:pt x="237" y="290"/>
                      </a:lnTo>
                      <a:lnTo>
                        <a:pt x="232" y="292"/>
                      </a:lnTo>
                      <a:lnTo>
                        <a:pt x="227" y="294"/>
                      </a:lnTo>
                      <a:lnTo>
                        <a:pt x="213" y="298"/>
                      </a:lnTo>
                      <a:lnTo>
                        <a:pt x="199" y="303"/>
                      </a:lnTo>
                      <a:lnTo>
                        <a:pt x="183" y="307"/>
                      </a:lnTo>
                      <a:lnTo>
                        <a:pt x="177" y="309"/>
                      </a:lnTo>
                      <a:lnTo>
                        <a:pt x="171" y="307"/>
                      </a:lnTo>
                      <a:lnTo>
                        <a:pt x="167" y="304"/>
                      </a:lnTo>
                      <a:lnTo>
                        <a:pt x="165" y="298"/>
                      </a:lnTo>
                      <a:lnTo>
                        <a:pt x="164" y="292"/>
                      </a:lnTo>
                      <a:lnTo>
                        <a:pt x="164" y="287"/>
                      </a:lnTo>
                      <a:lnTo>
                        <a:pt x="164" y="284"/>
                      </a:lnTo>
                      <a:lnTo>
                        <a:pt x="164" y="281"/>
                      </a:lnTo>
                      <a:lnTo>
                        <a:pt x="163" y="279"/>
                      </a:lnTo>
                      <a:lnTo>
                        <a:pt x="160" y="278"/>
                      </a:lnTo>
                      <a:lnTo>
                        <a:pt x="158" y="276"/>
                      </a:lnTo>
                      <a:lnTo>
                        <a:pt x="155" y="276"/>
                      </a:lnTo>
                      <a:lnTo>
                        <a:pt x="151" y="276"/>
                      </a:lnTo>
                      <a:lnTo>
                        <a:pt x="143" y="280"/>
                      </a:lnTo>
                      <a:lnTo>
                        <a:pt x="135" y="280"/>
                      </a:lnTo>
                      <a:lnTo>
                        <a:pt x="129" y="278"/>
                      </a:lnTo>
                      <a:lnTo>
                        <a:pt x="125" y="272"/>
                      </a:lnTo>
                      <a:lnTo>
                        <a:pt x="121" y="269"/>
                      </a:lnTo>
                      <a:lnTo>
                        <a:pt x="116" y="265"/>
                      </a:lnTo>
                      <a:lnTo>
                        <a:pt x="112" y="262"/>
                      </a:lnTo>
                      <a:lnTo>
                        <a:pt x="110" y="256"/>
                      </a:lnTo>
                      <a:lnTo>
                        <a:pt x="113" y="250"/>
                      </a:lnTo>
                      <a:lnTo>
                        <a:pt x="120" y="245"/>
                      </a:lnTo>
                      <a:lnTo>
                        <a:pt x="129" y="241"/>
                      </a:lnTo>
                      <a:lnTo>
                        <a:pt x="139" y="238"/>
                      </a:lnTo>
                      <a:lnTo>
                        <a:pt x="147" y="235"/>
                      </a:lnTo>
                      <a:lnTo>
                        <a:pt x="153" y="234"/>
                      </a:lnTo>
                      <a:lnTo>
                        <a:pt x="166" y="232"/>
                      </a:lnTo>
                      <a:lnTo>
                        <a:pt x="179" y="229"/>
                      </a:lnTo>
                      <a:lnTo>
                        <a:pt x="182" y="229"/>
                      </a:lnTo>
                      <a:lnTo>
                        <a:pt x="186" y="229"/>
                      </a:lnTo>
                      <a:lnTo>
                        <a:pt x="189" y="229"/>
                      </a:lnTo>
                      <a:lnTo>
                        <a:pt x="192" y="228"/>
                      </a:lnTo>
                      <a:lnTo>
                        <a:pt x="194" y="227"/>
                      </a:lnTo>
                      <a:lnTo>
                        <a:pt x="198" y="226"/>
                      </a:lnTo>
                      <a:lnTo>
                        <a:pt x="199" y="224"/>
                      </a:lnTo>
                      <a:lnTo>
                        <a:pt x="199" y="223"/>
                      </a:lnTo>
                      <a:lnTo>
                        <a:pt x="198" y="221"/>
                      </a:lnTo>
                      <a:lnTo>
                        <a:pt x="196" y="220"/>
                      </a:lnTo>
                      <a:lnTo>
                        <a:pt x="193" y="220"/>
                      </a:lnTo>
                      <a:lnTo>
                        <a:pt x="191" y="219"/>
                      </a:lnTo>
                      <a:lnTo>
                        <a:pt x="189" y="219"/>
                      </a:lnTo>
                      <a:lnTo>
                        <a:pt x="187" y="219"/>
                      </a:lnTo>
                      <a:lnTo>
                        <a:pt x="185" y="218"/>
                      </a:lnTo>
                      <a:lnTo>
                        <a:pt x="183" y="218"/>
                      </a:lnTo>
                      <a:lnTo>
                        <a:pt x="169" y="218"/>
                      </a:lnTo>
                      <a:lnTo>
                        <a:pt x="157" y="218"/>
                      </a:lnTo>
                      <a:lnTo>
                        <a:pt x="145" y="220"/>
                      </a:lnTo>
                      <a:lnTo>
                        <a:pt x="136" y="225"/>
                      </a:lnTo>
                      <a:lnTo>
                        <a:pt x="128" y="228"/>
                      </a:lnTo>
                      <a:lnTo>
                        <a:pt x="122" y="229"/>
                      </a:lnTo>
                      <a:lnTo>
                        <a:pt x="116" y="227"/>
                      </a:lnTo>
                      <a:lnTo>
                        <a:pt x="112" y="221"/>
                      </a:lnTo>
                      <a:lnTo>
                        <a:pt x="109" y="215"/>
                      </a:lnTo>
                      <a:lnTo>
                        <a:pt x="107" y="208"/>
                      </a:lnTo>
                      <a:lnTo>
                        <a:pt x="112" y="202"/>
                      </a:lnTo>
                      <a:lnTo>
                        <a:pt x="120" y="197"/>
                      </a:lnTo>
                      <a:lnTo>
                        <a:pt x="128" y="194"/>
                      </a:lnTo>
                      <a:lnTo>
                        <a:pt x="136" y="191"/>
                      </a:lnTo>
                      <a:lnTo>
                        <a:pt x="137" y="191"/>
                      </a:lnTo>
                      <a:lnTo>
                        <a:pt x="138" y="189"/>
                      </a:lnTo>
                      <a:lnTo>
                        <a:pt x="139" y="188"/>
                      </a:lnTo>
                      <a:lnTo>
                        <a:pt x="142" y="187"/>
                      </a:lnTo>
                      <a:lnTo>
                        <a:pt x="143" y="186"/>
                      </a:lnTo>
                      <a:lnTo>
                        <a:pt x="144" y="185"/>
                      </a:lnTo>
                      <a:lnTo>
                        <a:pt x="145" y="184"/>
                      </a:lnTo>
                      <a:lnTo>
                        <a:pt x="145" y="184"/>
                      </a:lnTo>
                      <a:lnTo>
                        <a:pt x="144" y="184"/>
                      </a:lnTo>
                      <a:lnTo>
                        <a:pt x="143" y="184"/>
                      </a:lnTo>
                      <a:lnTo>
                        <a:pt x="138" y="184"/>
                      </a:lnTo>
                      <a:lnTo>
                        <a:pt x="135" y="185"/>
                      </a:lnTo>
                      <a:lnTo>
                        <a:pt x="133" y="186"/>
                      </a:lnTo>
                      <a:lnTo>
                        <a:pt x="129" y="187"/>
                      </a:lnTo>
                      <a:lnTo>
                        <a:pt x="127" y="188"/>
                      </a:lnTo>
                      <a:lnTo>
                        <a:pt x="120" y="189"/>
                      </a:lnTo>
                      <a:lnTo>
                        <a:pt x="112" y="188"/>
                      </a:lnTo>
                      <a:lnTo>
                        <a:pt x="105" y="186"/>
                      </a:lnTo>
                      <a:lnTo>
                        <a:pt x="102" y="180"/>
                      </a:lnTo>
                      <a:lnTo>
                        <a:pt x="103" y="171"/>
                      </a:lnTo>
                      <a:lnTo>
                        <a:pt x="107" y="162"/>
                      </a:lnTo>
                      <a:lnTo>
                        <a:pt x="109" y="162"/>
                      </a:lnTo>
                      <a:lnTo>
                        <a:pt x="110" y="161"/>
                      </a:lnTo>
                      <a:lnTo>
                        <a:pt x="112" y="160"/>
                      </a:lnTo>
                      <a:lnTo>
                        <a:pt x="114" y="159"/>
                      </a:lnTo>
                      <a:lnTo>
                        <a:pt x="116" y="156"/>
                      </a:lnTo>
                      <a:lnTo>
                        <a:pt x="117" y="155"/>
                      </a:lnTo>
                      <a:lnTo>
                        <a:pt x="118" y="154"/>
                      </a:lnTo>
                      <a:lnTo>
                        <a:pt x="120" y="152"/>
                      </a:lnTo>
                      <a:lnTo>
                        <a:pt x="120" y="152"/>
                      </a:lnTo>
                      <a:lnTo>
                        <a:pt x="118" y="151"/>
                      </a:lnTo>
                      <a:lnTo>
                        <a:pt x="116" y="151"/>
                      </a:lnTo>
                      <a:lnTo>
                        <a:pt x="115" y="152"/>
                      </a:lnTo>
                      <a:lnTo>
                        <a:pt x="114" y="152"/>
                      </a:lnTo>
                      <a:lnTo>
                        <a:pt x="113" y="152"/>
                      </a:lnTo>
                      <a:lnTo>
                        <a:pt x="112" y="152"/>
                      </a:lnTo>
                      <a:lnTo>
                        <a:pt x="111" y="151"/>
                      </a:lnTo>
                      <a:lnTo>
                        <a:pt x="111" y="151"/>
                      </a:lnTo>
                      <a:lnTo>
                        <a:pt x="111" y="149"/>
                      </a:lnTo>
                      <a:lnTo>
                        <a:pt x="112" y="148"/>
                      </a:lnTo>
                      <a:lnTo>
                        <a:pt x="114" y="144"/>
                      </a:lnTo>
                      <a:lnTo>
                        <a:pt x="117" y="141"/>
                      </a:lnTo>
                      <a:lnTo>
                        <a:pt x="122" y="138"/>
                      </a:lnTo>
                      <a:lnTo>
                        <a:pt x="127" y="134"/>
                      </a:lnTo>
                      <a:lnTo>
                        <a:pt x="135" y="127"/>
                      </a:lnTo>
                      <a:lnTo>
                        <a:pt x="145" y="119"/>
                      </a:lnTo>
                      <a:lnTo>
                        <a:pt x="155" y="112"/>
                      </a:lnTo>
                      <a:lnTo>
                        <a:pt x="165" y="107"/>
                      </a:lnTo>
                      <a:lnTo>
                        <a:pt x="175" y="99"/>
                      </a:lnTo>
                      <a:lnTo>
                        <a:pt x="177" y="98"/>
                      </a:lnTo>
                      <a:lnTo>
                        <a:pt x="179" y="95"/>
                      </a:lnTo>
                      <a:lnTo>
                        <a:pt x="181" y="93"/>
                      </a:lnTo>
                      <a:lnTo>
                        <a:pt x="183" y="90"/>
                      </a:lnTo>
                      <a:lnTo>
                        <a:pt x="187" y="90"/>
                      </a:lnTo>
                      <a:lnTo>
                        <a:pt x="189" y="90"/>
                      </a:lnTo>
                      <a:lnTo>
                        <a:pt x="190" y="92"/>
                      </a:lnTo>
                      <a:lnTo>
                        <a:pt x="191" y="94"/>
                      </a:lnTo>
                      <a:lnTo>
                        <a:pt x="192" y="95"/>
                      </a:lnTo>
                      <a:lnTo>
                        <a:pt x="192" y="97"/>
                      </a:lnTo>
                      <a:lnTo>
                        <a:pt x="193" y="100"/>
                      </a:lnTo>
                      <a:lnTo>
                        <a:pt x="192" y="101"/>
                      </a:lnTo>
                      <a:lnTo>
                        <a:pt x="191" y="104"/>
                      </a:lnTo>
                      <a:lnTo>
                        <a:pt x="190" y="106"/>
                      </a:lnTo>
                      <a:lnTo>
                        <a:pt x="190" y="108"/>
                      </a:lnTo>
                      <a:lnTo>
                        <a:pt x="188" y="111"/>
                      </a:lnTo>
                      <a:lnTo>
                        <a:pt x="185" y="115"/>
                      </a:lnTo>
                      <a:lnTo>
                        <a:pt x="181" y="118"/>
                      </a:lnTo>
                      <a:lnTo>
                        <a:pt x="177" y="122"/>
                      </a:lnTo>
                      <a:lnTo>
                        <a:pt x="176" y="126"/>
                      </a:lnTo>
                      <a:lnTo>
                        <a:pt x="176" y="128"/>
                      </a:lnTo>
                      <a:lnTo>
                        <a:pt x="179" y="128"/>
                      </a:lnTo>
                      <a:lnTo>
                        <a:pt x="192" y="121"/>
                      </a:lnTo>
                      <a:lnTo>
                        <a:pt x="193" y="118"/>
                      </a:lnTo>
                      <a:lnTo>
                        <a:pt x="194" y="115"/>
                      </a:lnTo>
                      <a:lnTo>
                        <a:pt x="196" y="112"/>
                      </a:lnTo>
                      <a:lnTo>
                        <a:pt x="197" y="110"/>
                      </a:lnTo>
                      <a:lnTo>
                        <a:pt x="201" y="106"/>
                      </a:lnTo>
                      <a:lnTo>
                        <a:pt x="208" y="105"/>
                      </a:lnTo>
                      <a:lnTo>
                        <a:pt x="214" y="105"/>
                      </a:lnTo>
                      <a:lnTo>
                        <a:pt x="219" y="106"/>
                      </a:lnTo>
                      <a:lnTo>
                        <a:pt x="222" y="107"/>
                      </a:lnTo>
                      <a:lnTo>
                        <a:pt x="224" y="109"/>
                      </a:lnTo>
                      <a:lnTo>
                        <a:pt x="225" y="111"/>
                      </a:lnTo>
                      <a:lnTo>
                        <a:pt x="226" y="114"/>
                      </a:lnTo>
                      <a:lnTo>
                        <a:pt x="226" y="117"/>
                      </a:lnTo>
                      <a:lnTo>
                        <a:pt x="225" y="121"/>
                      </a:lnTo>
                      <a:lnTo>
                        <a:pt x="224" y="122"/>
                      </a:lnTo>
                      <a:lnTo>
                        <a:pt x="223" y="125"/>
                      </a:lnTo>
                      <a:lnTo>
                        <a:pt x="223" y="126"/>
                      </a:lnTo>
                      <a:lnTo>
                        <a:pt x="222" y="127"/>
                      </a:lnTo>
                      <a:lnTo>
                        <a:pt x="222" y="128"/>
                      </a:lnTo>
                      <a:lnTo>
                        <a:pt x="222" y="129"/>
                      </a:lnTo>
                      <a:lnTo>
                        <a:pt x="222" y="129"/>
                      </a:lnTo>
                      <a:lnTo>
                        <a:pt x="223" y="129"/>
                      </a:lnTo>
                      <a:lnTo>
                        <a:pt x="225" y="128"/>
                      </a:lnTo>
                      <a:lnTo>
                        <a:pt x="227" y="126"/>
                      </a:lnTo>
                      <a:lnTo>
                        <a:pt x="230" y="122"/>
                      </a:lnTo>
                      <a:lnTo>
                        <a:pt x="233" y="120"/>
                      </a:lnTo>
                      <a:lnTo>
                        <a:pt x="235" y="119"/>
                      </a:lnTo>
                      <a:lnTo>
                        <a:pt x="238" y="119"/>
                      </a:lnTo>
                      <a:lnTo>
                        <a:pt x="240" y="119"/>
                      </a:lnTo>
                      <a:lnTo>
                        <a:pt x="242" y="118"/>
                      </a:lnTo>
                      <a:lnTo>
                        <a:pt x="244" y="117"/>
                      </a:lnTo>
                      <a:lnTo>
                        <a:pt x="246" y="116"/>
                      </a:lnTo>
                      <a:lnTo>
                        <a:pt x="247" y="115"/>
                      </a:lnTo>
                      <a:lnTo>
                        <a:pt x="247" y="111"/>
                      </a:lnTo>
                      <a:lnTo>
                        <a:pt x="246" y="109"/>
                      </a:lnTo>
                      <a:lnTo>
                        <a:pt x="245" y="106"/>
                      </a:lnTo>
                      <a:lnTo>
                        <a:pt x="244" y="104"/>
                      </a:lnTo>
                      <a:lnTo>
                        <a:pt x="243" y="100"/>
                      </a:lnTo>
                      <a:lnTo>
                        <a:pt x="243" y="97"/>
                      </a:lnTo>
                      <a:lnTo>
                        <a:pt x="242" y="96"/>
                      </a:lnTo>
                      <a:lnTo>
                        <a:pt x="243" y="96"/>
                      </a:lnTo>
                      <a:lnTo>
                        <a:pt x="245" y="96"/>
                      </a:lnTo>
                      <a:lnTo>
                        <a:pt x="247" y="96"/>
                      </a:lnTo>
                      <a:lnTo>
                        <a:pt x="249" y="96"/>
                      </a:lnTo>
                      <a:lnTo>
                        <a:pt x="252" y="96"/>
                      </a:lnTo>
                      <a:lnTo>
                        <a:pt x="255" y="97"/>
                      </a:lnTo>
                      <a:lnTo>
                        <a:pt x="256" y="97"/>
                      </a:lnTo>
                      <a:lnTo>
                        <a:pt x="257" y="97"/>
                      </a:lnTo>
                      <a:lnTo>
                        <a:pt x="264" y="104"/>
                      </a:lnTo>
                      <a:lnTo>
                        <a:pt x="267" y="112"/>
                      </a:lnTo>
                      <a:lnTo>
                        <a:pt x="268" y="121"/>
                      </a:lnTo>
                      <a:lnTo>
                        <a:pt x="269" y="131"/>
                      </a:lnTo>
                      <a:lnTo>
                        <a:pt x="270" y="141"/>
                      </a:lnTo>
                      <a:lnTo>
                        <a:pt x="270" y="149"/>
                      </a:lnTo>
                      <a:lnTo>
                        <a:pt x="271" y="150"/>
                      </a:lnTo>
                      <a:lnTo>
                        <a:pt x="271" y="151"/>
                      </a:lnTo>
                      <a:lnTo>
                        <a:pt x="273" y="152"/>
                      </a:lnTo>
                      <a:lnTo>
                        <a:pt x="273" y="153"/>
                      </a:lnTo>
                      <a:lnTo>
                        <a:pt x="275" y="153"/>
                      </a:lnTo>
                      <a:lnTo>
                        <a:pt x="277" y="152"/>
                      </a:lnTo>
                      <a:lnTo>
                        <a:pt x="279" y="151"/>
                      </a:lnTo>
                      <a:lnTo>
                        <a:pt x="281" y="149"/>
                      </a:lnTo>
                      <a:lnTo>
                        <a:pt x="284" y="145"/>
                      </a:lnTo>
                      <a:lnTo>
                        <a:pt x="285" y="142"/>
                      </a:lnTo>
                      <a:lnTo>
                        <a:pt x="285" y="140"/>
                      </a:lnTo>
                      <a:lnTo>
                        <a:pt x="284" y="137"/>
                      </a:lnTo>
                      <a:lnTo>
                        <a:pt x="284" y="134"/>
                      </a:lnTo>
                      <a:lnTo>
                        <a:pt x="283" y="130"/>
                      </a:lnTo>
                      <a:lnTo>
                        <a:pt x="283" y="127"/>
                      </a:lnTo>
                      <a:lnTo>
                        <a:pt x="283" y="123"/>
                      </a:lnTo>
                      <a:lnTo>
                        <a:pt x="283" y="120"/>
                      </a:lnTo>
                      <a:lnTo>
                        <a:pt x="281" y="117"/>
                      </a:lnTo>
                      <a:lnTo>
                        <a:pt x="281" y="93"/>
                      </a:lnTo>
                      <a:lnTo>
                        <a:pt x="281" y="92"/>
                      </a:lnTo>
                      <a:lnTo>
                        <a:pt x="281" y="89"/>
                      </a:lnTo>
                      <a:lnTo>
                        <a:pt x="283" y="86"/>
                      </a:lnTo>
                      <a:lnTo>
                        <a:pt x="284" y="84"/>
                      </a:lnTo>
                      <a:lnTo>
                        <a:pt x="286" y="83"/>
                      </a:lnTo>
                      <a:lnTo>
                        <a:pt x="289" y="82"/>
                      </a:lnTo>
                      <a:lnTo>
                        <a:pt x="292" y="82"/>
                      </a:lnTo>
                      <a:lnTo>
                        <a:pt x="294" y="82"/>
                      </a:lnTo>
                      <a:lnTo>
                        <a:pt x="296" y="83"/>
                      </a:lnTo>
                      <a:lnTo>
                        <a:pt x="297" y="85"/>
                      </a:lnTo>
                      <a:lnTo>
                        <a:pt x="300" y="85"/>
                      </a:lnTo>
                      <a:lnTo>
                        <a:pt x="302" y="86"/>
                      </a:lnTo>
                      <a:lnTo>
                        <a:pt x="306" y="86"/>
                      </a:lnTo>
                      <a:lnTo>
                        <a:pt x="309" y="86"/>
                      </a:lnTo>
                      <a:lnTo>
                        <a:pt x="312" y="87"/>
                      </a:lnTo>
                      <a:lnTo>
                        <a:pt x="314" y="88"/>
                      </a:lnTo>
                      <a:lnTo>
                        <a:pt x="316" y="89"/>
                      </a:lnTo>
                      <a:lnTo>
                        <a:pt x="317" y="92"/>
                      </a:lnTo>
                      <a:lnTo>
                        <a:pt x="318" y="94"/>
                      </a:lnTo>
                      <a:lnTo>
                        <a:pt x="319" y="95"/>
                      </a:lnTo>
                      <a:lnTo>
                        <a:pt x="321" y="95"/>
                      </a:lnTo>
                      <a:lnTo>
                        <a:pt x="323" y="95"/>
                      </a:lnTo>
                      <a:lnTo>
                        <a:pt x="324" y="94"/>
                      </a:lnTo>
                      <a:lnTo>
                        <a:pt x="324" y="92"/>
                      </a:lnTo>
                      <a:lnTo>
                        <a:pt x="324" y="89"/>
                      </a:lnTo>
                      <a:lnTo>
                        <a:pt x="324" y="87"/>
                      </a:lnTo>
                      <a:lnTo>
                        <a:pt x="323" y="85"/>
                      </a:lnTo>
                      <a:lnTo>
                        <a:pt x="323" y="84"/>
                      </a:lnTo>
                      <a:lnTo>
                        <a:pt x="323" y="83"/>
                      </a:lnTo>
                      <a:lnTo>
                        <a:pt x="321" y="79"/>
                      </a:lnTo>
                      <a:lnTo>
                        <a:pt x="319" y="77"/>
                      </a:lnTo>
                      <a:lnTo>
                        <a:pt x="316" y="75"/>
                      </a:lnTo>
                      <a:lnTo>
                        <a:pt x="312" y="74"/>
                      </a:lnTo>
                      <a:lnTo>
                        <a:pt x="311" y="73"/>
                      </a:lnTo>
                      <a:lnTo>
                        <a:pt x="309" y="72"/>
                      </a:lnTo>
                      <a:lnTo>
                        <a:pt x="307" y="72"/>
                      </a:lnTo>
                      <a:lnTo>
                        <a:pt x="306" y="71"/>
                      </a:lnTo>
                      <a:lnTo>
                        <a:pt x="306" y="69"/>
                      </a:lnTo>
                      <a:lnTo>
                        <a:pt x="306" y="67"/>
                      </a:lnTo>
                      <a:lnTo>
                        <a:pt x="307" y="65"/>
                      </a:lnTo>
                      <a:lnTo>
                        <a:pt x="309" y="62"/>
                      </a:lnTo>
                      <a:lnTo>
                        <a:pt x="310" y="61"/>
                      </a:lnTo>
                      <a:lnTo>
                        <a:pt x="313" y="58"/>
                      </a:lnTo>
                      <a:lnTo>
                        <a:pt x="317" y="58"/>
                      </a:lnTo>
                      <a:lnTo>
                        <a:pt x="324" y="56"/>
                      </a:lnTo>
                      <a:lnTo>
                        <a:pt x="333" y="55"/>
                      </a:lnTo>
                      <a:close/>
                      <a:moveTo>
                        <a:pt x="2026" y="54"/>
                      </a:moveTo>
                      <a:lnTo>
                        <a:pt x="2034" y="58"/>
                      </a:lnTo>
                      <a:lnTo>
                        <a:pt x="2034" y="60"/>
                      </a:lnTo>
                      <a:lnTo>
                        <a:pt x="2034" y="61"/>
                      </a:lnTo>
                      <a:lnTo>
                        <a:pt x="2034" y="62"/>
                      </a:lnTo>
                      <a:lnTo>
                        <a:pt x="2034" y="62"/>
                      </a:lnTo>
                      <a:lnTo>
                        <a:pt x="2034" y="62"/>
                      </a:lnTo>
                      <a:lnTo>
                        <a:pt x="2034" y="61"/>
                      </a:lnTo>
                      <a:lnTo>
                        <a:pt x="2031" y="58"/>
                      </a:lnTo>
                      <a:lnTo>
                        <a:pt x="2029" y="57"/>
                      </a:lnTo>
                      <a:lnTo>
                        <a:pt x="2027" y="56"/>
                      </a:lnTo>
                      <a:lnTo>
                        <a:pt x="2026" y="54"/>
                      </a:lnTo>
                      <a:close/>
                      <a:moveTo>
                        <a:pt x="92" y="50"/>
                      </a:moveTo>
                      <a:lnTo>
                        <a:pt x="93" y="50"/>
                      </a:lnTo>
                      <a:lnTo>
                        <a:pt x="95" y="51"/>
                      </a:lnTo>
                      <a:lnTo>
                        <a:pt x="95" y="53"/>
                      </a:lnTo>
                      <a:lnTo>
                        <a:pt x="96" y="55"/>
                      </a:lnTo>
                      <a:lnTo>
                        <a:pt x="98" y="57"/>
                      </a:lnTo>
                      <a:lnTo>
                        <a:pt x="99" y="58"/>
                      </a:lnTo>
                      <a:lnTo>
                        <a:pt x="101" y="60"/>
                      </a:lnTo>
                      <a:lnTo>
                        <a:pt x="104" y="61"/>
                      </a:lnTo>
                      <a:lnTo>
                        <a:pt x="106" y="62"/>
                      </a:lnTo>
                      <a:lnTo>
                        <a:pt x="110" y="63"/>
                      </a:lnTo>
                      <a:lnTo>
                        <a:pt x="113" y="64"/>
                      </a:lnTo>
                      <a:lnTo>
                        <a:pt x="115" y="66"/>
                      </a:lnTo>
                      <a:lnTo>
                        <a:pt x="117" y="67"/>
                      </a:lnTo>
                      <a:lnTo>
                        <a:pt x="121" y="67"/>
                      </a:lnTo>
                      <a:lnTo>
                        <a:pt x="123" y="67"/>
                      </a:lnTo>
                      <a:lnTo>
                        <a:pt x="125" y="65"/>
                      </a:lnTo>
                      <a:lnTo>
                        <a:pt x="127" y="64"/>
                      </a:lnTo>
                      <a:lnTo>
                        <a:pt x="128" y="62"/>
                      </a:lnTo>
                      <a:lnTo>
                        <a:pt x="129" y="61"/>
                      </a:lnTo>
                      <a:lnTo>
                        <a:pt x="137" y="55"/>
                      </a:lnTo>
                      <a:lnTo>
                        <a:pt x="145" y="55"/>
                      </a:lnTo>
                      <a:lnTo>
                        <a:pt x="151" y="58"/>
                      </a:lnTo>
                      <a:lnTo>
                        <a:pt x="157" y="63"/>
                      </a:lnTo>
                      <a:lnTo>
                        <a:pt x="161" y="68"/>
                      </a:lnTo>
                      <a:lnTo>
                        <a:pt x="164" y="72"/>
                      </a:lnTo>
                      <a:lnTo>
                        <a:pt x="166" y="74"/>
                      </a:lnTo>
                      <a:lnTo>
                        <a:pt x="168" y="77"/>
                      </a:lnTo>
                      <a:lnTo>
                        <a:pt x="170" y="79"/>
                      </a:lnTo>
                      <a:lnTo>
                        <a:pt x="171" y="83"/>
                      </a:lnTo>
                      <a:lnTo>
                        <a:pt x="170" y="85"/>
                      </a:lnTo>
                      <a:lnTo>
                        <a:pt x="169" y="88"/>
                      </a:lnTo>
                      <a:lnTo>
                        <a:pt x="166" y="92"/>
                      </a:lnTo>
                      <a:lnTo>
                        <a:pt x="164" y="94"/>
                      </a:lnTo>
                      <a:lnTo>
                        <a:pt x="160" y="96"/>
                      </a:lnTo>
                      <a:lnTo>
                        <a:pt x="157" y="98"/>
                      </a:lnTo>
                      <a:lnTo>
                        <a:pt x="146" y="104"/>
                      </a:lnTo>
                      <a:lnTo>
                        <a:pt x="137" y="109"/>
                      </a:lnTo>
                      <a:lnTo>
                        <a:pt x="134" y="111"/>
                      </a:lnTo>
                      <a:lnTo>
                        <a:pt x="132" y="115"/>
                      </a:lnTo>
                      <a:lnTo>
                        <a:pt x="129" y="118"/>
                      </a:lnTo>
                      <a:lnTo>
                        <a:pt x="127" y="121"/>
                      </a:lnTo>
                      <a:lnTo>
                        <a:pt x="123" y="123"/>
                      </a:lnTo>
                      <a:lnTo>
                        <a:pt x="118" y="126"/>
                      </a:lnTo>
                      <a:lnTo>
                        <a:pt x="115" y="129"/>
                      </a:lnTo>
                      <a:lnTo>
                        <a:pt x="112" y="132"/>
                      </a:lnTo>
                      <a:lnTo>
                        <a:pt x="109" y="136"/>
                      </a:lnTo>
                      <a:lnTo>
                        <a:pt x="106" y="140"/>
                      </a:lnTo>
                      <a:lnTo>
                        <a:pt x="104" y="144"/>
                      </a:lnTo>
                      <a:lnTo>
                        <a:pt x="101" y="148"/>
                      </a:lnTo>
                      <a:lnTo>
                        <a:pt x="99" y="151"/>
                      </a:lnTo>
                      <a:lnTo>
                        <a:pt x="95" y="153"/>
                      </a:lnTo>
                      <a:lnTo>
                        <a:pt x="93" y="155"/>
                      </a:lnTo>
                      <a:lnTo>
                        <a:pt x="90" y="156"/>
                      </a:lnTo>
                      <a:lnTo>
                        <a:pt x="83" y="163"/>
                      </a:lnTo>
                      <a:lnTo>
                        <a:pt x="80" y="172"/>
                      </a:lnTo>
                      <a:lnTo>
                        <a:pt x="78" y="181"/>
                      </a:lnTo>
                      <a:lnTo>
                        <a:pt x="76" y="191"/>
                      </a:lnTo>
                      <a:lnTo>
                        <a:pt x="70" y="198"/>
                      </a:lnTo>
                      <a:lnTo>
                        <a:pt x="63" y="203"/>
                      </a:lnTo>
                      <a:lnTo>
                        <a:pt x="57" y="206"/>
                      </a:lnTo>
                      <a:lnTo>
                        <a:pt x="49" y="210"/>
                      </a:lnTo>
                      <a:lnTo>
                        <a:pt x="40" y="218"/>
                      </a:lnTo>
                      <a:lnTo>
                        <a:pt x="33" y="228"/>
                      </a:lnTo>
                      <a:lnTo>
                        <a:pt x="30" y="228"/>
                      </a:lnTo>
                      <a:lnTo>
                        <a:pt x="28" y="228"/>
                      </a:lnTo>
                      <a:lnTo>
                        <a:pt x="27" y="227"/>
                      </a:lnTo>
                      <a:lnTo>
                        <a:pt x="27" y="226"/>
                      </a:lnTo>
                      <a:lnTo>
                        <a:pt x="26" y="224"/>
                      </a:lnTo>
                      <a:lnTo>
                        <a:pt x="26" y="223"/>
                      </a:lnTo>
                      <a:lnTo>
                        <a:pt x="26" y="221"/>
                      </a:lnTo>
                      <a:lnTo>
                        <a:pt x="25" y="217"/>
                      </a:lnTo>
                      <a:lnTo>
                        <a:pt x="24" y="213"/>
                      </a:lnTo>
                      <a:lnTo>
                        <a:pt x="22" y="208"/>
                      </a:lnTo>
                      <a:lnTo>
                        <a:pt x="17" y="203"/>
                      </a:lnTo>
                      <a:lnTo>
                        <a:pt x="14" y="197"/>
                      </a:lnTo>
                      <a:lnTo>
                        <a:pt x="11" y="193"/>
                      </a:lnTo>
                      <a:lnTo>
                        <a:pt x="4" y="191"/>
                      </a:lnTo>
                      <a:lnTo>
                        <a:pt x="2" y="189"/>
                      </a:lnTo>
                      <a:lnTo>
                        <a:pt x="1" y="188"/>
                      </a:lnTo>
                      <a:lnTo>
                        <a:pt x="0" y="187"/>
                      </a:lnTo>
                      <a:lnTo>
                        <a:pt x="1" y="185"/>
                      </a:lnTo>
                      <a:lnTo>
                        <a:pt x="2" y="183"/>
                      </a:lnTo>
                      <a:lnTo>
                        <a:pt x="3" y="181"/>
                      </a:lnTo>
                      <a:lnTo>
                        <a:pt x="4" y="178"/>
                      </a:lnTo>
                      <a:lnTo>
                        <a:pt x="6" y="176"/>
                      </a:lnTo>
                      <a:lnTo>
                        <a:pt x="13" y="166"/>
                      </a:lnTo>
                      <a:lnTo>
                        <a:pt x="17" y="154"/>
                      </a:lnTo>
                      <a:lnTo>
                        <a:pt x="24" y="141"/>
                      </a:lnTo>
                      <a:lnTo>
                        <a:pt x="26" y="128"/>
                      </a:lnTo>
                      <a:lnTo>
                        <a:pt x="26" y="121"/>
                      </a:lnTo>
                      <a:lnTo>
                        <a:pt x="26" y="114"/>
                      </a:lnTo>
                      <a:lnTo>
                        <a:pt x="28" y="105"/>
                      </a:lnTo>
                      <a:lnTo>
                        <a:pt x="29" y="106"/>
                      </a:lnTo>
                      <a:lnTo>
                        <a:pt x="32" y="107"/>
                      </a:lnTo>
                      <a:lnTo>
                        <a:pt x="33" y="108"/>
                      </a:lnTo>
                      <a:lnTo>
                        <a:pt x="35" y="109"/>
                      </a:lnTo>
                      <a:lnTo>
                        <a:pt x="36" y="110"/>
                      </a:lnTo>
                      <a:lnTo>
                        <a:pt x="37" y="109"/>
                      </a:lnTo>
                      <a:lnTo>
                        <a:pt x="40" y="107"/>
                      </a:lnTo>
                      <a:lnTo>
                        <a:pt x="41" y="104"/>
                      </a:lnTo>
                      <a:lnTo>
                        <a:pt x="44" y="100"/>
                      </a:lnTo>
                      <a:lnTo>
                        <a:pt x="44" y="98"/>
                      </a:lnTo>
                      <a:lnTo>
                        <a:pt x="45" y="96"/>
                      </a:lnTo>
                      <a:lnTo>
                        <a:pt x="43" y="95"/>
                      </a:lnTo>
                      <a:lnTo>
                        <a:pt x="41" y="94"/>
                      </a:lnTo>
                      <a:lnTo>
                        <a:pt x="40" y="93"/>
                      </a:lnTo>
                      <a:lnTo>
                        <a:pt x="38" y="90"/>
                      </a:lnTo>
                      <a:lnTo>
                        <a:pt x="37" y="89"/>
                      </a:lnTo>
                      <a:lnTo>
                        <a:pt x="37" y="87"/>
                      </a:lnTo>
                      <a:lnTo>
                        <a:pt x="37" y="85"/>
                      </a:lnTo>
                      <a:lnTo>
                        <a:pt x="38" y="83"/>
                      </a:lnTo>
                      <a:lnTo>
                        <a:pt x="39" y="80"/>
                      </a:lnTo>
                      <a:lnTo>
                        <a:pt x="39" y="78"/>
                      </a:lnTo>
                      <a:lnTo>
                        <a:pt x="40" y="76"/>
                      </a:lnTo>
                      <a:lnTo>
                        <a:pt x="41" y="74"/>
                      </a:lnTo>
                      <a:lnTo>
                        <a:pt x="46" y="72"/>
                      </a:lnTo>
                      <a:lnTo>
                        <a:pt x="49" y="69"/>
                      </a:lnTo>
                      <a:lnTo>
                        <a:pt x="54" y="67"/>
                      </a:lnTo>
                      <a:lnTo>
                        <a:pt x="67" y="61"/>
                      </a:lnTo>
                      <a:lnTo>
                        <a:pt x="69" y="61"/>
                      </a:lnTo>
                      <a:lnTo>
                        <a:pt x="71" y="61"/>
                      </a:lnTo>
                      <a:lnTo>
                        <a:pt x="74" y="60"/>
                      </a:lnTo>
                      <a:lnTo>
                        <a:pt x="78" y="58"/>
                      </a:lnTo>
                      <a:lnTo>
                        <a:pt x="80" y="56"/>
                      </a:lnTo>
                      <a:lnTo>
                        <a:pt x="82" y="53"/>
                      </a:lnTo>
                      <a:lnTo>
                        <a:pt x="85" y="51"/>
                      </a:lnTo>
                      <a:lnTo>
                        <a:pt x="89" y="50"/>
                      </a:lnTo>
                      <a:lnTo>
                        <a:pt x="92" y="50"/>
                      </a:lnTo>
                      <a:close/>
                      <a:moveTo>
                        <a:pt x="1994" y="46"/>
                      </a:moveTo>
                      <a:lnTo>
                        <a:pt x="1997" y="46"/>
                      </a:lnTo>
                      <a:lnTo>
                        <a:pt x="1998" y="49"/>
                      </a:lnTo>
                      <a:lnTo>
                        <a:pt x="1999" y="51"/>
                      </a:lnTo>
                      <a:lnTo>
                        <a:pt x="2000" y="54"/>
                      </a:lnTo>
                      <a:lnTo>
                        <a:pt x="2001" y="57"/>
                      </a:lnTo>
                      <a:lnTo>
                        <a:pt x="2002" y="60"/>
                      </a:lnTo>
                      <a:lnTo>
                        <a:pt x="2002" y="62"/>
                      </a:lnTo>
                      <a:lnTo>
                        <a:pt x="2001" y="63"/>
                      </a:lnTo>
                      <a:lnTo>
                        <a:pt x="2001" y="64"/>
                      </a:lnTo>
                      <a:lnTo>
                        <a:pt x="2002" y="66"/>
                      </a:lnTo>
                      <a:lnTo>
                        <a:pt x="2004" y="67"/>
                      </a:lnTo>
                      <a:lnTo>
                        <a:pt x="2004" y="67"/>
                      </a:lnTo>
                      <a:lnTo>
                        <a:pt x="2005" y="67"/>
                      </a:lnTo>
                      <a:lnTo>
                        <a:pt x="2008" y="68"/>
                      </a:lnTo>
                      <a:lnTo>
                        <a:pt x="2009" y="69"/>
                      </a:lnTo>
                      <a:lnTo>
                        <a:pt x="2010" y="72"/>
                      </a:lnTo>
                      <a:lnTo>
                        <a:pt x="2011" y="74"/>
                      </a:lnTo>
                      <a:lnTo>
                        <a:pt x="2012" y="76"/>
                      </a:lnTo>
                      <a:lnTo>
                        <a:pt x="2012" y="77"/>
                      </a:lnTo>
                      <a:lnTo>
                        <a:pt x="2011" y="78"/>
                      </a:lnTo>
                      <a:lnTo>
                        <a:pt x="2011" y="79"/>
                      </a:lnTo>
                      <a:lnTo>
                        <a:pt x="2011" y="82"/>
                      </a:lnTo>
                      <a:lnTo>
                        <a:pt x="2012" y="84"/>
                      </a:lnTo>
                      <a:lnTo>
                        <a:pt x="2013" y="86"/>
                      </a:lnTo>
                      <a:lnTo>
                        <a:pt x="2015" y="87"/>
                      </a:lnTo>
                      <a:lnTo>
                        <a:pt x="2019" y="89"/>
                      </a:lnTo>
                      <a:lnTo>
                        <a:pt x="2021" y="92"/>
                      </a:lnTo>
                      <a:lnTo>
                        <a:pt x="2023" y="94"/>
                      </a:lnTo>
                      <a:lnTo>
                        <a:pt x="2025" y="96"/>
                      </a:lnTo>
                      <a:lnTo>
                        <a:pt x="2025" y="98"/>
                      </a:lnTo>
                      <a:lnTo>
                        <a:pt x="2024" y="100"/>
                      </a:lnTo>
                      <a:lnTo>
                        <a:pt x="2024" y="101"/>
                      </a:lnTo>
                      <a:lnTo>
                        <a:pt x="2023" y="103"/>
                      </a:lnTo>
                      <a:lnTo>
                        <a:pt x="2023" y="104"/>
                      </a:lnTo>
                      <a:lnTo>
                        <a:pt x="2023" y="105"/>
                      </a:lnTo>
                      <a:lnTo>
                        <a:pt x="2022" y="106"/>
                      </a:lnTo>
                      <a:lnTo>
                        <a:pt x="2022" y="108"/>
                      </a:lnTo>
                      <a:lnTo>
                        <a:pt x="2023" y="109"/>
                      </a:lnTo>
                      <a:lnTo>
                        <a:pt x="2023" y="111"/>
                      </a:lnTo>
                      <a:lnTo>
                        <a:pt x="2023" y="117"/>
                      </a:lnTo>
                      <a:lnTo>
                        <a:pt x="2022" y="118"/>
                      </a:lnTo>
                      <a:lnTo>
                        <a:pt x="2022" y="118"/>
                      </a:lnTo>
                      <a:lnTo>
                        <a:pt x="2021" y="118"/>
                      </a:lnTo>
                      <a:lnTo>
                        <a:pt x="2020" y="117"/>
                      </a:lnTo>
                      <a:lnTo>
                        <a:pt x="2019" y="115"/>
                      </a:lnTo>
                      <a:lnTo>
                        <a:pt x="2017" y="112"/>
                      </a:lnTo>
                      <a:lnTo>
                        <a:pt x="2016" y="110"/>
                      </a:lnTo>
                      <a:lnTo>
                        <a:pt x="2015" y="108"/>
                      </a:lnTo>
                      <a:lnTo>
                        <a:pt x="2014" y="105"/>
                      </a:lnTo>
                      <a:lnTo>
                        <a:pt x="2012" y="103"/>
                      </a:lnTo>
                      <a:lnTo>
                        <a:pt x="2010" y="103"/>
                      </a:lnTo>
                      <a:lnTo>
                        <a:pt x="2009" y="103"/>
                      </a:lnTo>
                      <a:lnTo>
                        <a:pt x="2008" y="100"/>
                      </a:lnTo>
                      <a:lnTo>
                        <a:pt x="2006" y="98"/>
                      </a:lnTo>
                      <a:lnTo>
                        <a:pt x="2004" y="97"/>
                      </a:lnTo>
                      <a:lnTo>
                        <a:pt x="2003" y="95"/>
                      </a:lnTo>
                      <a:lnTo>
                        <a:pt x="2003" y="92"/>
                      </a:lnTo>
                      <a:lnTo>
                        <a:pt x="2002" y="89"/>
                      </a:lnTo>
                      <a:lnTo>
                        <a:pt x="2002" y="88"/>
                      </a:lnTo>
                      <a:lnTo>
                        <a:pt x="2002" y="85"/>
                      </a:lnTo>
                      <a:lnTo>
                        <a:pt x="2002" y="83"/>
                      </a:lnTo>
                      <a:lnTo>
                        <a:pt x="2002" y="79"/>
                      </a:lnTo>
                      <a:lnTo>
                        <a:pt x="2001" y="77"/>
                      </a:lnTo>
                      <a:lnTo>
                        <a:pt x="1999" y="74"/>
                      </a:lnTo>
                      <a:lnTo>
                        <a:pt x="1998" y="71"/>
                      </a:lnTo>
                      <a:lnTo>
                        <a:pt x="1998" y="68"/>
                      </a:lnTo>
                      <a:lnTo>
                        <a:pt x="1997" y="67"/>
                      </a:lnTo>
                      <a:lnTo>
                        <a:pt x="1997" y="65"/>
                      </a:lnTo>
                      <a:lnTo>
                        <a:pt x="1998" y="65"/>
                      </a:lnTo>
                      <a:lnTo>
                        <a:pt x="1998" y="64"/>
                      </a:lnTo>
                      <a:lnTo>
                        <a:pt x="1998" y="63"/>
                      </a:lnTo>
                      <a:lnTo>
                        <a:pt x="1997" y="62"/>
                      </a:lnTo>
                      <a:lnTo>
                        <a:pt x="1995" y="60"/>
                      </a:lnTo>
                      <a:lnTo>
                        <a:pt x="1994" y="57"/>
                      </a:lnTo>
                      <a:lnTo>
                        <a:pt x="1992" y="56"/>
                      </a:lnTo>
                      <a:lnTo>
                        <a:pt x="1991" y="55"/>
                      </a:lnTo>
                      <a:lnTo>
                        <a:pt x="1990" y="53"/>
                      </a:lnTo>
                      <a:lnTo>
                        <a:pt x="1990" y="51"/>
                      </a:lnTo>
                      <a:lnTo>
                        <a:pt x="1991" y="50"/>
                      </a:lnTo>
                      <a:lnTo>
                        <a:pt x="1992" y="49"/>
                      </a:lnTo>
                      <a:lnTo>
                        <a:pt x="1993" y="47"/>
                      </a:lnTo>
                      <a:lnTo>
                        <a:pt x="1993" y="47"/>
                      </a:lnTo>
                      <a:lnTo>
                        <a:pt x="1994" y="46"/>
                      </a:lnTo>
                      <a:close/>
                      <a:moveTo>
                        <a:pt x="2166" y="45"/>
                      </a:moveTo>
                      <a:lnTo>
                        <a:pt x="2167" y="45"/>
                      </a:lnTo>
                      <a:lnTo>
                        <a:pt x="2168" y="46"/>
                      </a:lnTo>
                      <a:lnTo>
                        <a:pt x="2171" y="46"/>
                      </a:lnTo>
                      <a:lnTo>
                        <a:pt x="2173" y="47"/>
                      </a:lnTo>
                      <a:lnTo>
                        <a:pt x="2176" y="49"/>
                      </a:lnTo>
                      <a:lnTo>
                        <a:pt x="2178" y="49"/>
                      </a:lnTo>
                      <a:lnTo>
                        <a:pt x="2182" y="50"/>
                      </a:lnTo>
                      <a:lnTo>
                        <a:pt x="2184" y="51"/>
                      </a:lnTo>
                      <a:lnTo>
                        <a:pt x="2184" y="52"/>
                      </a:lnTo>
                      <a:lnTo>
                        <a:pt x="2184" y="52"/>
                      </a:lnTo>
                      <a:lnTo>
                        <a:pt x="2182" y="53"/>
                      </a:lnTo>
                      <a:lnTo>
                        <a:pt x="2179" y="53"/>
                      </a:lnTo>
                      <a:lnTo>
                        <a:pt x="2177" y="52"/>
                      </a:lnTo>
                      <a:lnTo>
                        <a:pt x="2175" y="52"/>
                      </a:lnTo>
                      <a:lnTo>
                        <a:pt x="2174" y="52"/>
                      </a:lnTo>
                      <a:lnTo>
                        <a:pt x="2173" y="52"/>
                      </a:lnTo>
                      <a:lnTo>
                        <a:pt x="2169" y="51"/>
                      </a:lnTo>
                      <a:lnTo>
                        <a:pt x="2167" y="50"/>
                      </a:lnTo>
                      <a:lnTo>
                        <a:pt x="2166" y="49"/>
                      </a:lnTo>
                      <a:lnTo>
                        <a:pt x="2166" y="47"/>
                      </a:lnTo>
                      <a:lnTo>
                        <a:pt x="2166" y="46"/>
                      </a:lnTo>
                      <a:lnTo>
                        <a:pt x="2166" y="45"/>
                      </a:lnTo>
                      <a:close/>
                      <a:moveTo>
                        <a:pt x="2158" y="45"/>
                      </a:moveTo>
                      <a:lnTo>
                        <a:pt x="2160" y="45"/>
                      </a:lnTo>
                      <a:lnTo>
                        <a:pt x="2162" y="46"/>
                      </a:lnTo>
                      <a:lnTo>
                        <a:pt x="2162" y="49"/>
                      </a:lnTo>
                      <a:lnTo>
                        <a:pt x="2162" y="50"/>
                      </a:lnTo>
                      <a:lnTo>
                        <a:pt x="2163" y="51"/>
                      </a:lnTo>
                      <a:lnTo>
                        <a:pt x="2164" y="53"/>
                      </a:lnTo>
                      <a:lnTo>
                        <a:pt x="2167" y="54"/>
                      </a:lnTo>
                      <a:lnTo>
                        <a:pt x="2167" y="54"/>
                      </a:lnTo>
                      <a:lnTo>
                        <a:pt x="2167" y="54"/>
                      </a:lnTo>
                      <a:lnTo>
                        <a:pt x="2167" y="53"/>
                      </a:lnTo>
                      <a:lnTo>
                        <a:pt x="2168" y="53"/>
                      </a:lnTo>
                      <a:lnTo>
                        <a:pt x="2169" y="54"/>
                      </a:lnTo>
                      <a:lnTo>
                        <a:pt x="2169" y="56"/>
                      </a:lnTo>
                      <a:lnTo>
                        <a:pt x="2172" y="57"/>
                      </a:lnTo>
                      <a:lnTo>
                        <a:pt x="2173" y="60"/>
                      </a:lnTo>
                      <a:lnTo>
                        <a:pt x="2175" y="62"/>
                      </a:lnTo>
                      <a:lnTo>
                        <a:pt x="2175" y="63"/>
                      </a:lnTo>
                      <a:lnTo>
                        <a:pt x="2173" y="63"/>
                      </a:lnTo>
                      <a:lnTo>
                        <a:pt x="2169" y="62"/>
                      </a:lnTo>
                      <a:lnTo>
                        <a:pt x="2167" y="60"/>
                      </a:lnTo>
                      <a:lnTo>
                        <a:pt x="2165" y="58"/>
                      </a:lnTo>
                      <a:lnTo>
                        <a:pt x="2163" y="56"/>
                      </a:lnTo>
                      <a:lnTo>
                        <a:pt x="2161" y="55"/>
                      </a:lnTo>
                      <a:lnTo>
                        <a:pt x="2160" y="54"/>
                      </a:lnTo>
                      <a:lnTo>
                        <a:pt x="2158" y="54"/>
                      </a:lnTo>
                      <a:lnTo>
                        <a:pt x="2157" y="54"/>
                      </a:lnTo>
                      <a:lnTo>
                        <a:pt x="2157" y="53"/>
                      </a:lnTo>
                      <a:lnTo>
                        <a:pt x="2156" y="52"/>
                      </a:lnTo>
                      <a:lnTo>
                        <a:pt x="2156" y="46"/>
                      </a:lnTo>
                      <a:lnTo>
                        <a:pt x="2157" y="45"/>
                      </a:lnTo>
                      <a:lnTo>
                        <a:pt x="2158" y="45"/>
                      </a:lnTo>
                      <a:close/>
                      <a:moveTo>
                        <a:pt x="465" y="29"/>
                      </a:moveTo>
                      <a:lnTo>
                        <a:pt x="472" y="29"/>
                      </a:lnTo>
                      <a:lnTo>
                        <a:pt x="475" y="31"/>
                      </a:lnTo>
                      <a:lnTo>
                        <a:pt x="477" y="33"/>
                      </a:lnTo>
                      <a:lnTo>
                        <a:pt x="477" y="36"/>
                      </a:lnTo>
                      <a:lnTo>
                        <a:pt x="476" y="40"/>
                      </a:lnTo>
                      <a:lnTo>
                        <a:pt x="474" y="43"/>
                      </a:lnTo>
                      <a:lnTo>
                        <a:pt x="469" y="49"/>
                      </a:lnTo>
                      <a:lnTo>
                        <a:pt x="462" y="54"/>
                      </a:lnTo>
                      <a:lnTo>
                        <a:pt x="456" y="60"/>
                      </a:lnTo>
                      <a:lnTo>
                        <a:pt x="454" y="65"/>
                      </a:lnTo>
                      <a:lnTo>
                        <a:pt x="458" y="71"/>
                      </a:lnTo>
                      <a:lnTo>
                        <a:pt x="461" y="71"/>
                      </a:lnTo>
                      <a:lnTo>
                        <a:pt x="466" y="69"/>
                      </a:lnTo>
                      <a:lnTo>
                        <a:pt x="471" y="67"/>
                      </a:lnTo>
                      <a:lnTo>
                        <a:pt x="474" y="66"/>
                      </a:lnTo>
                      <a:lnTo>
                        <a:pt x="476" y="71"/>
                      </a:lnTo>
                      <a:lnTo>
                        <a:pt x="476" y="75"/>
                      </a:lnTo>
                      <a:lnTo>
                        <a:pt x="475" y="79"/>
                      </a:lnTo>
                      <a:lnTo>
                        <a:pt x="474" y="84"/>
                      </a:lnTo>
                      <a:lnTo>
                        <a:pt x="474" y="86"/>
                      </a:lnTo>
                      <a:lnTo>
                        <a:pt x="474" y="88"/>
                      </a:lnTo>
                      <a:lnTo>
                        <a:pt x="474" y="90"/>
                      </a:lnTo>
                      <a:lnTo>
                        <a:pt x="475" y="93"/>
                      </a:lnTo>
                      <a:lnTo>
                        <a:pt x="476" y="95"/>
                      </a:lnTo>
                      <a:lnTo>
                        <a:pt x="478" y="100"/>
                      </a:lnTo>
                      <a:lnTo>
                        <a:pt x="478" y="108"/>
                      </a:lnTo>
                      <a:lnTo>
                        <a:pt x="476" y="115"/>
                      </a:lnTo>
                      <a:lnTo>
                        <a:pt x="473" y="122"/>
                      </a:lnTo>
                      <a:lnTo>
                        <a:pt x="465" y="130"/>
                      </a:lnTo>
                      <a:lnTo>
                        <a:pt x="458" y="137"/>
                      </a:lnTo>
                      <a:lnTo>
                        <a:pt x="454" y="137"/>
                      </a:lnTo>
                      <a:lnTo>
                        <a:pt x="452" y="137"/>
                      </a:lnTo>
                      <a:lnTo>
                        <a:pt x="450" y="138"/>
                      </a:lnTo>
                      <a:lnTo>
                        <a:pt x="448" y="139"/>
                      </a:lnTo>
                      <a:lnTo>
                        <a:pt x="447" y="141"/>
                      </a:lnTo>
                      <a:lnTo>
                        <a:pt x="445" y="143"/>
                      </a:lnTo>
                      <a:lnTo>
                        <a:pt x="444" y="145"/>
                      </a:lnTo>
                      <a:lnTo>
                        <a:pt x="444" y="148"/>
                      </a:lnTo>
                      <a:lnTo>
                        <a:pt x="441" y="151"/>
                      </a:lnTo>
                      <a:lnTo>
                        <a:pt x="438" y="153"/>
                      </a:lnTo>
                      <a:lnTo>
                        <a:pt x="434" y="154"/>
                      </a:lnTo>
                      <a:lnTo>
                        <a:pt x="430" y="153"/>
                      </a:lnTo>
                      <a:lnTo>
                        <a:pt x="427" y="152"/>
                      </a:lnTo>
                      <a:lnTo>
                        <a:pt x="423" y="149"/>
                      </a:lnTo>
                      <a:lnTo>
                        <a:pt x="421" y="147"/>
                      </a:lnTo>
                      <a:lnTo>
                        <a:pt x="420" y="143"/>
                      </a:lnTo>
                      <a:lnTo>
                        <a:pt x="418" y="140"/>
                      </a:lnTo>
                      <a:lnTo>
                        <a:pt x="416" y="137"/>
                      </a:lnTo>
                      <a:lnTo>
                        <a:pt x="414" y="133"/>
                      </a:lnTo>
                      <a:lnTo>
                        <a:pt x="411" y="130"/>
                      </a:lnTo>
                      <a:lnTo>
                        <a:pt x="408" y="128"/>
                      </a:lnTo>
                      <a:lnTo>
                        <a:pt x="404" y="127"/>
                      </a:lnTo>
                      <a:lnTo>
                        <a:pt x="398" y="126"/>
                      </a:lnTo>
                      <a:lnTo>
                        <a:pt x="396" y="123"/>
                      </a:lnTo>
                      <a:lnTo>
                        <a:pt x="394" y="121"/>
                      </a:lnTo>
                      <a:lnTo>
                        <a:pt x="393" y="119"/>
                      </a:lnTo>
                      <a:lnTo>
                        <a:pt x="391" y="117"/>
                      </a:lnTo>
                      <a:lnTo>
                        <a:pt x="390" y="115"/>
                      </a:lnTo>
                      <a:lnTo>
                        <a:pt x="388" y="112"/>
                      </a:lnTo>
                      <a:lnTo>
                        <a:pt x="387" y="111"/>
                      </a:lnTo>
                      <a:lnTo>
                        <a:pt x="385" y="110"/>
                      </a:lnTo>
                      <a:lnTo>
                        <a:pt x="384" y="108"/>
                      </a:lnTo>
                      <a:lnTo>
                        <a:pt x="380" y="105"/>
                      </a:lnTo>
                      <a:lnTo>
                        <a:pt x="379" y="101"/>
                      </a:lnTo>
                      <a:lnTo>
                        <a:pt x="378" y="98"/>
                      </a:lnTo>
                      <a:lnTo>
                        <a:pt x="379" y="94"/>
                      </a:lnTo>
                      <a:lnTo>
                        <a:pt x="382" y="90"/>
                      </a:lnTo>
                      <a:lnTo>
                        <a:pt x="382" y="88"/>
                      </a:lnTo>
                      <a:lnTo>
                        <a:pt x="383" y="86"/>
                      </a:lnTo>
                      <a:lnTo>
                        <a:pt x="384" y="85"/>
                      </a:lnTo>
                      <a:lnTo>
                        <a:pt x="385" y="83"/>
                      </a:lnTo>
                      <a:lnTo>
                        <a:pt x="386" y="82"/>
                      </a:lnTo>
                      <a:lnTo>
                        <a:pt x="387" y="82"/>
                      </a:lnTo>
                      <a:lnTo>
                        <a:pt x="389" y="82"/>
                      </a:lnTo>
                      <a:lnTo>
                        <a:pt x="389" y="84"/>
                      </a:lnTo>
                      <a:lnTo>
                        <a:pt x="391" y="86"/>
                      </a:lnTo>
                      <a:lnTo>
                        <a:pt x="394" y="88"/>
                      </a:lnTo>
                      <a:lnTo>
                        <a:pt x="396" y="90"/>
                      </a:lnTo>
                      <a:lnTo>
                        <a:pt x="398" y="92"/>
                      </a:lnTo>
                      <a:lnTo>
                        <a:pt x="401" y="92"/>
                      </a:lnTo>
                      <a:lnTo>
                        <a:pt x="405" y="90"/>
                      </a:lnTo>
                      <a:lnTo>
                        <a:pt x="408" y="87"/>
                      </a:lnTo>
                      <a:lnTo>
                        <a:pt x="410" y="84"/>
                      </a:lnTo>
                      <a:lnTo>
                        <a:pt x="412" y="79"/>
                      </a:lnTo>
                      <a:lnTo>
                        <a:pt x="412" y="76"/>
                      </a:lnTo>
                      <a:lnTo>
                        <a:pt x="411" y="73"/>
                      </a:lnTo>
                      <a:lnTo>
                        <a:pt x="411" y="71"/>
                      </a:lnTo>
                      <a:lnTo>
                        <a:pt x="409" y="68"/>
                      </a:lnTo>
                      <a:lnTo>
                        <a:pt x="408" y="67"/>
                      </a:lnTo>
                      <a:lnTo>
                        <a:pt x="406" y="65"/>
                      </a:lnTo>
                      <a:lnTo>
                        <a:pt x="405" y="63"/>
                      </a:lnTo>
                      <a:lnTo>
                        <a:pt x="404" y="61"/>
                      </a:lnTo>
                      <a:lnTo>
                        <a:pt x="404" y="58"/>
                      </a:lnTo>
                      <a:lnTo>
                        <a:pt x="405" y="57"/>
                      </a:lnTo>
                      <a:lnTo>
                        <a:pt x="408" y="56"/>
                      </a:lnTo>
                      <a:lnTo>
                        <a:pt x="410" y="55"/>
                      </a:lnTo>
                      <a:lnTo>
                        <a:pt x="410" y="54"/>
                      </a:lnTo>
                      <a:lnTo>
                        <a:pt x="409" y="54"/>
                      </a:lnTo>
                      <a:lnTo>
                        <a:pt x="407" y="53"/>
                      </a:lnTo>
                      <a:lnTo>
                        <a:pt x="405" y="51"/>
                      </a:lnTo>
                      <a:lnTo>
                        <a:pt x="405" y="49"/>
                      </a:lnTo>
                      <a:lnTo>
                        <a:pt x="405" y="45"/>
                      </a:lnTo>
                      <a:lnTo>
                        <a:pt x="406" y="42"/>
                      </a:lnTo>
                      <a:lnTo>
                        <a:pt x="409" y="40"/>
                      </a:lnTo>
                      <a:lnTo>
                        <a:pt x="414" y="38"/>
                      </a:lnTo>
                      <a:lnTo>
                        <a:pt x="417" y="36"/>
                      </a:lnTo>
                      <a:lnTo>
                        <a:pt x="420" y="35"/>
                      </a:lnTo>
                      <a:lnTo>
                        <a:pt x="423" y="35"/>
                      </a:lnTo>
                      <a:lnTo>
                        <a:pt x="427" y="35"/>
                      </a:lnTo>
                      <a:lnTo>
                        <a:pt x="429" y="35"/>
                      </a:lnTo>
                      <a:lnTo>
                        <a:pt x="431" y="36"/>
                      </a:lnTo>
                      <a:lnTo>
                        <a:pt x="432" y="38"/>
                      </a:lnTo>
                      <a:lnTo>
                        <a:pt x="433" y="39"/>
                      </a:lnTo>
                      <a:lnTo>
                        <a:pt x="434" y="41"/>
                      </a:lnTo>
                      <a:lnTo>
                        <a:pt x="436" y="42"/>
                      </a:lnTo>
                      <a:lnTo>
                        <a:pt x="438" y="42"/>
                      </a:lnTo>
                      <a:lnTo>
                        <a:pt x="441" y="42"/>
                      </a:lnTo>
                      <a:lnTo>
                        <a:pt x="443" y="41"/>
                      </a:lnTo>
                      <a:lnTo>
                        <a:pt x="447" y="40"/>
                      </a:lnTo>
                      <a:lnTo>
                        <a:pt x="449" y="39"/>
                      </a:lnTo>
                      <a:lnTo>
                        <a:pt x="451" y="38"/>
                      </a:lnTo>
                      <a:lnTo>
                        <a:pt x="456" y="34"/>
                      </a:lnTo>
                      <a:lnTo>
                        <a:pt x="461" y="31"/>
                      </a:lnTo>
                      <a:lnTo>
                        <a:pt x="465" y="29"/>
                      </a:lnTo>
                      <a:close/>
                      <a:moveTo>
                        <a:pt x="2209" y="28"/>
                      </a:moveTo>
                      <a:lnTo>
                        <a:pt x="2210" y="28"/>
                      </a:lnTo>
                      <a:lnTo>
                        <a:pt x="2211" y="29"/>
                      </a:lnTo>
                      <a:lnTo>
                        <a:pt x="2212" y="31"/>
                      </a:lnTo>
                      <a:lnTo>
                        <a:pt x="2213" y="32"/>
                      </a:lnTo>
                      <a:lnTo>
                        <a:pt x="2215" y="33"/>
                      </a:lnTo>
                      <a:lnTo>
                        <a:pt x="2215" y="34"/>
                      </a:lnTo>
                      <a:lnTo>
                        <a:pt x="2215" y="35"/>
                      </a:lnTo>
                      <a:lnTo>
                        <a:pt x="2215" y="36"/>
                      </a:lnTo>
                      <a:lnTo>
                        <a:pt x="2216" y="38"/>
                      </a:lnTo>
                      <a:lnTo>
                        <a:pt x="2218" y="39"/>
                      </a:lnTo>
                      <a:lnTo>
                        <a:pt x="2221" y="40"/>
                      </a:lnTo>
                      <a:lnTo>
                        <a:pt x="2221" y="40"/>
                      </a:lnTo>
                      <a:lnTo>
                        <a:pt x="2222" y="41"/>
                      </a:lnTo>
                      <a:lnTo>
                        <a:pt x="2223" y="42"/>
                      </a:lnTo>
                      <a:lnTo>
                        <a:pt x="2226" y="44"/>
                      </a:lnTo>
                      <a:lnTo>
                        <a:pt x="2226" y="45"/>
                      </a:lnTo>
                      <a:lnTo>
                        <a:pt x="2227" y="46"/>
                      </a:lnTo>
                      <a:lnTo>
                        <a:pt x="2226" y="47"/>
                      </a:lnTo>
                      <a:lnTo>
                        <a:pt x="2224" y="47"/>
                      </a:lnTo>
                      <a:lnTo>
                        <a:pt x="2221" y="45"/>
                      </a:lnTo>
                      <a:lnTo>
                        <a:pt x="2220" y="46"/>
                      </a:lnTo>
                      <a:lnTo>
                        <a:pt x="2220" y="47"/>
                      </a:lnTo>
                      <a:lnTo>
                        <a:pt x="2221" y="49"/>
                      </a:lnTo>
                      <a:lnTo>
                        <a:pt x="2222" y="50"/>
                      </a:lnTo>
                      <a:lnTo>
                        <a:pt x="2224" y="51"/>
                      </a:lnTo>
                      <a:lnTo>
                        <a:pt x="2224" y="53"/>
                      </a:lnTo>
                      <a:lnTo>
                        <a:pt x="2226" y="54"/>
                      </a:lnTo>
                      <a:lnTo>
                        <a:pt x="2227" y="56"/>
                      </a:lnTo>
                      <a:lnTo>
                        <a:pt x="2228" y="57"/>
                      </a:lnTo>
                      <a:lnTo>
                        <a:pt x="2228" y="58"/>
                      </a:lnTo>
                      <a:lnTo>
                        <a:pt x="2228" y="58"/>
                      </a:lnTo>
                      <a:lnTo>
                        <a:pt x="2227" y="58"/>
                      </a:lnTo>
                      <a:lnTo>
                        <a:pt x="2224" y="58"/>
                      </a:lnTo>
                      <a:lnTo>
                        <a:pt x="2222" y="57"/>
                      </a:lnTo>
                      <a:lnTo>
                        <a:pt x="2221" y="57"/>
                      </a:lnTo>
                      <a:lnTo>
                        <a:pt x="2219" y="56"/>
                      </a:lnTo>
                      <a:lnTo>
                        <a:pt x="2218" y="56"/>
                      </a:lnTo>
                      <a:lnTo>
                        <a:pt x="2218" y="57"/>
                      </a:lnTo>
                      <a:lnTo>
                        <a:pt x="2218" y="58"/>
                      </a:lnTo>
                      <a:lnTo>
                        <a:pt x="2216" y="57"/>
                      </a:lnTo>
                      <a:lnTo>
                        <a:pt x="2213" y="56"/>
                      </a:lnTo>
                      <a:lnTo>
                        <a:pt x="2211" y="53"/>
                      </a:lnTo>
                      <a:lnTo>
                        <a:pt x="2210" y="52"/>
                      </a:lnTo>
                      <a:lnTo>
                        <a:pt x="2210" y="51"/>
                      </a:lnTo>
                      <a:lnTo>
                        <a:pt x="2207" y="49"/>
                      </a:lnTo>
                      <a:lnTo>
                        <a:pt x="2206" y="47"/>
                      </a:lnTo>
                      <a:lnTo>
                        <a:pt x="2206" y="46"/>
                      </a:lnTo>
                      <a:lnTo>
                        <a:pt x="2206" y="44"/>
                      </a:lnTo>
                      <a:lnTo>
                        <a:pt x="2206" y="42"/>
                      </a:lnTo>
                      <a:lnTo>
                        <a:pt x="2205" y="41"/>
                      </a:lnTo>
                      <a:lnTo>
                        <a:pt x="2205" y="40"/>
                      </a:lnTo>
                      <a:lnTo>
                        <a:pt x="2205" y="39"/>
                      </a:lnTo>
                      <a:lnTo>
                        <a:pt x="2206" y="38"/>
                      </a:lnTo>
                      <a:lnTo>
                        <a:pt x="2208" y="38"/>
                      </a:lnTo>
                      <a:lnTo>
                        <a:pt x="2208" y="38"/>
                      </a:lnTo>
                      <a:lnTo>
                        <a:pt x="2208" y="36"/>
                      </a:lnTo>
                      <a:lnTo>
                        <a:pt x="2207" y="36"/>
                      </a:lnTo>
                      <a:lnTo>
                        <a:pt x="2206" y="35"/>
                      </a:lnTo>
                      <a:lnTo>
                        <a:pt x="2205" y="35"/>
                      </a:lnTo>
                      <a:lnTo>
                        <a:pt x="2202" y="34"/>
                      </a:lnTo>
                      <a:lnTo>
                        <a:pt x="2204" y="32"/>
                      </a:lnTo>
                      <a:lnTo>
                        <a:pt x="2205" y="31"/>
                      </a:lnTo>
                      <a:lnTo>
                        <a:pt x="2207" y="29"/>
                      </a:lnTo>
                      <a:lnTo>
                        <a:pt x="2209" y="28"/>
                      </a:lnTo>
                      <a:lnTo>
                        <a:pt x="2209" y="28"/>
                      </a:lnTo>
                      <a:close/>
                      <a:moveTo>
                        <a:pt x="679" y="17"/>
                      </a:moveTo>
                      <a:lnTo>
                        <a:pt x="683" y="18"/>
                      </a:lnTo>
                      <a:lnTo>
                        <a:pt x="688" y="18"/>
                      </a:lnTo>
                      <a:lnTo>
                        <a:pt x="690" y="20"/>
                      </a:lnTo>
                      <a:lnTo>
                        <a:pt x="692" y="21"/>
                      </a:lnTo>
                      <a:lnTo>
                        <a:pt x="693" y="23"/>
                      </a:lnTo>
                      <a:lnTo>
                        <a:pt x="692" y="27"/>
                      </a:lnTo>
                      <a:lnTo>
                        <a:pt x="690" y="29"/>
                      </a:lnTo>
                      <a:lnTo>
                        <a:pt x="685" y="32"/>
                      </a:lnTo>
                      <a:lnTo>
                        <a:pt x="683" y="34"/>
                      </a:lnTo>
                      <a:lnTo>
                        <a:pt x="682" y="36"/>
                      </a:lnTo>
                      <a:lnTo>
                        <a:pt x="681" y="40"/>
                      </a:lnTo>
                      <a:lnTo>
                        <a:pt x="679" y="43"/>
                      </a:lnTo>
                      <a:lnTo>
                        <a:pt x="677" y="45"/>
                      </a:lnTo>
                      <a:lnTo>
                        <a:pt x="673" y="47"/>
                      </a:lnTo>
                      <a:lnTo>
                        <a:pt x="671" y="49"/>
                      </a:lnTo>
                      <a:lnTo>
                        <a:pt x="669" y="51"/>
                      </a:lnTo>
                      <a:lnTo>
                        <a:pt x="667" y="53"/>
                      </a:lnTo>
                      <a:lnTo>
                        <a:pt x="663" y="54"/>
                      </a:lnTo>
                      <a:lnTo>
                        <a:pt x="661" y="57"/>
                      </a:lnTo>
                      <a:lnTo>
                        <a:pt x="659" y="60"/>
                      </a:lnTo>
                      <a:lnTo>
                        <a:pt x="657" y="63"/>
                      </a:lnTo>
                      <a:lnTo>
                        <a:pt x="656" y="66"/>
                      </a:lnTo>
                      <a:lnTo>
                        <a:pt x="655" y="69"/>
                      </a:lnTo>
                      <a:lnTo>
                        <a:pt x="657" y="74"/>
                      </a:lnTo>
                      <a:lnTo>
                        <a:pt x="659" y="77"/>
                      </a:lnTo>
                      <a:lnTo>
                        <a:pt x="661" y="80"/>
                      </a:lnTo>
                      <a:lnTo>
                        <a:pt x="662" y="87"/>
                      </a:lnTo>
                      <a:lnTo>
                        <a:pt x="660" y="94"/>
                      </a:lnTo>
                      <a:lnTo>
                        <a:pt x="659" y="100"/>
                      </a:lnTo>
                      <a:lnTo>
                        <a:pt x="660" y="104"/>
                      </a:lnTo>
                      <a:lnTo>
                        <a:pt x="662" y="107"/>
                      </a:lnTo>
                      <a:lnTo>
                        <a:pt x="665" y="110"/>
                      </a:lnTo>
                      <a:lnTo>
                        <a:pt x="666" y="114"/>
                      </a:lnTo>
                      <a:lnTo>
                        <a:pt x="668" y="116"/>
                      </a:lnTo>
                      <a:lnTo>
                        <a:pt x="669" y="118"/>
                      </a:lnTo>
                      <a:lnTo>
                        <a:pt x="669" y="120"/>
                      </a:lnTo>
                      <a:lnTo>
                        <a:pt x="670" y="122"/>
                      </a:lnTo>
                      <a:lnTo>
                        <a:pt x="672" y="125"/>
                      </a:lnTo>
                      <a:lnTo>
                        <a:pt x="674" y="127"/>
                      </a:lnTo>
                      <a:lnTo>
                        <a:pt x="677" y="128"/>
                      </a:lnTo>
                      <a:lnTo>
                        <a:pt x="681" y="129"/>
                      </a:lnTo>
                      <a:lnTo>
                        <a:pt x="684" y="129"/>
                      </a:lnTo>
                      <a:lnTo>
                        <a:pt x="687" y="129"/>
                      </a:lnTo>
                      <a:lnTo>
                        <a:pt x="688" y="129"/>
                      </a:lnTo>
                      <a:lnTo>
                        <a:pt x="688" y="128"/>
                      </a:lnTo>
                      <a:lnTo>
                        <a:pt x="688" y="127"/>
                      </a:lnTo>
                      <a:lnTo>
                        <a:pt x="688" y="125"/>
                      </a:lnTo>
                      <a:lnTo>
                        <a:pt x="687" y="122"/>
                      </a:lnTo>
                      <a:lnTo>
                        <a:pt x="685" y="120"/>
                      </a:lnTo>
                      <a:lnTo>
                        <a:pt x="684" y="119"/>
                      </a:lnTo>
                      <a:lnTo>
                        <a:pt x="682" y="117"/>
                      </a:lnTo>
                      <a:lnTo>
                        <a:pt x="681" y="116"/>
                      </a:lnTo>
                      <a:lnTo>
                        <a:pt x="678" y="112"/>
                      </a:lnTo>
                      <a:lnTo>
                        <a:pt x="674" y="107"/>
                      </a:lnTo>
                      <a:lnTo>
                        <a:pt x="672" y="101"/>
                      </a:lnTo>
                      <a:lnTo>
                        <a:pt x="672" y="97"/>
                      </a:lnTo>
                      <a:lnTo>
                        <a:pt x="677" y="94"/>
                      </a:lnTo>
                      <a:lnTo>
                        <a:pt x="681" y="92"/>
                      </a:lnTo>
                      <a:lnTo>
                        <a:pt x="683" y="89"/>
                      </a:lnTo>
                      <a:lnTo>
                        <a:pt x="685" y="88"/>
                      </a:lnTo>
                      <a:lnTo>
                        <a:pt x="687" y="87"/>
                      </a:lnTo>
                      <a:lnTo>
                        <a:pt x="687" y="85"/>
                      </a:lnTo>
                      <a:lnTo>
                        <a:pt x="685" y="84"/>
                      </a:lnTo>
                      <a:lnTo>
                        <a:pt x="684" y="82"/>
                      </a:lnTo>
                      <a:lnTo>
                        <a:pt x="681" y="78"/>
                      </a:lnTo>
                      <a:lnTo>
                        <a:pt x="680" y="77"/>
                      </a:lnTo>
                      <a:lnTo>
                        <a:pt x="678" y="75"/>
                      </a:lnTo>
                      <a:lnTo>
                        <a:pt x="677" y="73"/>
                      </a:lnTo>
                      <a:lnTo>
                        <a:pt x="674" y="71"/>
                      </a:lnTo>
                      <a:lnTo>
                        <a:pt x="674" y="67"/>
                      </a:lnTo>
                      <a:lnTo>
                        <a:pt x="674" y="65"/>
                      </a:lnTo>
                      <a:lnTo>
                        <a:pt x="676" y="63"/>
                      </a:lnTo>
                      <a:lnTo>
                        <a:pt x="677" y="61"/>
                      </a:lnTo>
                      <a:lnTo>
                        <a:pt x="679" y="60"/>
                      </a:lnTo>
                      <a:lnTo>
                        <a:pt x="681" y="58"/>
                      </a:lnTo>
                      <a:lnTo>
                        <a:pt x="683" y="57"/>
                      </a:lnTo>
                      <a:lnTo>
                        <a:pt x="685" y="56"/>
                      </a:lnTo>
                      <a:lnTo>
                        <a:pt x="688" y="55"/>
                      </a:lnTo>
                      <a:lnTo>
                        <a:pt x="688" y="54"/>
                      </a:lnTo>
                      <a:lnTo>
                        <a:pt x="688" y="52"/>
                      </a:lnTo>
                      <a:lnTo>
                        <a:pt x="687" y="50"/>
                      </a:lnTo>
                      <a:lnTo>
                        <a:pt x="688" y="47"/>
                      </a:lnTo>
                      <a:lnTo>
                        <a:pt x="688" y="47"/>
                      </a:lnTo>
                      <a:lnTo>
                        <a:pt x="689" y="45"/>
                      </a:lnTo>
                      <a:lnTo>
                        <a:pt x="689" y="43"/>
                      </a:lnTo>
                      <a:lnTo>
                        <a:pt x="690" y="41"/>
                      </a:lnTo>
                      <a:lnTo>
                        <a:pt x="690" y="39"/>
                      </a:lnTo>
                      <a:lnTo>
                        <a:pt x="690" y="36"/>
                      </a:lnTo>
                      <a:lnTo>
                        <a:pt x="701" y="36"/>
                      </a:lnTo>
                      <a:lnTo>
                        <a:pt x="704" y="35"/>
                      </a:lnTo>
                      <a:lnTo>
                        <a:pt x="706" y="33"/>
                      </a:lnTo>
                      <a:lnTo>
                        <a:pt x="707" y="31"/>
                      </a:lnTo>
                      <a:lnTo>
                        <a:pt x="710" y="29"/>
                      </a:lnTo>
                      <a:lnTo>
                        <a:pt x="712" y="25"/>
                      </a:lnTo>
                      <a:lnTo>
                        <a:pt x="714" y="25"/>
                      </a:lnTo>
                      <a:lnTo>
                        <a:pt x="717" y="24"/>
                      </a:lnTo>
                      <a:lnTo>
                        <a:pt x="720" y="24"/>
                      </a:lnTo>
                      <a:lnTo>
                        <a:pt x="723" y="24"/>
                      </a:lnTo>
                      <a:lnTo>
                        <a:pt x="727" y="23"/>
                      </a:lnTo>
                      <a:lnTo>
                        <a:pt x="735" y="23"/>
                      </a:lnTo>
                      <a:lnTo>
                        <a:pt x="743" y="24"/>
                      </a:lnTo>
                      <a:lnTo>
                        <a:pt x="748" y="28"/>
                      </a:lnTo>
                      <a:lnTo>
                        <a:pt x="756" y="39"/>
                      </a:lnTo>
                      <a:lnTo>
                        <a:pt x="760" y="51"/>
                      </a:lnTo>
                      <a:lnTo>
                        <a:pt x="762" y="63"/>
                      </a:lnTo>
                      <a:lnTo>
                        <a:pt x="760" y="75"/>
                      </a:lnTo>
                      <a:lnTo>
                        <a:pt x="755" y="85"/>
                      </a:lnTo>
                      <a:lnTo>
                        <a:pt x="754" y="87"/>
                      </a:lnTo>
                      <a:lnTo>
                        <a:pt x="753" y="89"/>
                      </a:lnTo>
                      <a:lnTo>
                        <a:pt x="751" y="92"/>
                      </a:lnTo>
                      <a:lnTo>
                        <a:pt x="751" y="95"/>
                      </a:lnTo>
                      <a:lnTo>
                        <a:pt x="751" y="97"/>
                      </a:lnTo>
                      <a:lnTo>
                        <a:pt x="753" y="100"/>
                      </a:lnTo>
                      <a:lnTo>
                        <a:pt x="754" y="101"/>
                      </a:lnTo>
                      <a:lnTo>
                        <a:pt x="754" y="103"/>
                      </a:lnTo>
                      <a:lnTo>
                        <a:pt x="755" y="104"/>
                      </a:lnTo>
                      <a:lnTo>
                        <a:pt x="757" y="105"/>
                      </a:lnTo>
                      <a:lnTo>
                        <a:pt x="758" y="104"/>
                      </a:lnTo>
                      <a:lnTo>
                        <a:pt x="759" y="103"/>
                      </a:lnTo>
                      <a:lnTo>
                        <a:pt x="764" y="98"/>
                      </a:lnTo>
                      <a:lnTo>
                        <a:pt x="767" y="94"/>
                      </a:lnTo>
                      <a:lnTo>
                        <a:pt x="770" y="89"/>
                      </a:lnTo>
                      <a:lnTo>
                        <a:pt x="772" y="88"/>
                      </a:lnTo>
                      <a:lnTo>
                        <a:pt x="775" y="88"/>
                      </a:lnTo>
                      <a:lnTo>
                        <a:pt x="777" y="89"/>
                      </a:lnTo>
                      <a:lnTo>
                        <a:pt x="778" y="90"/>
                      </a:lnTo>
                      <a:lnTo>
                        <a:pt x="780" y="93"/>
                      </a:lnTo>
                      <a:lnTo>
                        <a:pt x="781" y="95"/>
                      </a:lnTo>
                      <a:lnTo>
                        <a:pt x="783" y="96"/>
                      </a:lnTo>
                      <a:lnTo>
                        <a:pt x="783" y="97"/>
                      </a:lnTo>
                      <a:lnTo>
                        <a:pt x="785" y="99"/>
                      </a:lnTo>
                      <a:lnTo>
                        <a:pt x="787" y="100"/>
                      </a:lnTo>
                      <a:lnTo>
                        <a:pt x="788" y="101"/>
                      </a:lnTo>
                      <a:lnTo>
                        <a:pt x="790" y="103"/>
                      </a:lnTo>
                      <a:lnTo>
                        <a:pt x="791" y="103"/>
                      </a:lnTo>
                      <a:lnTo>
                        <a:pt x="792" y="101"/>
                      </a:lnTo>
                      <a:lnTo>
                        <a:pt x="793" y="100"/>
                      </a:lnTo>
                      <a:lnTo>
                        <a:pt x="793" y="98"/>
                      </a:lnTo>
                      <a:lnTo>
                        <a:pt x="793" y="97"/>
                      </a:lnTo>
                      <a:lnTo>
                        <a:pt x="794" y="96"/>
                      </a:lnTo>
                      <a:lnTo>
                        <a:pt x="794" y="95"/>
                      </a:lnTo>
                      <a:lnTo>
                        <a:pt x="797" y="94"/>
                      </a:lnTo>
                      <a:lnTo>
                        <a:pt x="799" y="94"/>
                      </a:lnTo>
                      <a:lnTo>
                        <a:pt x="801" y="93"/>
                      </a:lnTo>
                      <a:lnTo>
                        <a:pt x="803" y="93"/>
                      </a:lnTo>
                      <a:lnTo>
                        <a:pt x="805" y="92"/>
                      </a:lnTo>
                      <a:lnTo>
                        <a:pt x="807" y="90"/>
                      </a:lnTo>
                      <a:lnTo>
                        <a:pt x="808" y="89"/>
                      </a:lnTo>
                      <a:lnTo>
                        <a:pt x="808" y="88"/>
                      </a:lnTo>
                      <a:lnTo>
                        <a:pt x="808" y="86"/>
                      </a:lnTo>
                      <a:lnTo>
                        <a:pt x="808" y="84"/>
                      </a:lnTo>
                      <a:lnTo>
                        <a:pt x="808" y="83"/>
                      </a:lnTo>
                      <a:lnTo>
                        <a:pt x="805" y="82"/>
                      </a:lnTo>
                      <a:lnTo>
                        <a:pt x="804" y="79"/>
                      </a:lnTo>
                      <a:lnTo>
                        <a:pt x="802" y="77"/>
                      </a:lnTo>
                      <a:lnTo>
                        <a:pt x="801" y="75"/>
                      </a:lnTo>
                      <a:lnTo>
                        <a:pt x="800" y="73"/>
                      </a:lnTo>
                      <a:lnTo>
                        <a:pt x="801" y="72"/>
                      </a:lnTo>
                      <a:lnTo>
                        <a:pt x="804" y="71"/>
                      </a:lnTo>
                      <a:lnTo>
                        <a:pt x="808" y="71"/>
                      </a:lnTo>
                      <a:lnTo>
                        <a:pt x="811" y="71"/>
                      </a:lnTo>
                      <a:lnTo>
                        <a:pt x="814" y="69"/>
                      </a:lnTo>
                      <a:lnTo>
                        <a:pt x="815" y="68"/>
                      </a:lnTo>
                      <a:lnTo>
                        <a:pt x="815" y="67"/>
                      </a:lnTo>
                      <a:lnTo>
                        <a:pt x="814" y="65"/>
                      </a:lnTo>
                      <a:lnTo>
                        <a:pt x="812" y="64"/>
                      </a:lnTo>
                      <a:lnTo>
                        <a:pt x="810" y="63"/>
                      </a:lnTo>
                      <a:lnTo>
                        <a:pt x="808" y="63"/>
                      </a:lnTo>
                      <a:lnTo>
                        <a:pt x="802" y="63"/>
                      </a:lnTo>
                      <a:lnTo>
                        <a:pt x="799" y="64"/>
                      </a:lnTo>
                      <a:lnTo>
                        <a:pt x="794" y="65"/>
                      </a:lnTo>
                      <a:lnTo>
                        <a:pt x="790" y="65"/>
                      </a:lnTo>
                      <a:lnTo>
                        <a:pt x="783" y="63"/>
                      </a:lnTo>
                      <a:lnTo>
                        <a:pt x="777" y="56"/>
                      </a:lnTo>
                      <a:lnTo>
                        <a:pt x="772" y="50"/>
                      </a:lnTo>
                      <a:lnTo>
                        <a:pt x="768" y="43"/>
                      </a:lnTo>
                      <a:lnTo>
                        <a:pt x="767" y="42"/>
                      </a:lnTo>
                      <a:lnTo>
                        <a:pt x="766" y="40"/>
                      </a:lnTo>
                      <a:lnTo>
                        <a:pt x="765" y="38"/>
                      </a:lnTo>
                      <a:lnTo>
                        <a:pt x="764" y="35"/>
                      </a:lnTo>
                      <a:lnTo>
                        <a:pt x="762" y="32"/>
                      </a:lnTo>
                      <a:lnTo>
                        <a:pt x="762" y="30"/>
                      </a:lnTo>
                      <a:lnTo>
                        <a:pt x="762" y="28"/>
                      </a:lnTo>
                      <a:lnTo>
                        <a:pt x="764" y="27"/>
                      </a:lnTo>
                      <a:lnTo>
                        <a:pt x="765" y="25"/>
                      </a:lnTo>
                      <a:lnTo>
                        <a:pt x="767" y="25"/>
                      </a:lnTo>
                      <a:lnTo>
                        <a:pt x="770" y="25"/>
                      </a:lnTo>
                      <a:lnTo>
                        <a:pt x="781" y="27"/>
                      </a:lnTo>
                      <a:lnTo>
                        <a:pt x="792" y="28"/>
                      </a:lnTo>
                      <a:lnTo>
                        <a:pt x="814" y="28"/>
                      </a:lnTo>
                      <a:lnTo>
                        <a:pt x="822" y="31"/>
                      </a:lnTo>
                      <a:lnTo>
                        <a:pt x="830" y="36"/>
                      </a:lnTo>
                      <a:lnTo>
                        <a:pt x="835" y="42"/>
                      </a:lnTo>
                      <a:lnTo>
                        <a:pt x="840" y="47"/>
                      </a:lnTo>
                      <a:lnTo>
                        <a:pt x="842" y="51"/>
                      </a:lnTo>
                      <a:lnTo>
                        <a:pt x="844" y="53"/>
                      </a:lnTo>
                      <a:lnTo>
                        <a:pt x="845" y="55"/>
                      </a:lnTo>
                      <a:lnTo>
                        <a:pt x="846" y="58"/>
                      </a:lnTo>
                      <a:lnTo>
                        <a:pt x="845" y="61"/>
                      </a:lnTo>
                      <a:lnTo>
                        <a:pt x="845" y="62"/>
                      </a:lnTo>
                      <a:lnTo>
                        <a:pt x="843" y="63"/>
                      </a:lnTo>
                      <a:lnTo>
                        <a:pt x="841" y="64"/>
                      </a:lnTo>
                      <a:lnTo>
                        <a:pt x="837" y="64"/>
                      </a:lnTo>
                      <a:lnTo>
                        <a:pt x="833" y="63"/>
                      </a:lnTo>
                      <a:lnTo>
                        <a:pt x="835" y="65"/>
                      </a:lnTo>
                      <a:lnTo>
                        <a:pt x="837" y="68"/>
                      </a:lnTo>
                      <a:lnTo>
                        <a:pt x="841" y="72"/>
                      </a:lnTo>
                      <a:lnTo>
                        <a:pt x="844" y="74"/>
                      </a:lnTo>
                      <a:lnTo>
                        <a:pt x="847" y="75"/>
                      </a:lnTo>
                      <a:lnTo>
                        <a:pt x="851" y="76"/>
                      </a:lnTo>
                      <a:lnTo>
                        <a:pt x="853" y="76"/>
                      </a:lnTo>
                      <a:lnTo>
                        <a:pt x="855" y="75"/>
                      </a:lnTo>
                      <a:lnTo>
                        <a:pt x="858" y="74"/>
                      </a:lnTo>
                      <a:lnTo>
                        <a:pt x="862" y="74"/>
                      </a:lnTo>
                      <a:lnTo>
                        <a:pt x="864" y="75"/>
                      </a:lnTo>
                      <a:lnTo>
                        <a:pt x="865" y="77"/>
                      </a:lnTo>
                      <a:lnTo>
                        <a:pt x="866" y="79"/>
                      </a:lnTo>
                      <a:lnTo>
                        <a:pt x="866" y="82"/>
                      </a:lnTo>
                      <a:lnTo>
                        <a:pt x="866" y="83"/>
                      </a:lnTo>
                      <a:lnTo>
                        <a:pt x="866" y="85"/>
                      </a:lnTo>
                      <a:lnTo>
                        <a:pt x="866" y="87"/>
                      </a:lnTo>
                      <a:lnTo>
                        <a:pt x="865" y="89"/>
                      </a:lnTo>
                      <a:lnTo>
                        <a:pt x="864" y="92"/>
                      </a:lnTo>
                      <a:lnTo>
                        <a:pt x="864" y="94"/>
                      </a:lnTo>
                      <a:lnTo>
                        <a:pt x="864" y="95"/>
                      </a:lnTo>
                      <a:lnTo>
                        <a:pt x="865" y="97"/>
                      </a:lnTo>
                      <a:lnTo>
                        <a:pt x="867" y="98"/>
                      </a:lnTo>
                      <a:lnTo>
                        <a:pt x="870" y="100"/>
                      </a:lnTo>
                      <a:lnTo>
                        <a:pt x="874" y="101"/>
                      </a:lnTo>
                      <a:lnTo>
                        <a:pt x="877" y="103"/>
                      </a:lnTo>
                      <a:lnTo>
                        <a:pt x="878" y="105"/>
                      </a:lnTo>
                      <a:lnTo>
                        <a:pt x="878" y="107"/>
                      </a:lnTo>
                      <a:lnTo>
                        <a:pt x="877" y="109"/>
                      </a:lnTo>
                      <a:lnTo>
                        <a:pt x="875" y="111"/>
                      </a:lnTo>
                      <a:lnTo>
                        <a:pt x="873" y="114"/>
                      </a:lnTo>
                      <a:lnTo>
                        <a:pt x="871" y="115"/>
                      </a:lnTo>
                      <a:lnTo>
                        <a:pt x="870" y="117"/>
                      </a:lnTo>
                      <a:lnTo>
                        <a:pt x="870" y="119"/>
                      </a:lnTo>
                      <a:lnTo>
                        <a:pt x="870" y="121"/>
                      </a:lnTo>
                      <a:lnTo>
                        <a:pt x="870" y="123"/>
                      </a:lnTo>
                      <a:lnTo>
                        <a:pt x="871" y="125"/>
                      </a:lnTo>
                      <a:lnTo>
                        <a:pt x="873" y="126"/>
                      </a:lnTo>
                      <a:lnTo>
                        <a:pt x="875" y="126"/>
                      </a:lnTo>
                      <a:lnTo>
                        <a:pt x="877" y="125"/>
                      </a:lnTo>
                      <a:lnTo>
                        <a:pt x="881" y="120"/>
                      </a:lnTo>
                      <a:lnTo>
                        <a:pt x="886" y="118"/>
                      </a:lnTo>
                      <a:lnTo>
                        <a:pt x="892" y="116"/>
                      </a:lnTo>
                      <a:lnTo>
                        <a:pt x="897" y="117"/>
                      </a:lnTo>
                      <a:lnTo>
                        <a:pt x="898" y="120"/>
                      </a:lnTo>
                      <a:lnTo>
                        <a:pt x="897" y="125"/>
                      </a:lnTo>
                      <a:lnTo>
                        <a:pt x="895" y="129"/>
                      </a:lnTo>
                      <a:lnTo>
                        <a:pt x="893" y="133"/>
                      </a:lnTo>
                      <a:lnTo>
                        <a:pt x="893" y="137"/>
                      </a:lnTo>
                      <a:lnTo>
                        <a:pt x="896" y="138"/>
                      </a:lnTo>
                      <a:lnTo>
                        <a:pt x="897" y="134"/>
                      </a:lnTo>
                      <a:lnTo>
                        <a:pt x="898" y="131"/>
                      </a:lnTo>
                      <a:lnTo>
                        <a:pt x="899" y="129"/>
                      </a:lnTo>
                      <a:lnTo>
                        <a:pt x="901" y="127"/>
                      </a:lnTo>
                      <a:lnTo>
                        <a:pt x="903" y="126"/>
                      </a:lnTo>
                      <a:lnTo>
                        <a:pt x="907" y="125"/>
                      </a:lnTo>
                      <a:lnTo>
                        <a:pt x="914" y="123"/>
                      </a:lnTo>
                      <a:lnTo>
                        <a:pt x="923" y="123"/>
                      </a:lnTo>
                      <a:lnTo>
                        <a:pt x="931" y="127"/>
                      </a:lnTo>
                      <a:lnTo>
                        <a:pt x="934" y="128"/>
                      </a:lnTo>
                      <a:lnTo>
                        <a:pt x="938" y="130"/>
                      </a:lnTo>
                      <a:lnTo>
                        <a:pt x="940" y="133"/>
                      </a:lnTo>
                      <a:lnTo>
                        <a:pt x="942" y="137"/>
                      </a:lnTo>
                      <a:lnTo>
                        <a:pt x="942" y="141"/>
                      </a:lnTo>
                      <a:lnTo>
                        <a:pt x="942" y="144"/>
                      </a:lnTo>
                      <a:lnTo>
                        <a:pt x="939" y="147"/>
                      </a:lnTo>
                      <a:lnTo>
                        <a:pt x="935" y="148"/>
                      </a:lnTo>
                      <a:lnTo>
                        <a:pt x="931" y="149"/>
                      </a:lnTo>
                      <a:lnTo>
                        <a:pt x="928" y="149"/>
                      </a:lnTo>
                      <a:lnTo>
                        <a:pt x="925" y="150"/>
                      </a:lnTo>
                      <a:lnTo>
                        <a:pt x="924" y="151"/>
                      </a:lnTo>
                      <a:lnTo>
                        <a:pt x="922" y="153"/>
                      </a:lnTo>
                      <a:lnTo>
                        <a:pt x="921" y="153"/>
                      </a:lnTo>
                      <a:lnTo>
                        <a:pt x="921" y="154"/>
                      </a:lnTo>
                      <a:lnTo>
                        <a:pt x="920" y="156"/>
                      </a:lnTo>
                      <a:lnTo>
                        <a:pt x="920" y="158"/>
                      </a:lnTo>
                      <a:lnTo>
                        <a:pt x="920" y="160"/>
                      </a:lnTo>
                      <a:lnTo>
                        <a:pt x="922" y="160"/>
                      </a:lnTo>
                      <a:lnTo>
                        <a:pt x="924" y="160"/>
                      </a:lnTo>
                      <a:lnTo>
                        <a:pt x="927" y="160"/>
                      </a:lnTo>
                      <a:lnTo>
                        <a:pt x="928" y="160"/>
                      </a:lnTo>
                      <a:lnTo>
                        <a:pt x="929" y="160"/>
                      </a:lnTo>
                      <a:lnTo>
                        <a:pt x="932" y="158"/>
                      </a:lnTo>
                      <a:lnTo>
                        <a:pt x="938" y="155"/>
                      </a:lnTo>
                      <a:lnTo>
                        <a:pt x="943" y="155"/>
                      </a:lnTo>
                      <a:lnTo>
                        <a:pt x="947" y="155"/>
                      </a:lnTo>
                      <a:lnTo>
                        <a:pt x="951" y="160"/>
                      </a:lnTo>
                      <a:lnTo>
                        <a:pt x="951" y="161"/>
                      </a:lnTo>
                      <a:lnTo>
                        <a:pt x="951" y="163"/>
                      </a:lnTo>
                      <a:lnTo>
                        <a:pt x="952" y="165"/>
                      </a:lnTo>
                      <a:lnTo>
                        <a:pt x="954" y="166"/>
                      </a:lnTo>
                      <a:lnTo>
                        <a:pt x="955" y="167"/>
                      </a:lnTo>
                      <a:lnTo>
                        <a:pt x="958" y="167"/>
                      </a:lnTo>
                      <a:lnTo>
                        <a:pt x="962" y="165"/>
                      </a:lnTo>
                      <a:lnTo>
                        <a:pt x="975" y="165"/>
                      </a:lnTo>
                      <a:lnTo>
                        <a:pt x="989" y="167"/>
                      </a:lnTo>
                      <a:lnTo>
                        <a:pt x="990" y="178"/>
                      </a:lnTo>
                      <a:lnTo>
                        <a:pt x="986" y="186"/>
                      </a:lnTo>
                      <a:lnTo>
                        <a:pt x="977" y="192"/>
                      </a:lnTo>
                      <a:lnTo>
                        <a:pt x="973" y="194"/>
                      </a:lnTo>
                      <a:lnTo>
                        <a:pt x="969" y="195"/>
                      </a:lnTo>
                      <a:lnTo>
                        <a:pt x="967" y="196"/>
                      </a:lnTo>
                      <a:lnTo>
                        <a:pt x="966" y="198"/>
                      </a:lnTo>
                      <a:lnTo>
                        <a:pt x="966" y="200"/>
                      </a:lnTo>
                      <a:lnTo>
                        <a:pt x="966" y="204"/>
                      </a:lnTo>
                      <a:lnTo>
                        <a:pt x="966" y="206"/>
                      </a:lnTo>
                      <a:lnTo>
                        <a:pt x="966" y="208"/>
                      </a:lnTo>
                      <a:lnTo>
                        <a:pt x="968" y="209"/>
                      </a:lnTo>
                      <a:lnTo>
                        <a:pt x="971" y="209"/>
                      </a:lnTo>
                      <a:lnTo>
                        <a:pt x="976" y="209"/>
                      </a:lnTo>
                      <a:lnTo>
                        <a:pt x="979" y="206"/>
                      </a:lnTo>
                      <a:lnTo>
                        <a:pt x="983" y="200"/>
                      </a:lnTo>
                      <a:lnTo>
                        <a:pt x="986" y="196"/>
                      </a:lnTo>
                      <a:lnTo>
                        <a:pt x="989" y="192"/>
                      </a:lnTo>
                      <a:lnTo>
                        <a:pt x="997" y="189"/>
                      </a:lnTo>
                      <a:lnTo>
                        <a:pt x="1006" y="191"/>
                      </a:lnTo>
                      <a:lnTo>
                        <a:pt x="1012" y="195"/>
                      </a:lnTo>
                      <a:lnTo>
                        <a:pt x="1018" y="200"/>
                      </a:lnTo>
                      <a:lnTo>
                        <a:pt x="1018" y="204"/>
                      </a:lnTo>
                      <a:lnTo>
                        <a:pt x="1018" y="206"/>
                      </a:lnTo>
                      <a:lnTo>
                        <a:pt x="1017" y="208"/>
                      </a:lnTo>
                      <a:lnTo>
                        <a:pt x="1016" y="209"/>
                      </a:lnTo>
                      <a:lnTo>
                        <a:pt x="1013" y="209"/>
                      </a:lnTo>
                      <a:lnTo>
                        <a:pt x="1010" y="212"/>
                      </a:lnTo>
                      <a:lnTo>
                        <a:pt x="1009" y="213"/>
                      </a:lnTo>
                      <a:lnTo>
                        <a:pt x="1008" y="216"/>
                      </a:lnTo>
                      <a:lnTo>
                        <a:pt x="1009" y="218"/>
                      </a:lnTo>
                      <a:lnTo>
                        <a:pt x="1011" y="220"/>
                      </a:lnTo>
                      <a:lnTo>
                        <a:pt x="1016" y="223"/>
                      </a:lnTo>
                      <a:lnTo>
                        <a:pt x="1021" y="225"/>
                      </a:lnTo>
                      <a:lnTo>
                        <a:pt x="1027" y="227"/>
                      </a:lnTo>
                      <a:lnTo>
                        <a:pt x="1031" y="229"/>
                      </a:lnTo>
                      <a:lnTo>
                        <a:pt x="1031" y="234"/>
                      </a:lnTo>
                      <a:lnTo>
                        <a:pt x="1029" y="235"/>
                      </a:lnTo>
                      <a:lnTo>
                        <a:pt x="1024" y="234"/>
                      </a:lnTo>
                      <a:lnTo>
                        <a:pt x="1019" y="232"/>
                      </a:lnTo>
                      <a:lnTo>
                        <a:pt x="1013" y="231"/>
                      </a:lnTo>
                      <a:lnTo>
                        <a:pt x="1009" y="231"/>
                      </a:lnTo>
                      <a:lnTo>
                        <a:pt x="1007" y="231"/>
                      </a:lnTo>
                      <a:lnTo>
                        <a:pt x="1005" y="231"/>
                      </a:lnTo>
                      <a:lnTo>
                        <a:pt x="1002" y="231"/>
                      </a:lnTo>
                      <a:lnTo>
                        <a:pt x="1000" y="232"/>
                      </a:lnTo>
                      <a:lnTo>
                        <a:pt x="998" y="234"/>
                      </a:lnTo>
                      <a:lnTo>
                        <a:pt x="997" y="235"/>
                      </a:lnTo>
                      <a:lnTo>
                        <a:pt x="996" y="236"/>
                      </a:lnTo>
                      <a:lnTo>
                        <a:pt x="996" y="238"/>
                      </a:lnTo>
                      <a:lnTo>
                        <a:pt x="998" y="241"/>
                      </a:lnTo>
                      <a:lnTo>
                        <a:pt x="1000" y="243"/>
                      </a:lnTo>
                      <a:lnTo>
                        <a:pt x="1002" y="246"/>
                      </a:lnTo>
                      <a:lnTo>
                        <a:pt x="1004" y="249"/>
                      </a:lnTo>
                      <a:lnTo>
                        <a:pt x="1005" y="251"/>
                      </a:lnTo>
                      <a:lnTo>
                        <a:pt x="1005" y="256"/>
                      </a:lnTo>
                      <a:lnTo>
                        <a:pt x="1005" y="259"/>
                      </a:lnTo>
                      <a:lnTo>
                        <a:pt x="1006" y="261"/>
                      </a:lnTo>
                      <a:lnTo>
                        <a:pt x="1006" y="264"/>
                      </a:lnTo>
                      <a:lnTo>
                        <a:pt x="1008" y="268"/>
                      </a:lnTo>
                      <a:lnTo>
                        <a:pt x="1011" y="271"/>
                      </a:lnTo>
                      <a:lnTo>
                        <a:pt x="1024" y="278"/>
                      </a:lnTo>
                      <a:lnTo>
                        <a:pt x="1029" y="281"/>
                      </a:lnTo>
                      <a:lnTo>
                        <a:pt x="1033" y="285"/>
                      </a:lnTo>
                      <a:lnTo>
                        <a:pt x="1037" y="289"/>
                      </a:lnTo>
                      <a:lnTo>
                        <a:pt x="1040" y="293"/>
                      </a:lnTo>
                      <a:lnTo>
                        <a:pt x="1049" y="298"/>
                      </a:lnTo>
                      <a:lnTo>
                        <a:pt x="1060" y="302"/>
                      </a:lnTo>
                      <a:lnTo>
                        <a:pt x="1071" y="305"/>
                      </a:lnTo>
                      <a:lnTo>
                        <a:pt x="1081" y="311"/>
                      </a:lnTo>
                      <a:lnTo>
                        <a:pt x="1084" y="316"/>
                      </a:lnTo>
                      <a:lnTo>
                        <a:pt x="1085" y="322"/>
                      </a:lnTo>
                      <a:lnTo>
                        <a:pt x="1087" y="327"/>
                      </a:lnTo>
                      <a:lnTo>
                        <a:pt x="1092" y="330"/>
                      </a:lnTo>
                      <a:lnTo>
                        <a:pt x="1095" y="332"/>
                      </a:lnTo>
                      <a:lnTo>
                        <a:pt x="1098" y="334"/>
                      </a:lnTo>
                      <a:lnTo>
                        <a:pt x="1100" y="337"/>
                      </a:lnTo>
                      <a:lnTo>
                        <a:pt x="1103" y="340"/>
                      </a:lnTo>
                      <a:lnTo>
                        <a:pt x="1105" y="343"/>
                      </a:lnTo>
                      <a:lnTo>
                        <a:pt x="1107" y="345"/>
                      </a:lnTo>
                      <a:lnTo>
                        <a:pt x="1109" y="345"/>
                      </a:lnTo>
                      <a:lnTo>
                        <a:pt x="1116" y="345"/>
                      </a:lnTo>
                      <a:lnTo>
                        <a:pt x="1122" y="343"/>
                      </a:lnTo>
                      <a:lnTo>
                        <a:pt x="1128" y="341"/>
                      </a:lnTo>
                      <a:lnTo>
                        <a:pt x="1135" y="344"/>
                      </a:lnTo>
                      <a:lnTo>
                        <a:pt x="1140" y="349"/>
                      </a:lnTo>
                      <a:lnTo>
                        <a:pt x="1141" y="359"/>
                      </a:lnTo>
                      <a:lnTo>
                        <a:pt x="1138" y="368"/>
                      </a:lnTo>
                      <a:lnTo>
                        <a:pt x="1132" y="376"/>
                      </a:lnTo>
                      <a:lnTo>
                        <a:pt x="1127" y="382"/>
                      </a:lnTo>
                      <a:lnTo>
                        <a:pt x="1125" y="389"/>
                      </a:lnTo>
                      <a:lnTo>
                        <a:pt x="1122" y="394"/>
                      </a:lnTo>
                      <a:lnTo>
                        <a:pt x="1120" y="400"/>
                      </a:lnTo>
                      <a:lnTo>
                        <a:pt x="1120" y="401"/>
                      </a:lnTo>
                      <a:lnTo>
                        <a:pt x="1120" y="403"/>
                      </a:lnTo>
                      <a:lnTo>
                        <a:pt x="1119" y="405"/>
                      </a:lnTo>
                      <a:lnTo>
                        <a:pt x="1119" y="406"/>
                      </a:lnTo>
                      <a:lnTo>
                        <a:pt x="1118" y="409"/>
                      </a:lnTo>
                      <a:lnTo>
                        <a:pt x="1117" y="409"/>
                      </a:lnTo>
                      <a:lnTo>
                        <a:pt x="1116" y="409"/>
                      </a:lnTo>
                      <a:lnTo>
                        <a:pt x="1111" y="407"/>
                      </a:lnTo>
                      <a:lnTo>
                        <a:pt x="1109" y="406"/>
                      </a:lnTo>
                      <a:lnTo>
                        <a:pt x="1106" y="405"/>
                      </a:lnTo>
                      <a:lnTo>
                        <a:pt x="1104" y="405"/>
                      </a:lnTo>
                      <a:lnTo>
                        <a:pt x="1103" y="406"/>
                      </a:lnTo>
                      <a:lnTo>
                        <a:pt x="1103" y="407"/>
                      </a:lnTo>
                      <a:lnTo>
                        <a:pt x="1103" y="411"/>
                      </a:lnTo>
                      <a:lnTo>
                        <a:pt x="1103" y="415"/>
                      </a:lnTo>
                      <a:lnTo>
                        <a:pt x="1103" y="417"/>
                      </a:lnTo>
                      <a:lnTo>
                        <a:pt x="1104" y="421"/>
                      </a:lnTo>
                      <a:lnTo>
                        <a:pt x="1104" y="423"/>
                      </a:lnTo>
                      <a:lnTo>
                        <a:pt x="1104" y="425"/>
                      </a:lnTo>
                      <a:lnTo>
                        <a:pt x="1104" y="427"/>
                      </a:lnTo>
                      <a:lnTo>
                        <a:pt x="1103" y="428"/>
                      </a:lnTo>
                      <a:lnTo>
                        <a:pt x="1102" y="429"/>
                      </a:lnTo>
                      <a:lnTo>
                        <a:pt x="1099" y="431"/>
                      </a:lnTo>
                      <a:lnTo>
                        <a:pt x="1097" y="429"/>
                      </a:lnTo>
                      <a:lnTo>
                        <a:pt x="1095" y="428"/>
                      </a:lnTo>
                      <a:lnTo>
                        <a:pt x="1092" y="426"/>
                      </a:lnTo>
                      <a:lnTo>
                        <a:pt x="1085" y="423"/>
                      </a:lnTo>
                      <a:lnTo>
                        <a:pt x="1078" y="417"/>
                      </a:lnTo>
                      <a:lnTo>
                        <a:pt x="1072" y="413"/>
                      </a:lnTo>
                      <a:lnTo>
                        <a:pt x="1067" y="406"/>
                      </a:lnTo>
                      <a:lnTo>
                        <a:pt x="1067" y="400"/>
                      </a:lnTo>
                      <a:lnTo>
                        <a:pt x="1071" y="394"/>
                      </a:lnTo>
                      <a:lnTo>
                        <a:pt x="1075" y="391"/>
                      </a:lnTo>
                      <a:lnTo>
                        <a:pt x="1078" y="387"/>
                      </a:lnTo>
                      <a:lnTo>
                        <a:pt x="1078" y="382"/>
                      </a:lnTo>
                      <a:lnTo>
                        <a:pt x="1076" y="380"/>
                      </a:lnTo>
                      <a:lnTo>
                        <a:pt x="1071" y="381"/>
                      </a:lnTo>
                      <a:lnTo>
                        <a:pt x="1064" y="382"/>
                      </a:lnTo>
                      <a:lnTo>
                        <a:pt x="1058" y="383"/>
                      </a:lnTo>
                      <a:lnTo>
                        <a:pt x="1053" y="382"/>
                      </a:lnTo>
                      <a:lnTo>
                        <a:pt x="1050" y="379"/>
                      </a:lnTo>
                      <a:lnTo>
                        <a:pt x="1047" y="374"/>
                      </a:lnTo>
                      <a:lnTo>
                        <a:pt x="1043" y="371"/>
                      </a:lnTo>
                      <a:lnTo>
                        <a:pt x="1039" y="367"/>
                      </a:lnTo>
                      <a:lnTo>
                        <a:pt x="1036" y="365"/>
                      </a:lnTo>
                      <a:lnTo>
                        <a:pt x="1032" y="366"/>
                      </a:lnTo>
                      <a:lnTo>
                        <a:pt x="1031" y="370"/>
                      </a:lnTo>
                      <a:lnTo>
                        <a:pt x="1031" y="377"/>
                      </a:lnTo>
                      <a:lnTo>
                        <a:pt x="1031" y="382"/>
                      </a:lnTo>
                      <a:lnTo>
                        <a:pt x="1031" y="387"/>
                      </a:lnTo>
                      <a:lnTo>
                        <a:pt x="1029" y="388"/>
                      </a:lnTo>
                      <a:lnTo>
                        <a:pt x="1024" y="385"/>
                      </a:lnTo>
                      <a:lnTo>
                        <a:pt x="1019" y="382"/>
                      </a:lnTo>
                      <a:lnTo>
                        <a:pt x="1013" y="379"/>
                      </a:lnTo>
                      <a:lnTo>
                        <a:pt x="1009" y="378"/>
                      </a:lnTo>
                      <a:lnTo>
                        <a:pt x="1012" y="387"/>
                      </a:lnTo>
                      <a:lnTo>
                        <a:pt x="1017" y="395"/>
                      </a:lnTo>
                      <a:lnTo>
                        <a:pt x="1022" y="403"/>
                      </a:lnTo>
                      <a:lnTo>
                        <a:pt x="1031" y="409"/>
                      </a:lnTo>
                      <a:lnTo>
                        <a:pt x="1037" y="415"/>
                      </a:lnTo>
                      <a:lnTo>
                        <a:pt x="1041" y="423"/>
                      </a:lnTo>
                      <a:lnTo>
                        <a:pt x="1045" y="431"/>
                      </a:lnTo>
                      <a:lnTo>
                        <a:pt x="1051" y="437"/>
                      </a:lnTo>
                      <a:lnTo>
                        <a:pt x="1054" y="438"/>
                      </a:lnTo>
                      <a:lnTo>
                        <a:pt x="1058" y="440"/>
                      </a:lnTo>
                      <a:lnTo>
                        <a:pt x="1062" y="443"/>
                      </a:lnTo>
                      <a:lnTo>
                        <a:pt x="1065" y="446"/>
                      </a:lnTo>
                      <a:lnTo>
                        <a:pt x="1069" y="449"/>
                      </a:lnTo>
                      <a:lnTo>
                        <a:pt x="1070" y="453"/>
                      </a:lnTo>
                      <a:lnTo>
                        <a:pt x="1071" y="457"/>
                      </a:lnTo>
                      <a:lnTo>
                        <a:pt x="1072" y="461"/>
                      </a:lnTo>
                      <a:lnTo>
                        <a:pt x="1078" y="469"/>
                      </a:lnTo>
                      <a:lnTo>
                        <a:pt x="1085" y="476"/>
                      </a:lnTo>
                      <a:lnTo>
                        <a:pt x="1091" y="483"/>
                      </a:lnTo>
                      <a:lnTo>
                        <a:pt x="1094" y="494"/>
                      </a:lnTo>
                      <a:lnTo>
                        <a:pt x="1094" y="497"/>
                      </a:lnTo>
                      <a:lnTo>
                        <a:pt x="1093" y="500"/>
                      </a:lnTo>
                      <a:lnTo>
                        <a:pt x="1092" y="502"/>
                      </a:lnTo>
                      <a:lnTo>
                        <a:pt x="1091" y="505"/>
                      </a:lnTo>
                      <a:lnTo>
                        <a:pt x="1091" y="509"/>
                      </a:lnTo>
                      <a:lnTo>
                        <a:pt x="1092" y="511"/>
                      </a:lnTo>
                      <a:lnTo>
                        <a:pt x="1093" y="514"/>
                      </a:lnTo>
                      <a:lnTo>
                        <a:pt x="1093" y="519"/>
                      </a:lnTo>
                      <a:lnTo>
                        <a:pt x="1093" y="522"/>
                      </a:lnTo>
                      <a:lnTo>
                        <a:pt x="1092" y="526"/>
                      </a:lnTo>
                      <a:lnTo>
                        <a:pt x="1089" y="529"/>
                      </a:lnTo>
                      <a:lnTo>
                        <a:pt x="1082" y="531"/>
                      </a:lnTo>
                      <a:lnTo>
                        <a:pt x="1074" y="531"/>
                      </a:lnTo>
                      <a:lnTo>
                        <a:pt x="1065" y="527"/>
                      </a:lnTo>
                      <a:lnTo>
                        <a:pt x="1058" y="522"/>
                      </a:lnTo>
                      <a:lnTo>
                        <a:pt x="1053" y="515"/>
                      </a:lnTo>
                      <a:lnTo>
                        <a:pt x="1050" y="512"/>
                      </a:lnTo>
                      <a:lnTo>
                        <a:pt x="1044" y="507"/>
                      </a:lnTo>
                      <a:lnTo>
                        <a:pt x="1037" y="500"/>
                      </a:lnTo>
                      <a:lnTo>
                        <a:pt x="1028" y="493"/>
                      </a:lnTo>
                      <a:lnTo>
                        <a:pt x="1019" y="488"/>
                      </a:lnTo>
                      <a:lnTo>
                        <a:pt x="1012" y="486"/>
                      </a:lnTo>
                      <a:lnTo>
                        <a:pt x="1007" y="486"/>
                      </a:lnTo>
                      <a:lnTo>
                        <a:pt x="1009" y="496"/>
                      </a:lnTo>
                      <a:lnTo>
                        <a:pt x="1013" y="503"/>
                      </a:lnTo>
                      <a:lnTo>
                        <a:pt x="1020" y="510"/>
                      </a:lnTo>
                      <a:lnTo>
                        <a:pt x="1029" y="515"/>
                      </a:lnTo>
                      <a:lnTo>
                        <a:pt x="1040" y="524"/>
                      </a:lnTo>
                      <a:lnTo>
                        <a:pt x="1049" y="533"/>
                      </a:lnTo>
                      <a:lnTo>
                        <a:pt x="1056" y="544"/>
                      </a:lnTo>
                      <a:lnTo>
                        <a:pt x="1058" y="548"/>
                      </a:lnTo>
                      <a:lnTo>
                        <a:pt x="1059" y="552"/>
                      </a:lnTo>
                      <a:lnTo>
                        <a:pt x="1059" y="555"/>
                      </a:lnTo>
                      <a:lnTo>
                        <a:pt x="1056" y="558"/>
                      </a:lnTo>
                      <a:lnTo>
                        <a:pt x="1055" y="559"/>
                      </a:lnTo>
                      <a:lnTo>
                        <a:pt x="1050" y="560"/>
                      </a:lnTo>
                      <a:lnTo>
                        <a:pt x="1044" y="558"/>
                      </a:lnTo>
                      <a:lnTo>
                        <a:pt x="1039" y="556"/>
                      </a:lnTo>
                      <a:lnTo>
                        <a:pt x="1033" y="553"/>
                      </a:lnTo>
                      <a:lnTo>
                        <a:pt x="1026" y="551"/>
                      </a:lnTo>
                      <a:lnTo>
                        <a:pt x="1019" y="547"/>
                      </a:lnTo>
                      <a:lnTo>
                        <a:pt x="1011" y="542"/>
                      </a:lnTo>
                      <a:lnTo>
                        <a:pt x="998" y="529"/>
                      </a:lnTo>
                      <a:lnTo>
                        <a:pt x="991" y="525"/>
                      </a:lnTo>
                      <a:lnTo>
                        <a:pt x="985" y="523"/>
                      </a:lnTo>
                      <a:lnTo>
                        <a:pt x="978" y="522"/>
                      </a:lnTo>
                      <a:lnTo>
                        <a:pt x="976" y="521"/>
                      </a:lnTo>
                      <a:lnTo>
                        <a:pt x="975" y="519"/>
                      </a:lnTo>
                      <a:lnTo>
                        <a:pt x="973" y="516"/>
                      </a:lnTo>
                      <a:lnTo>
                        <a:pt x="972" y="514"/>
                      </a:lnTo>
                      <a:lnTo>
                        <a:pt x="969" y="513"/>
                      </a:lnTo>
                      <a:lnTo>
                        <a:pt x="967" y="512"/>
                      </a:lnTo>
                      <a:lnTo>
                        <a:pt x="964" y="511"/>
                      </a:lnTo>
                      <a:lnTo>
                        <a:pt x="957" y="510"/>
                      </a:lnTo>
                      <a:lnTo>
                        <a:pt x="953" y="505"/>
                      </a:lnTo>
                      <a:lnTo>
                        <a:pt x="950" y="500"/>
                      </a:lnTo>
                      <a:lnTo>
                        <a:pt x="949" y="493"/>
                      </a:lnTo>
                      <a:lnTo>
                        <a:pt x="949" y="488"/>
                      </a:lnTo>
                      <a:lnTo>
                        <a:pt x="949" y="485"/>
                      </a:lnTo>
                      <a:lnTo>
                        <a:pt x="947" y="483"/>
                      </a:lnTo>
                      <a:lnTo>
                        <a:pt x="945" y="482"/>
                      </a:lnTo>
                      <a:lnTo>
                        <a:pt x="944" y="482"/>
                      </a:lnTo>
                      <a:lnTo>
                        <a:pt x="942" y="482"/>
                      </a:lnTo>
                      <a:lnTo>
                        <a:pt x="940" y="481"/>
                      </a:lnTo>
                      <a:lnTo>
                        <a:pt x="938" y="481"/>
                      </a:lnTo>
                      <a:lnTo>
                        <a:pt x="934" y="479"/>
                      </a:lnTo>
                      <a:lnTo>
                        <a:pt x="932" y="476"/>
                      </a:lnTo>
                      <a:lnTo>
                        <a:pt x="930" y="472"/>
                      </a:lnTo>
                      <a:lnTo>
                        <a:pt x="929" y="469"/>
                      </a:lnTo>
                      <a:lnTo>
                        <a:pt x="927" y="466"/>
                      </a:lnTo>
                      <a:lnTo>
                        <a:pt x="924" y="464"/>
                      </a:lnTo>
                      <a:lnTo>
                        <a:pt x="923" y="459"/>
                      </a:lnTo>
                      <a:lnTo>
                        <a:pt x="920" y="457"/>
                      </a:lnTo>
                      <a:lnTo>
                        <a:pt x="917" y="454"/>
                      </a:lnTo>
                      <a:lnTo>
                        <a:pt x="913" y="452"/>
                      </a:lnTo>
                      <a:lnTo>
                        <a:pt x="909" y="450"/>
                      </a:lnTo>
                      <a:lnTo>
                        <a:pt x="907" y="448"/>
                      </a:lnTo>
                      <a:lnTo>
                        <a:pt x="905" y="447"/>
                      </a:lnTo>
                      <a:lnTo>
                        <a:pt x="902" y="447"/>
                      </a:lnTo>
                      <a:lnTo>
                        <a:pt x="901" y="447"/>
                      </a:lnTo>
                      <a:lnTo>
                        <a:pt x="899" y="448"/>
                      </a:lnTo>
                      <a:lnTo>
                        <a:pt x="896" y="450"/>
                      </a:lnTo>
                      <a:lnTo>
                        <a:pt x="892" y="450"/>
                      </a:lnTo>
                      <a:lnTo>
                        <a:pt x="887" y="448"/>
                      </a:lnTo>
                      <a:lnTo>
                        <a:pt x="881" y="446"/>
                      </a:lnTo>
                      <a:lnTo>
                        <a:pt x="877" y="443"/>
                      </a:lnTo>
                      <a:lnTo>
                        <a:pt x="873" y="443"/>
                      </a:lnTo>
                      <a:lnTo>
                        <a:pt x="870" y="446"/>
                      </a:lnTo>
                      <a:lnTo>
                        <a:pt x="869" y="448"/>
                      </a:lnTo>
                      <a:lnTo>
                        <a:pt x="869" y="450"/>
                      </a:lnTo>
                      <a:lnTo>
                        <a:pt x="869" y="452"/>
                      </a:lnTo>
                      <a:lnTo>
                        <a:pt x="868" y="454"/>
                      </a:lnTo>
                      <a:lnTo>
                        <a:pt x="867" y="454"/>
                      </a:lnTo>
                      <a:lnTo>
                        <a:pt x="866" y="455"/>
                      </a:lnTo>
                      <a:lnTo>
                        <a:pt x="864" y="455"/>
                      </a:lnTo>
                      <a:lnTo>
                        <a:pt x="862" y="455"/>
                      </a:lnTo>
                      <a:lnTo>
                        <a:pt x="859" y="455"/>
                      </a:lnTo>
                      <a:lnTo>
                        <a:pt x="857" y="455"/>
                      </a:lnTo>
                      <a:lnTo>
                        <a:pt x="855" y="456"/>
                      </a:lnTo>
                      <a:lnTo>
                        <a:pt x="853" y="457"/>
                      </a:lnTo>
                      <a:lnTo>
                        <a:pt x="851" y="459"/>
                      </a:lnTo>
                      <a:lnTo>
                        <a:pt x="845" y="460"/>
                      </a:lnTo>
                      <a:lnTo>
                        <a:pt x="837" y="459"/>
                      </a:lnTo>
                      <a:lnTo>
                        <a:pt x="831" y="455"/>
                      </a:lnTo>
                      <a:lnTo>
                        <a:pt x="824" y="450"/>
                      </a:lnTo>
                      <a:lnTo>
                        <a:pt x="820" y="446"/>
                      </a:lnTo>
                      <a:lnTo>
                        <a:pt x="820" y="440"/>
                      </a:lnTo>
                      <a:lnTo>
                        <a:pt x="820" y="436"/>
                      </a:lnTo>
                      <a:lnTo>
                        <a:pt x="821" y="432"/>
                      </a:lnTo>
                      <a:lnTo>
                        <a:pt x="822" y="428"/>
                      </a:lnTo>
                      <a:lnTo>
                        <a:pt x="824" y="422"/>
                      </a:lnTo>
                      <a:lnTo>
                        <a:pt x="826" y="416"/>
                      </a:lnTo>
                      <a:lnTo>
                        <a:pt x="829" y="411"/>
                      </a:lnTo>
                      <a:lnTo>
                        <a:pt x="833" y="405"/>
                      </a:lnTo>
                      <a:lnTo>
                        <a:pt x="837" y="404"/>
                      </a:lnTo>
                      <a:lnTo>
                        <a:pt x="844" y="404"/>
                      </a:lnTo>
                      <a:lnTo>
                        <a:pt x="851" y="406"/>
                      </a:lnTo>
                      <a:lnTo>
                        <a:pt x="857" y="409"/>
                      </a:lnTo>
                      <a:lnTo>
                        <a:pt x="867" y="410"/>
                      </a:lnTo>
                      <a:lnTo>
                        <a:pt x="879" y="410"/>
                      </a:lnTo>
                      <a:lnTo>
                        <a:pt x="891" y="407"/>
                      </a:lnTo>
                      <a:lnTo>
                        <a:pt x="900" y="404"/>
                      </a:lnTo>
                      <a:lnTo>
                        <a:pt x="902" y="403"/>
                      </a:lnTo>
                      <a:lnTo>
                        <a:pt x="905" y="401"/>
                      </a:lnTo>
                      <a:lnTo>
                        <a:pt x="905" y="399"/>
                      </a:lnTo>
                      <a:lnTo>
                        <a:pt x="905" y="395"/>
                      </a:lnTo>
                      <a:lnTo>
                        <a:pt x="905" y="393"/>
                      </a:lnTo>
                      <a:lnTo>
                        <a:pt x="905" y="390"/>
                      </a:lnTo>
                      <a:lnTo>
                        <a:pt x="903" y="388"/>
                      </a:lnTo>
                      <a:lnTo>
                        <a:pt x="901" y="384"/>
                      </a:lnTo>
                      <a:lnTo>
                        <a:pt x="899" y="382"/>
                      </a:lnTo>
                      <a:lnTo>
                        <a:pt x="896" y="380"/>
                      </a:lnTo>
                      <a:lnTo>
                        <a:pt x="893" y="376"/>
                      </a:lnTo>
                      <a:lnTo>
                        <a:pt x="895" y="371"/>
                      </a:lnTo>
                      <a:lnTo>
                        <a:pt x="899" y="366"/>
                      </a:lnTo>
                      <a:lnTo>
                        <a:pt x="903" y="361"/>
                      </a:lnTo>
                      <a:lnTo>
                        <a:pt x="907" y="358"/>
                      </a:lnTo>
                      <a:lnTo>
                        <a:pt x="914" y="355"/>
                      </a:lnTo>
                      <a:lnTo>
                        <a:pt x="922" y="356"/>
                      </a:lnTo>
                      <a:lnTo>
                        <a:pt x="929" y="356"/>
                      </a:lnTo>
                      <a:lnTo>
                        <a:pt x="933" y="356"/>
                      </a:lnTo>
                      <a:lnTo>
                        <a:pt x="936" y="357"/>
                      </a:lnTo>
                      <a:lnTo>
                        <a:pt x="940" y="357"/>
                      </a:lnTo>
                      <a:lnTo>
                        <a:pt x="943" y="358"/>
                      </a:lnTo>
                      <a:lnTo>
                        <a:pt x="946" y="360"/>
                      </a:lnTo>
                      <a:lnTo>
                        <a:pt x="949" y="365"/>
                      </a:lnTo>
                      <a:lnTo>
                        <a:pt x="951" y="371"/>
                      </a:lnTo>
                      <a:lnTo>
                        <a:pt x="954" y="378"/>
                      </a:lnTo>
                      <a:lnTo>
                        <a:pt x="957" y="383"/>
                      </a:lnTo>
                      <a:lnTo>
                        <a:pt x="962" y="384"/>
                      </a:lnTo>
                      <a:lnTo>
                        <a:pt x="967" y="382"/>
                      </a:lnTo>
                      <a:lnTo>
                        <a:pt x="974" y="379"/>
                      </a:lnTo>
                      <a:lnTo>
                        <a:pt x="982" y="373"/>
                      </a:lnTo>
                      <a:lnTo>
                        <a:pt x="986" y="368"/>
                      </a:lnTo>
                      <a:lnTo>
                        <a:pt x="987" y="362"/>
                      </a:lnTo>
                      <a:lnTo>
                        <a:pt x="986" y="360"/>
                      </a:lnTo>
                      <a:lnTo>
                        <a:pt x="984" y="358"/>
                      </a:lnTo>
                      <a:lnTo>
                        <a:pt x="980" y="356"/>
                      </a:lnTo>
                      <a:lnTo>
                        <a:pt x="978" y="354"/>
                      </a:lnTo>
                      <a:lnTo>
                        <a:pt x="977" y="349"/>
                      </a:lnTo>
                      <a:lnTo>
                        <a:pt x="976" y="348"/>
                      </a:lnTo>
                      <a:lnTo>
                        <a:pt x="974" y="346"/>
                      </a:lnTo>
                      <a:lnTo>
                        <a:pt x="973" y="345"/>
                      </a:lnTo>
                      <a:lnTo>
                        <a:pt x="971" y="343"/>
                      </a:lnTo>
                      <a:lnTo>
                        <a:pt x="968" y="341"/>
                      </a:lnTo>
                      <a:lnTo>
                        <a:pt x="966" y="340"/>
                      </a:lnTo>
                      <a:lnTo>
                        <a:pt x="963" y="340"/>
                      </a:lnTo>
                      <a:lnTo>
                        <a:pt x="961" y="339"/>
                      </a:lnTo>
                      <a:lnTo>
                        <a:pt x="957" y="339"/>
                      </a:lnTo>
                      <a:lnTo>
                        <a:pt x="954" y="340"/>
                      </a:lnTo>
                      <a:lnTo>
                        <a:pt x="952" y="341"/>
                      </a:lnTo>
                      <a:lnTo>
                        <a:pt x="951" y="343"/>
                      </a:lnTo>
                      <a:lnTo>
                        <a:pt x="949" y="346"/>
                      </a:lnTo>
                      <a:lnTo>
                        <a:pt x="947" y="347"/>
                      </a:lnTo>
                      <a:lnTo>
                        <a:pt x="946" y="349"/>
                      </a:lnTo>
                      <a:lnTo>
                        <a:pt x="945" y="350"/>
                      </a:lnTo>
                      <a:lnTo>
                        <a:pt x="942" y="351"/>
                      </a:lnTo>
                      <a:lnTo>
                        <a:pt x="938" y="352"/>
                      </a:lnTo>
                      <a:lnTo>
                        <a:pt x="932" y="352"/>
                      </a:lnTo>
                      <a:lnTo>
                        <a:pt x="927" y="354"/>
                      </a:lnTo>
                      <a:lnTo>
                        <a:pt x="921" y="352"/>
                      </a:lnTo>
                      <a:lnTo>
                        <a:pt x="918" y="349"/>
                      </a:lnTo>
                      <a:lnTo>
                        <a:pt x="918" y="343"/>
                      </a:lnTo>
                      <a:lnTo>
                        <a:pt x="921" y="335"/>
                      </a:lnTo>
                      <a:lnTo>
                        <a:pt x="924" y="328"/>
                      </a:lnTo>
                      <a:lnTo>
                        <a:pt x="925" y="318"/>
                      </a:lnTo>
                      <a:lnTo>
                        <a:pt x="924" y="308"/>
                      </a:lnTo>
                      <a:lnTo>
                        <a:pt x="922" y="300"/>
                      </a:lnTo>
                      <a:lnTo>
                        <a:pt x="921" y="295"/>
                      </a:lnTo>
                      <a:lnTo>
                        <a:pt x="918" y="292"/>
                      </a:lnTo>
                      <a:lnTo>
                        <a:pt x="916" y="290"/>
                      </a:lnTo>
                      <a:lnTo>
                        <a:pt x="912" y="286"/>
                      </a:lnTo>
                      <a:lnTo>
                        <a:pt x="909" y="284"/>
                      </a:lnTo>
                      <a:lnTo>
                        <a:pt x="907" y="281"/>
                      </a:lnTo>
                      <a:lnTo>
                        <a:pt x="903" y="278"/>
                      </a:lnTo>
                      <a:lnTo>
                        <a:pt x="900" y="275"/>
                      </a:lnTo>
                      <a:lnTo>
                        <a:pt x="897" y="272"/>
                      </a:lnTo>
                      <a:lnTo>
                        <a:pt x="895" y="269"/>
                      </a:lnTo>
                      <a:lnTo>
                        <a:pt x="891" y="263"/>
                      </a:lnTo>
                      <a:lnTo>
                        <a:pt x="887" y="258"/>
                      </a:lnTo>
                      <a:lnTo>
                        <a:pt x="881" y="253"/>
                      </a:lnTo>
                      <a:lnTo>
                        <a:pt x="875" y="253"/>
                      </a:lnTo>
                      <a:lnTo>
                        <a:pt x="871" y="254"/>
                      </a:lnTo>
                      <a:lnTo>
                        <a:pt x="869" y="256"/>
                      </a:lnTo>
                      <a:lnTo>
                        <a:pt x="867" y="257"/>
                      </a:lnTo>
                      <a:lnTo>
                        <a:pt x="865" y="258"/>
                      </a:lnTo>
                      <a:lnTo>
                        <a:pt x="863" y="258"/>
                      </a:lnTo>
                      <a:lnTo>
                        <a:pt x="859" y="258"/>
                      </a:lnTo>
                      <a:lnTo>
                        <a:pt x="857" y="258"/>
                      </a:lnTo>
                      <a:lnTo>
                        <a:pt x="854" y="257"/>
                      </a:lnTo>
                      <a:lnTo>
                        <a:pt x="852" y="256"/>
                      </a:lnTo>
                      <a:lnTo>
                        <a:pt x="849" y="253"/>
                      </a:lnTo>
                      <a:lnTo>
                        <a:pt x="848" y="252"/>
                      </a:lnTo>
                      <a:lnTo>
                        <a:pt x="847" y="250"/>
                      </a:lnTo>
                      <a:lnTo>
                        <a:pt x="848" y="249"/>
                      </a:lnTo>
                      <a:lnTo>
                        <a:pt x="851" y="247"/>
                      </a:lnTo>
                      <a:lnTo>
                        <a:pt x="852" y="246"/>
                      </a:lnTo>
                      <a:lnTo>
                        <a:pt x="854" y="246"/>
                      </a:lnTo>
                      <a:lnTo>
                        <a:pt x="856" y="246"/>
                      </a:lnTo>
                      <a:lnTo>
                        <a:pt x="858" y="245"/>
                      </a:lnTo>
                      <a:lnTo>
                        <a:pt x="860" y="245"/>
                      </a:lnTo>
                      <a:lnTo>
                        <a:pt x="862" y="242"/>
                      </a:lnTo>
                      <a:lnTo>
                        <a:pt x="863" y="240"/>
                      </a:lnTo>
                      <a:lnTo>
                        <a:pt x="863" y="238"/>
                      </a:lnTo>
                      <a:lnTo>
                        <a:pt x="862" y="236"/>
                      </a:lnTo>
                      <a:lnTo>
                        <a:pt x="859" y="234"/>
                      </a:lnTo>
                      <a:lnTo>
                        <a:pt x="857" y="231"/>
                      </a:lnTo>
                      <a:lnTo>
                        <a:pt x="854" y="230"/>
                      </a:lnTo>
                      <a:lnTo>
                        <a:pt x="852" y="229"/>
                      </a:lnTo>
                      <a:lnTo>
                        <a:pt x="849" y="230"/>
                      </a:lnTo>
                      <a:lnTo>
                        <a:pt x="848" y="231"/>
                      </a:lnTo>
                      <a:lnTo>
                        <a:pt x="846" y="232"/>
                      </a:lnTo>
                      <a:lnTo>
                        <a:pt x="844" y="234"/>
                      </a:lnTo>
                      <a:lnTo>
                        <a:pt x="843" y="234"/>
                      </a:lnTo>
                      <a:lnTo>
                        <a:pt x="841" y="232"/>
                      </a:lnTo>
                      <a:lnTo>
                        <a:pt x="838" y="231"/>
                      </a:lnTo>
                      <a:lnTo>
                        <a:pt x="836" y="229"/>
                      </a:lnTo>
                      <a:lnTo>
                        <a:pt x="835" y="227"/>
                      </a:lnTo>
                      <a:lnTo>
                        <a:pt x="835" y="225"/>
                      </a:lnTo>
                      <a:lnTo>
                        <a:pt x="836" y="224"/>
                      </a:lnTo>
                      <a:lnTo>
                        <a:pt x="837" y="223"/>
                      </a:lnTo>
                      <a:lnTo>
                        <a:pt x="838" y="220"/>
                      </a:lnTo>
                      <a:lnTo>
                        <a:pt x="841" y="218"/>
                      </a:lnTo>
                      <a:lnTo>
                        <a:pt x="842" y="217"/>
                      </a:lnTo>
                      <a:lnTo>
                        <a:pt x="842" y="215"/>
                      </a:lnTo>
                      <a:lnTo>
                        <a:pt x="842" y="214"/>
                      </a:lnTo>
                      <a:lnTo>
                        <a:pt x="841" y="213"/>
                      </a:lnTo>
                      <a:lnTo>
                        <a:pt x="838" y="213"/>
                      </a:lnTo>
                      <a:lnTo>
                        <a:pt x="836" y="213"/>
                      </a:lnTo>
                      <a:lnTo>
                        <a:pt x="835" y="213"/>
                      </a:lnTo>
                      <a:lnTo>
                        <a:pt x="833" y="212"/>
                      </a:lnTo>
                      <a:lnTo>
                        <a:pt x="831" y="212"/>
                      </a:lnTo>
                      <a:lnTo>
                        <a:pt x="829" y="210"/>
                      </a:lnTo>
                      <a:lnTo>
                        <a:pt x="826" y="210"/>
                      </a:lnTo>
                      <a:lnTo>
                        <a:pt x="824" y="209"/>
                      </a:lnTo>
                      <a:lnTo>
                        <a:pt x="822" y="207"/>
                      </a:lnTo>
                      <a:lnTo>
                        <a:pt x="821" y="205"/>
                      </a:lnTo>
                      <a:lnTo>
                        <a:pt x="821" y="203"/>
                      </a:lnTo>
                      <a:lnTo>
                        <a:pt x="822" y="200"/>
                      </a:lnTo>
                      <a:lnTo>
                        <a:pt x="822" y="197"/>
                      </a:lnTo>
                      <a:lnTo>
                        <a:pt x="822" y="194"/>
                      </a:lnTo>
                      <a:lnTo>
                        <a:pt x="822" y="192"/>
                      </a:lnTo>
                      <a:lnTo>
                        <a:pt x="821" y="187"/>
                      </a:lnTo>
                      <a:lnTo>
                        <a:pt x="819" y="184"/>
                      </a:lnTo>
                      <a:lnTo>
                        <a:pt x="818" y="181"/>
                      </a:lnTo>
                      <a:lnTo>
                        <a:pt x="815" y="178"/>
                      </a:lnTo>
                      <a:lnTo>
                        <a:pt x="811" y="174"/>
                      </a:lnTo>
                      <a:lnTo>
                        <a:pt x="804" y="172"/>
                      </a:lnTo>
                      <a:lnTo>
                        <a:pt x="797" y="172"/>
                      </a:lnTo>
                      <a:lnTo>
                        <a:pt x="790" y="174"/>
                      </a:lnTo>
                      <a:lnTo>
                        <a:pt x="790" y="175"/>
                      </a:lnTo>
                      <a:lnTo>
                        <a:pt x="791" y="177"/>
                      </a:lnTo>
                      <a:lnTo>
                        <a:pt x="793" y="180"/>
                      </a:lnTo>
                      <a:lnTo>
                        <a:pt x="796" y="182"/>
                      </a:lnTo>
                      <a:lnTo>
                        <a:pt x="798" y="184"/>
                      </a:lnTo>
                      <a:lnTo>
                        <a:pt x="800" y="186"/>
                      </a:lnTo>
                      <a:lnTo>
                        <a:pt x="802" y="188"/>
                      </a:lnTo>
                      <a:lnTo>
                        <a:pt x="804" y="189"/>
                      </a:lnTo>
                      <a:lnTo>
                        <a:pt x="805" y="189"/>
                      </a:lnTo>
                      <a:lnTo>
                        <a:pt x="807" y="193"/>
                      </a:lnTo>
                      <a:lnTo>
                        <a:pt x="807" y="196"/>
                      </a:lnTo>
                      <a:lnTo>
                        <a:pt x="805" y="198"/>
                      </a:lnTo>
                      <a:lnTo>
                        <a:pt x="804" y="199"/>
                      </a:lnTo>
                      <a:lnTo>
                        <a:pt x="802" y="202"/>
                      </a:lnTo>
                      <a:lnTo>
                        <a:pt x="799" y="202"/>
                      </a:lnTo>
                      <a:lnTo>
                        <a:pt x="796" y="203"/>
                      </a:lnTo>
                      <a:lnTo>
                        <a:pt x="793" y="203"/>
                      </a:lnTo>
                      <a:lnTo>
                        <a:pt x="790" y="203"/>
                      </a:lnTo>
                      <a:lnTo>
                        <a:pt x="777" y="199"/>
                      </a:lnTo>
                      <a:lnTo>
                        <a:pt x="764" y="196"/>
                      </a:lnTo>
                      <a:lnTo>
                        <a:pt x="760" y="197"/>
                      </a:lnTo>
                      <a:lnTo>
                        <a:pt x="758" y="199"/>
                      </a:lnTo>
                      <a:lnTo>
                        <a:pt x="756" y="200"/>
                      </a:lnTo>
                      <a:lnTo>
                        <a:pt x="754" y="202"/>
                      </a:lnTo>
                      <a:lnTo>
                        <a:pt x="750" y="203"/>
                      </a:lnTo>
                      <a:lnTo>
                        <a:pt x="746" y="203"/>
                      </a:lnTo>
                      <a:lnTo>
                        <a:pt x="732" y="202"/>
                      </a:lnTo>
                      <a:lnTo>
                        <a:pt x="716" y="200"/>
                      </a:lnTo>
                      <a:lnTo>
                        <a:pt x="694" y="200"/>
                      </a:lnTo>
                      <a:lnTo>
                        <a:pt x="681" y="199"/>
                      </a:lnTo>
                      <a:lnTo>
                        <a:pt x="669" y="195"/>
                      </a:lnTo>
                      <a:lnTo>
                        <a:pt x="657" y="192"/>
                      </a:lnTo>
                      <a:lnTo>
                        <a:pt x="649" y="192"/>
                      </a:lnTo>
                      <a:lnTo>
                        <a:pt x="640" y="191"/>
                      </a:lnTo>
                      <a:lnTo>
                        <a:pt x="634" y="187"/>
                      </a:lnTo>
                      <a:lnTo>
                        <a:pt x="629" y="184"/>
                      </a:lnTo>
                      <a:lnTo>
                        <a:pt x="625" y="180"/>
                      </a:lnTo>
                      <a:lnTo>
                        <a:pt x="620" y="176"/>
                      </a:lnTo>
                      <a:lnTo>
                        <a:pt x="616" y="172"/>
                      </a:lnTo>
                      <a:lnTo>
                        <a:pt x="614" y="171"/>
                      </a:lnTo>
                      <a:lnTo>
                        <a:pt x="611" y="169"/>
                      </a:lnTo>
                      <a:lnTo>
                        <a:pt x="608" y="166"/>
                      </a:lnTo>
                      <a:lnTo>
                        <a:pt x="605" y="164"/>
                      </a:lnTo>
                      <a:lnTo>
                        <a:pt x="604" y="162"/>
                      </a:lnTo>
                      <a:lnTo>
                        <a:pt x="603" y="160"/>
                      </a:lnTo>
                      <a:lnTo>
                        <a:pt x="603" y="156"/>
                      </a:lnTo>
                      <a:lnTo>
                        <a:pt x="604" y="153"/>
                      </a:lnTo>
                      <a:lnTo>
                        <a:pt x="605" y="152"/>
                      </a:lnTo>
                      <a:lnTo>
                        <a:pt x="606" y="150"/>
                      </a:lnTo>
                      <a:lnTo>
                        <a:pt x="608" y="150"/>
                      </a:lnTo>
                      <a:lnTo>
                        <a:pt x="612" y="151"/>
                      </a:lnTo>
                      <a:lnTo>
                        <a:pt x="618" y="152"/>
                      </a:lnTo>
                      <a:lnTo>
                        <a:pt x="626" y="154"/>
                      </a:lnTo>
                      <a:lnTo>
                        <a:pt x="634" y="155"/>
                      </a:lnTo>
                      <a:lnTo>
                        <a:pt x="635" y="154"/>
                      </a:lnTo>
                      <a:lnTo>
                        <a:pt x="635" y="154"/>
                      </a:lnTo>
                      <a:lnTo>
                        <a:pt x="634" y="153"/>
                      </a:lnTo>
                      <a:lnTo>
                        <a:pt x="633" y="151"/>
                      </a:lnTo>
                      <a:lnTo>
                        <a:pt x="631" y="150"/>
                      </a:lnTo>
                      <a:lnTo>
                        <a:pt x="629" y="149"/>
                      </a:lnTo>
                      <a:lnTo>
                        <a:pt x="628" y="148"/>
                      </a:lnTo>
                      <a:lnTo>
                        <a:pt x="627" y="147"/>
                      </a:lnTo>
                      <a:lnTo>
                        <a:pt x="618" y="143"/>
                      </a:lnTo>
                      <a:lnTo>
                        <a:pt x="608" y="141"/>
                      </a:lnTo>
                      <a:lnTo>
                        <a:pt x="598" y="138"/>
                      </a:lnTo>
                      <a:lnTo>
                        <a:pt x="592" y="133"/>
                      </a:lnTo>
                      <a:lnTo>
                        <a:pt x="591" y="128"/>
                      </a:lnTo>
                      <a:lnTo>
                        <a:pt x="592" y="120"/>
                      </a:lnTo>
                      <a:lnTo>
                        <a:pt x="592" y="114"/>
                      </a:lnTo>
                      <a:lnTo>
                        <a:pt x="592" y="96"/>
                      </a:lnTo>
                      <a:lnTo>
                        <a:pt x="596" y="82"/>
                      </a:lnTo>
                      <a:lnTo>
                        <a:pt x="603" y="67"/>
                      </a:lnTo>
                      <a:lnTo>
                        <a:pt x="609" y="54"/>
                      </a:lnTo>
                      <a:lnTo>
                        <a:pt x="613" y="51"/>
                      </a:lnTo>
                      <a:lnTo>
                        <a:pt x="615" y="46"/>
                      </a:lnTo>
                      <a:lnTo>
                        <a:pt x="617" y="43"/>
                      </a:lnTo>
                      <a:lnTo>
                        <a:pt x="620" y="39"/>
                      </a:lnTo>
                      <a:lnTo>
                        <a:pt x="625" y="36"/>
                      </a:lnTo>
                      <a:lnTo>
                        <a:pt x="630" y="34"/>
                      </a:lnTo>
                      <a:lnTo>
                        <a:pt x="634" y="32"/>
                      </a:lnTo>
                      <a:lnTo>
                        <a:pt x="638" y="30"/>
                      </a:lnTo>
                      <a:lnTo>
                        <a:pt x="650" y="23"/>
                      </a:lnTo>
                      <a:lnTo>
                        <a:pt x="665" y="19"/>
                      </a:lnTo>
                      <a:lnTo>
                        <a:pt x="679" y="17"/>
                      </a:lnTo>
                      <a:close/>
                      <a:moveTo>
                        <a:pt x="2227" y="17"/>
                      </a:moveTo>
                      <a:lnTo>
                        <a:pt x="2228" y="18"/>
                      </a:lnTo>
                      <a:lnTo>
                        <a:pt x="2230" y="20"/>
                      </a:lnTo>
                      <a:lnTo>
                        <a:pt x="2231" y="24"/>
                      </a:lnTo>
                      <a:lnTo>
                        <a:pt x="2232" y="28"/>
                      </a:lnTo>
                      <a:lnTo>
                        <a:pt x="2232" y="31"/>
                      </a:lnTo>
                      <a:lnTo>
                        <a:pt x="2233" y="33"/>
                      </a:lnTo>
                      <a:lnTo>
                        <a:pt x="2233" y="35"/>
                      </a:lnTo>
                      <a:lnTo>
                        <a:pt x="2235" y="39"/>
                      </a:lnTo>
                      <a:lnTo>
                        <a:pt x="2237" y="42"/>
                      </a:lnTo>
                      <a:lnTo>
                        <a:pt x="2238" y="45"/>
                      </a:lnTo>
                      <a:lnTo>
                        <a:pt x="2238" y="47"/>
                      </a:lnTo>
                      <a:lnTo>
                        <a:pt x="2238" y="49"/>
                      </a:lnTo>
                      <a:lnTo>
                        <a:pt x="2238" y="49"/>
                      </a:lnTo>
                      <a:lnTo>
                        <a:pt x="2237" y="49"/>
                      </a:lnTo>
                      <a:lnTo>
                        <a:pt x="2237" y="47"/>
                      </a:lnTo>
                      <a:lnTo>
                        <a:pt x="2235" y="46"/>
                      </a:lnTo>
                      <a:lnTo>
                        <a:pt x="2234" y="46"/>
                      </a:lnTo>
                      <a:lnTo>
                        <a:pt x="2233" y="46"/>
                      </a:lnTo>
                      <a:lnTo>
                        <a:pt x="2233" y="46"/>
                      </a:lnTo>
                      <a:lnTo>
                        <a:pt x="2233" y="47"/>
                      </a:lnTo>
                      <a:lnTo>
                        <a:pt x="2233" y="54"/>
                      </a:lnTo>
                      <a:lnTo>
                        <a:pt x="2232" y="54"/>
                      </a:lnTo>
                      <a:lnTo>
                        <a:pt x="2231" y="53"/>
                      </a:lnTo>
                      <a:lnTo>
                        <a:pt x="2231" y="52"/>
                      </a:lnTo>
                      <a:lnTo>
                        <a:pt x="2230" y="52"/>
                      </a:lnTo>
                      <a:lnTo>
                        <a:pt x="2229" y="50"/>
                      </a:lnTo>
                      <a:lnTo>
                        <a:pt x="2228" y="47"/>
                      </a:lnTo>
                      <a:lnTo>
                        <a:pt x="2227" y="46"/>
                      </a:lnTo>
                      <a:lnTo>
                        <a:pt x="2227" y="45"/>
                      </a:lnTo>
                      <a:lnTo>
                        <a:pt x="2226" y="43"/>
                      </a:lnTo>
                      <a:lnTo>
                        <a:pt x="2224" y="42"/>
                      </a:lnTo>
                      <a:lnTo>
                        <a:pt x="2223" y="41"/>
                      </a:lnTo>
                      <a:lnTo>
                        <a:pt x="2223" y="40"/>
                      </a:lnTo>
                      <a:lnTo>
                        <a:pt x="2223" y="39"/>
                      </a:lnTo>
                      <a:lnTo>
                        <a:pt x="2223" y="38"/>
                      </a:lnTo>
                      <a:lnTo>
                        <a:pt x="2223" y="36"/>
                      </a:lnTo>
                      <a:lnTo>
                        <a:pt x="2223" y="34"/>
                      </a:lnTo>
                      <a:lnTo>
                        <a:pt x="2223" y="32"/>
                      </a:lnTo>
                      <a:lnTo>
                        <a:pt x="2222" y="30"/>
                      </a:lnTo>
                      <a:lnTo>
                        <a:pt x="2221" y="28"/>
                      </a:lnTo>
                      <a:lnTo>
                        <a:pt x="2221" y="27"/>
                      </a:lnTo>
                      <a:lnTo>
                        <a:pt x="2222" y="25"/>
                      </a:lnTo>
                      <a:lnTo>
                        <a:pt x="2222" y="23"/>
                      </a:lnTo>
                      <a:lnTo>
                        <a:pt x="2223" y="22"/>
                      </a:lnTo>
                      <a:lnTo>
                        <a:pt x="2224" y="20"/>
                      </a:lnTo>
                      <a:lnTo>
                        <a:pt x="2224" y="18"/>
                      </a:lnTo>
                      <a:lnTo>
                        <a:pt x="2226" y="17"/>
                      </a:lnTo>
                      <a:lnTo>
                        <a:pt x="2227" y="17"/>
                      </a:lnTo>
                      <a:close/>
                      <a:moveTo>
                        <a:pt x="1659" y="12"/>
                      </a:moveTo>
                      <a:lnTo>
                        <a:pt x="1661" y="12"/>
                      </a:lnTo>
                      <a:lnTo>
                        <a:pt x="1663" y="14"/>
                      </a:lnTo>
                      <a:lnTo>
                        <a:pt x="1665" y="18"/>
                      </a:lnTo>
                      <a:lnTo>
                        <a:pt x="1666" y="21"/>
                      </a:lnTo>
                      <a:lnTo>
                        <a:pt x="1667" y="24"/>
                      </a:lnTo>
                      <a:lnTo>
                        <a:pt x="1669" y="27"/>
                      </a:lnTo>
                      <a:lnTo>
                        <a:pt x="1670" y="30"/>
                      </a:lnTo>
                      <a:lnTo>
                        <a:pt x="1672" y="34"/>
                      </a:lnTo>
                      <a:lnTo>
                        <a:pt x="1674" y="39"/>
                      </a:lnTo>
                      <a:lnTo>
                        <a:pt x="1674" y="43"/>
                      </a:lnTo>
                      <a:lnTo>
                        <a:pt x="1674" y="44"/>
                      </a:lnTo>
                      <a:lnTo>
                        <a:pt x="1674" y="46"/>
                      </a:lnTo>
                      <a:lnTo>
                        <a:pt x="1673" y="47"/>
                      </a:lnTo>
                      <a:lnTo>
                        <a:pt x="1673" y="49"/>
                      </a:lnTo>
                      <a:lnTo>
                        <a:pt x="1672" y="49"/>
                      </a:lnTo>
                      <a:lnTo>
                        <a:pt x="1671" y="49"/>
                      </a:lnTo>
                      <a:lnTo>
                        <a:pt x="1670" y="45"/>
                      </a:lnTo>
                      <a:lnTo>
                        <a:pt x="1665" y="36"/>
                      </a:lnTo>
                      <a:lnTo>
                        <a:pt x="1660" y="28"/>
                      </a:lnTo>
                      <a:lnTo>
                        <a:pt x="1655" y="19"/>
                      </a:lnTo>
                      <a:lnTo>
                        <a:pt x="1655" y="17"/>
                      </a:lnTo>
                      <a:lnTo>
                        <a:pt x="1656" y="16"/>
                      </a:lnTo>
                      <a:lnTo>
                        <a:pt x="1656" y="13"/>
                      </a:lnTo>
                      <a:lnTo>
                        <a:pt x="1656" y="12"/>
                      </a:lnTo>
                      <a:lnTo>
                        <a:pt x="1658" y="12"/>
                      </a:lnTo>
                      <a:lnTo>
                        <a:pt x="1659" y="12"/>
                      </a:lnTo>
                      <a:close/>
                      <a:moveTo>
                        <a:pt x="537" y="10"/>
                      </a:moveTo>
                      <a:lnTo>
                        <a:pt x="548" y="12"/>
                      </a:lnTo>
                      <a:lnTo>
                        <a:pt x="551" y="12"/>
                      </a:lnTo>
                      <a:lnTo>
                        <a:pt x="554" y="13"/>
                      </a:lnTo>
                      <a:lnTo>
                        <a:pt x="557" y="13"/>
                      </a:lnTo>
                      <a:lnTo>
                        <a:pt x="560" y="14"/>
                      </a:lnTo>
                      <a:lnTo>
                        <a:pt x="563" y="14"/>
                      </a:lnTo>
                      <a:lnTo>
                        <a:pt x="580" y="14"/>
                      </a:lnTo>
                      <a:lnTo>
                        <a:pt x="585" y="13"/>
                      </a:lnTo>
                      <a:lnTo>
                        <a:pt x="592" y="14"/>
                      </a:lnTo>
                      <a:lnTo>
                        <a:pt x="597" y="17"/>
                      </a:lnTo>
                      <a:lnTo>
                        <a:pt x="600" y="21"/>
                      </a:lnTo>
                      <a:lnTo>
                        <a:pt x="596" y="27"/>
                      </a:lnTo>
                      <a:lnTo>
                        <a:pt x="590" y="31"/>
                      </a:lnTo>
                      <a:lnTo>
                        <a:pt x="582" y="33"/>
                      </a:lnTo>
                      <a:lnTo>
                        <a:pt x="579" y="34"/>
                      </a:lnTo>
                      <a:lnTo>
                        <a:pt x="578" y="35"/>
                      </a:lnTo>
                      <a:lnTo>
                        <a:pt x="576" y="35"/>
                      </a:lnTo>
                      <a:lnTo>
                        <a:pt x="576" y="36"/>
                      </a:lnTo>
                      <a:lnTo>
                        <a:pt x="576" y="38"/>
                      </a:lnTo>
                      <a:lnTo>
                        <a:pt x="576" y="40"/>
                      </a:lnTo>
                      <a:lnTo>
                        <a:pt x="576" y="42"/>
                      </a:lnTo>
                      <a:lnTo>
                        <a:pt x="575" y="44"/>
                      </a:lnTo>
                      <a:lnTo>
                        <a:pt x="574" y="46"/>
                      </a:lnTo>
                      <a:lnTo>
                        <a:pt x="573" y="47"/>
                      </a:lnTo>
                      <a:lnTo>
                        <a:pt x="572" y="51"/>
                      </a:lnTo>
                      <a:lnTo>
                        <a:pt x="569" y="53"/>
                      </a:lnTo>
                      <a:lnTo>
                        <a:pt x="567" y="55"/>
                      </a:lnTo>
                      <a:lnTo>
                        <a:pt x="563" y="58"/>
                      </a:lnTo>
                      <a:lnTo>
                        <a:pt x="561" y="61"/>
                      </a:lnTo>
                      <a:lnTo>
                        <a:pt x="560" y="64"/>
                      </a:lnTo>
                      <a:lnTo>
                        <a:pt x="559" y="67"/>
                      </a:lnTo>
                      <a:lnTo>
                        <a:pt x="558" y="69"/>
                      </a:lnTo>
                      <a:lnTo>
                        <a:pt x="557" y="72"/>
                      </a:lnTo>
                      <a:lnTo>
                        <a:pt x="552" y="75"/>
                      </a:lnTo>
                      <a:lnTo>
                        <a:pt x="547" y="75"/>
                      </a:lnTo>
                      <a:lnTo>
                        <a:pt x="540" y="73"/>
                      </a:lnTo>
                      <a:lnTo>
                        <a:pt x="534" y="71"/>
                      </a:lnTo>
                      <a:lnTo>
                        <a:pt x="528" y="69"/>
                      </a:lnTo>
                      <a:lnTo>
                        <a:pt x="526" y="69"/>
                      </a:lnTo>
                      <a:lnTo>
                        <a:pt x="525" y="71"/>
                      </a:lnTo>
                      <a:lnTo>
                        <a:pt x="525" y="72"/>
                      </a:lnTo>
                      <a:lnTo>
                        <a:pt x="525" y="73"/>
                      </a:lnTo>
                      <a:lnTo>
                        <a:pt x="526" y="74"/>
                      </a:lnTo>
                      <a:lnTo>
                        <a:pt x="527" y="75"/>
                      </a:lnTo>
                      <a:lnTo>
                        <a:pt x="528" y="76"/>
                      </a:lnTo>
                      <a:lnTo>
                        <a:pt x="529" y="77"/>
                      </a:lnTo>
                      <a:lnTo>
                        <a:pt x="530" y="78"/>
                      </a:lnTo>
                      <a:lnTo>
                        <a:pt x="532" y="84"/>
                      </a:lnTo>
                      <a:lnTo>
                        <a:pt x="531" y="92"/>
                      </a:lnTo>
                      <a:lnTo>
                        <a:pt x="526" y="97"/>
                      </a:lnTo>
                      <a:lnTo>
                        <a:pt x="519" y="103"/>
                      </a:lnTo>
                      <a:lnTo>
                        <a:pt x="511" y="107"/>
                      </a:lnTo>
                      <a:lnTo>
                        <a:pt x="504" y="110"/>
                      </a:lnTo>
                      <a:lnTo>
                        <a:pt x="500" y="109"/>
                      </a:lnTo>
                      <a:lnTo>
                        <a:pt x="498" y="108"/>
                      </a:lnTo>
                      <a:lnTo>
                        <a:pt x="496" y="106"/>
                      </a:lnTo>
                      <a:lnTo>
                        <a:pt x="494" y="103"/>
                      </a:lnTo>
                      <a:lnTo>
                        <a:pt x="493" y="100"/>
                      </a:lnTo>
                      <a:lnTo>
                        <a:pt x="492" y="97"/>
                      </a:lnTo>
                      <a:lnTo>
                        <a:pt x="491" y="95"/>
                      </a:lnTo>
                      <a:lnTo>
                        <a:pt x="491" y="93"/>
                      </a:lnTo>
                      <a:lnTo>
                        <a:pt x="489" y="83"/>
                      </a:lnTo>
                      <a:lnTo>
                        <a:pt x="492" y="72"/>
                      </a:lnTo>
                      <a:lnTo>
                        <a:pt x="493" y="61"/>
                      </a:lnTo>
                      <a:lnTo>
                        <a:pt x="494" y="54"/>
                      </a:lnTo>
                      <a:lnTo>
                        <a:pt x="496" y="49"/>
                      </a:lnTo>
                      <a:lnTo>
                        <a:pt x="499" y="43"/>
                      </a:lnTo>
                      <a:lnTo>
                        <a:pt x="506" y="40"/>
                      </a:lnTo>
                      <a:lnTo>
                        <a:pt x="508" y="39"/>
                      </a:lnTo>
                      <a:lnTo>
                        <a:pt x="509" y="38"/>
                      </a:lnTo>
                      <a:lnTo>
                        <a:pt x="509" y="35"/>
                      </a:lnTo>
                      <a:lnTo>
                        <a:pt x="509" y="34"/>
                      </a:lnTo>
                      <a:lnTo>
                        <a:pt x="507" y="32"/>
                      </a:lnTo>
                      <a:lnTo>
                        <a:pt x="506" y="31"/>
                      </a:lnTo>
                      <a:lnTo>
                        <a:pt x="505" y="29"/>
                      </a:lnTo>
                      <a:lnTo>
                        <a:pt x="504" y="27"/>
                      </a:lnTo>
                      <a:lnTo>
                        <a:pt x="503" y="25"/>
                      </a:lnTo>
                      <a:lnTo>
                        <a:pt x="503" y="23"/>
                      </a:lnTo>
                      <a:lnTo>
                        <a:pt x="504" y="22"/>
                      </a:lnTo>
                      <a:lnTo>
                        <a:pt x="506" y="20"/>
                      </a:lnTo>
                      <a:lnTo>
                        <a:pt x="509" y="19"/>
                      </a:lnTo>
                      <a:lnTo>
                        <a:pt x="511" y="18"/>
                      </a:lnTo>
                      <a:lnTo>
                        <a:pt x="515" y="17"/>
                      </a:lnTo>
                      <a:lnTo>
                        <a:pt x="526" y="12"/>
                      </a:lnTo>
                      <a:lnTo>
                        <a:pt x="537" y="10"/>
                      </a:lnTo>
                      <a:close/>
                      <a:moveTo>
                        <a:pt x="2196" y="10"/>
                      </a:moveTo>
                      <a:lnTo>
                        <a:pt x="2197" y="10"/>
                      </a:lnTo>
                      <a:lnTo>
                        <a:pt x="2198" y="11"/>
                      </a:lnTo>
                      <a:lnTo>
                        <a:pt x="2199" y="12"/>
                      </a:lnTo>
                      <a:lnTo>
                        <a:pt x="2199" y="14"/>
                      </a:lnTo>
                      <a:lnTo>
                        <a:pt x="2199" y="16"/>
                      </a:lnTo>
                      <a:lnTo>
                        <a:pt x="2198" y="17"/>
                      </a:lnTo>
                      <a:lnTo>
                        <a:pt x="2198" y="17"/>
                      </a:lnTo>
                      <a:lnTo>
                        <a:pt x="2197" y="16"/>
                      </a:lnTo>
                      <a:lnTo>
                        <a:pt x="2196" y="14"/>
                      </a:lnTo>
                      <a:lnTo>
                        <a:pt x="2196" y="13"/>
                      </a:lnTo>
                      <a:lnTo>
                        <a:pt x="2195" y="11"/>
                      </a:lnTo>
                      <a:lnTo>
                        <a:pt x="2196" y="10"/>
                      </a:lnTo>
                      <a:lnTo>
                        <a:pt x="2196" y="10"/>
                      </a:lnTo>
                      <a:close/>
                      <a:moveTo>
                        <a:pt x="2074" y="9"/>
                      </a:moveTo>
                      <a:lnTo>
                        <a:pt x="2075" y="10"/>
                      </a:lnTo>
                      <a:lnTo>
                        <a:pt x="2078" y="11"/>
                      </a:lnTo>
                      <a:lnTo>
                        <a:pt x="2080" y="12"/>
                      </a:lnTo>
                      <a:lnTo>
                        <a:pt x="2082" y="12"/>
                      </a:lnTo>
                      <a:lnTo>
                        <a:pt x="2082" y="17"/>
                      </a:lnTo>
                      <a:lnTo>
                        <a:pt x="2080" y="17"/>
                      </a:lnTo>
                      <a:lnTo>
                        <a:pt x="2078" y="14"/>
                      </a:lnTo>
                      <a:lnTo>
                        <a:pt x="2075" y="12"/>
                      </a:lnTo>
                      <a:lnTo>
                        <a:pt x="2074" y="11"/>
                      </a:lnTo>
                      <a:lnTo>
                        <a:pt x="2074" y="10"/>
                      </a:lnTo>
                      <a:lnTo>
                        <a:pt x="2074" y="9"/>
                      </a:lnTo>
                      <a:lnTo>
                        <a:pt x="2074" y="9"/>
                      </a:lnTo>
                      <a:close/>
                      <a:moveTo>
                        <a:pt x="2147" y="1"/>
                      </a:moveTo>
                      <a:lnTo>
                        <a:pt x="2150" y="1"/>
                      </a:lnTo>
                      <a:lnTo>
                        <a:pt x="2151" y="1"/>
                      </a:lnTo>
                      <a:lnTo>
                        <a:pt x="2153" y="1"/>
                      </a:lnTo>
                      <a:lnTo>
                        <a:pt x="2154" y="2"/>
                      </a:lnTo>
                      <a:lnTo>
                        <a:pt x="2156" y="3"/>
                      </a:lnTo>
                      <a:lnTo>
                        <a:pt x="2156" y="8"/>
                      </a:lnTo>
                      <a:lnTo>
                        <a:pt x="2152" y="6"/>
                      </a:lnTo>
                      <a:lnTo>
                        <a:pt x="2150" y="3"/>
                      </a:lnTo>
                      <a:lnTo>
                        <a:pt x="2148" y="2"/>
                      </a:lnTo>
                      <a:lnTo>
                        <a:pt x="2147" y="1"/>
                      </a:lnTo>
                      <a:close/>
                      <a:moveTo>
                        <a:pt x="1897" y="0"/>
                      </a:moveTo>
                      <a:lnTo>
                        <a:pt x="1897" y="0"/>
                      </a:lnTo>
                      <a:lnTo>
                        <a:pt x="1899" y="1"/>
                      </a:lnTo>
                      <a:lnTo>
                        <a:pt x="1900" y="3"/>
                      </a:lnTo>
                      <a:lnTo>
                        <a:pt x="1903" y="5"/>
                      </a:lnTo>
                      <a:lnTo>
                        <a:pt x="1905" y="7"/>
                      </a:lnTo>
                      <a:lnTo>
                        <a:pt x="1906" y="9"/>
                      </a:lnTo>
                      <a:lnTo>
                        <a:pt x="1909" y="12"/>
                      </a:lnTo>
                      <a:lnTo>
                        <a:pt x="1910" y="14"/>
                      </a:lnTo>
                      <a:lnTo>
                        <a:pt x="1912" y="17"/>
                      </a:lnTo>
                      <a:lnTo>
                        <a:pt x="1913" y="19"/>
                      </a:lnTo>
                      <a:lnTo>
                        <a:pt x="1914" y="22"/>
                      </a:lnTo>
                      <a:lnTo>
                        <a:pt x="1914" y="22"/>
                      </a:lnTo>
                      <a:lnTo>
                        <a:pt x="1915" y="24"/>
                      </a:lnTo>
                      <a:lnTo>
                        <a:pt x="1917" y="25"/>
                      </a:lnTo>
                      <a:lnTo>
                        <a:pt x="1918" y="28"/>
                      </a:lnTo>
                      <a:lnTo>
                        <a:pt x="1920" y="29"/>
                      </a:lnTo>
                      <a:lnTo>
                        <a:pt x="1920" y="30"/>
                      </a:lnTo>
                      <a:lnTo>
                        <a:pt x="1920" y="31"/>
                      </a:lnTo>
                      <a:lnTo>
                        <a:pt x="1920" y="31"/>
                      </a:lnTo>
                      <a:lnTo>
                        <a:pt x="1918" y="30"/>
                      </a:lnTo>
                      <a:lnTo>
                        <a:pt x="1916" y="29"/>
                      </a:lnTo>
                      <a:lnTo>
                        <a:pt x="1914" y="24"/>
                      </a:lnTo>
                      <a:lnTo>
                        <a:pt x="1912" y="21"/>
                      </a:lnTo>
                      <a:lnTo>
                        <a:pt x="1909" y="17"/>
                      </a:lnTo>
                      <a:lnTo>
                        <a:pt x="1905" y="12"/>
                      </a:lnTo>
                      <a:lnTo>
                        <a:pt x="1903" y="11"/>
                      </a:lnTo>
                      <a:lnTo>
                        <a:pt x="1901" y="9"/>
                      </a:lnTo>
                      <a:lnTo>
                        <a:pt x="1899" y="7"/>
                      </a:lnTo>
                      <a:lnTo>
                        <a:pt x="1897" y="5"/>
                      </a:lnTo>
                      <a:lnTo>
                        <a:pt x="1896" y="3"/>
                      </a:lnTo>
                      <a:lnTo>
                        <a:pt x="1896" y="2"/>
                      </a:lnTo>
                      <a:lnTo>
                        <a:pt x="1896" y="1"/>
                      </a:lnTo>
                      <a:lnTo>
                        <a:pt x="1897"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0" name="Freeform 37"/>
                <p:cNvSpPr>
                  <a:spLocks noEditPoints="1"/>
                </p:cNvSpPr>
                <p:nvPr/>
              </p:nvSpPr>
              <p:spPr bwMode="auto">
                <a:xfrm>
                  <a:off x="5656" y="667"/>
                  <a:ext cx="304" cy="155"/>
                </a:xfrm>
                <a:custGeom>
                  <a:avLst/>
                  <a:gdLst>
                    <a:gd name="T0" fmla="*/ 2064 w 2128"/>
                    <a:gd name="T1" fmla="*/ 478 h 1086"/>
                    <a:gd name="T2" fmla="*/ 1956 w 2128"/>
                    <a:gd name="T3" fmla="*/ 421 h 1086"/>
                    <a:gd name="T4" fmla="*/ 2104 w 2128"/>
                    <a:gd name="T5" fmla="*/ 456 h 1086"/>
                    <a:gd name="T6" fmla="*/ 2084 w 2128"/>
                    <a:gd name="T7" fmla="*/ 446 h 1086"/>
                    <a:gd name="T8" fmla="*/ 2115 w 2128"/>
                    <a:gd name="T9" fmla="*/ 411 h 1086"/>
                    <a:gd name="T10" fmla="*/ 269 w 2128"/>
                    <a:gd name="T11" fmla="*/ 403 h 1086"/>
                    <a:gd name="T12" fmla="*/ 1838 w 2128"/>
                    <a:gd name="T13" fmla="*/ 404 h 1086"/>
                    <a:gd name="T14" fmla="*/ 1887 w 2128"/>
                    <a:gd name="T15" fmla="*/ 472 h 1086"/>
                    <a:gd name="T16" fmla="*/ 1853 w 2128"/>
                    <a:gd name="T17" fmla="*/ 480 h 1086"/>
                    <a:gd name="T18" fmla="*/ 1824 w 2128"/>
                    <a:gd name="T19" fmla="*/ 418 h 1086"/>
                    <a:gd name="T20" fmla="*/ 1876 w 2128"/>
                    <a:gd name="T21" fmla="*/ 383 h 1086"/>
                    <a:gd name="T22" fmla="*/ 1899 w 2128"/>
                    <a:gd name="T23" fmla="*/ 439 h 1086"/>
                    <a:gd name="T24" fmla="*/ 1855 w 2128"/>
                    <a:gd name="T25" fmla="*/ 385 h 1086"/>
                    <a:gd name="T26" fmla="*/ 699 w 2128"/>
                    <a:gd name="T27" fmla="*/ 339 h 1086"/>
                    <a:gd name="T28" fmla="*/ 221 w 2128"/>
                    <a:gd name="T29" fmla="*/ 369 h 1086"/>
                    <a:gd name="T30" fmla="*/ 143 w 2128"/>
                    <a:gd name="T31" fmla="*/ 427 h 1086"/>
                    <a:gd name="T32" fmla="*/ 94 w 2128"/>
                    <a:gd name="T33" fmla="*/ 401 h 1086"/>
                    <a:gd name="T34" fmla="*/ 197 w 2128"/>
                    <a:gd name="T35" fmla="*/ 386 h 1086"/>
                    <a:gd name="T36" fmla="*/ 365 w 2128"/>
                    <a:gd name="T37" fmla="*/ 395 h 1086"/>
                    <a:gd name="T38" fmla="*/ 123 w 2128"/>
                    <a:gd name="T39" fmla="*/ 314 h 1086"/>
                    <a:gd name="T40" fmla="*/ 36 w 2128"/>
                    <a:gd name="T41" fmla="*/ 414 h 1086"/>
                    <a:gd name="T42" fmla="*/ 1551 w 2128"/>
                    <a:gd name="T43" fmla="*/ 320 h 1086"/>
                    <a:gd name="T44" fmla="*/ 261 w 2128"/>
                    <a:gd name="T45" fmla="*/ 298 h 1086"/>
                    <a:gd name="T46" fmla="*/ 502 w 2128"/>
                    <a:gd name="T47" fmla="*/ 284 h 1086"/>
                    <a:gd name="T48" fmla="*/ 434 w 2128"/>
                    <a:gd name="T49" fmla="*/ 260 h 1086"/>
                    <a:gd name="T50" fmla="*/ 441 w 2128"/>
                    <a:gd name="T51" fmla="*/ 222 h 1086"/>
                    <a:gd name="T52" fmla="*/ 393 w 2128"/>
                    <a:gd name="T53" fmla="*/ 217 h 1086"/>
                    <a:gd name="T54" fmla="*/ 347 w 2128"/>
                    <a:gd name="T55" fmla="*/ 254 h 1086"/>
                    <a:gd name="T56" fmla="*/ 401 w 2128"/>
                    <a:gd name="T57" fmla="*/ 163 h 1086"/>
                    <a:gd name="T58" fmla="*/ 1311 w 2128"/>
                    <a:gd name="T59" fmla="*/ 28 h 1086"/>
                    <a:gd name="T60" fmla="*/ 1367 w 2128"/>
                    <a:gd name="T61" fmla="*/ 73 h 1086"/>
                    <a:gd name="T62" fmla="*/ 1304 w 2128"/>
                    <a:gd name="T63" fmla="*/ 123 h 1086"/>
                    <a:gd name="T64" fmla="*/ 1431 w 2128"/>
                    <a:gd name="T65" fmla="*/ 149 h 1086"/>
                    <a:gd name="T66" fmla="*/ 1481 w 2128"/>
                    <a:gd name="T67" fmla="*/ 173 h 1086"/>
                    <a:gd name="T68" fmla="*/ 1538 w 2128"/>
                    <a:gd name="T69" fmla="*/ 216 h 1086"/>
                    <a:gd name="T70" fmla="*/ 1511 w 2128"/>
                    <a:gd name="T71" fmla="*/ 253 h 1086"/>
                    <a:gd name="T72" fmla="*/ 1527 w 2128"/>
                    <a:gd name="T73" fmla="*/ 306 h 1086"/>
                    <a:gd name="T74" fmla="*/ 1552 w 2128"/>
                    <a:gd name="T75" fmla="*/ 401 h 1086"/>
                    <a:gd name="T76" fmla="*/ 1564 w 2128"/>
                    <a:gd name="T77" fmla="*/ 456 h 1086"/>
                    <a:gd name="T78" fmla="*/ 1591 w 2128"/>
                    <a:gd name="T79" fmla="*/ 533 h 1086"/>
                    <a:gd name="T80" fmla="*/ 1549 w 2128"/>
                    <a:gd name="T81" fmla="*/ 591 h 1086"/>
                    <a:gd name="T82" fmla="*/ 1546 w 2128"/>
                    <a:gd name="T83" fmla="*/ 653 h 1086"/>
                    <a:gd name="T84" fmla="*/ 1559 w 2128"/>
                    <a:gd name="T85" fmla="*/ 702 h 1086"/>
                    <a:gd name="T86" fmla="*/ 1503 w 2128"/>
                    <a:gd name="T87" fmla="*/ 789 h 1086"/>
                    <a:gd name="T88" fmla="*/ 1416 w 2128"/>
                    <a:gd name="T89" fmla="*/ 866 h 1086"/>
                    <a:gd name="T90" fmla="*/ 1388 w 2128"/>
                    <a:gd name="T91" fmla="*/ 979 h 1086"/>
                    <a:gd name="T92" fmla="*/ 1313 w 2128"/>
                    <a:gd name="T93" fmla="*/ 1046 h 1086"/>
                    <a:gd name="T94" fmla="*/ 1191 w 2128"/>
                    <a:gd name="T95" fmla="*/ 800 h 1086"/>
                    <a:gd name="T96" fmla="*/ 1192 w 2128"/>
                    <a:gd name="T97" fmla="*/ 731 h 1086"/>
                    <a:gd name="T98" fmla="*/ 1150 w 2128"/>
                    <a:gd name="T99" fmla="*/ 667 h 1086"/>
                    <a:gd name="T100" fmla="*/ 1161 w 2128"/>
                    <a:gd name="T101" fmla="*/ 570 h 1086"/>
                    <a:gd name="T102" fmla="*/ 1109 w 2128"/>
                    <a:gd name="T103" fmla="*/ 483 h 1086"/>
                    <a:gd name="T104" fmla="*/ 937 w 2128"/>
                    <a:gd name="T105" fmla="*/ 340 h 1086"/>
                    <a:gd name="T106" fmla="*/ 826 w 2128"/>
                    <a:gd name="T107" fmla="*/ 291 h 1086"/>
                    <a:gd name="T108" fmla="*/ 844 w 2128"/>
                    <a:gd name="T109" fmla="*/ 263 h 1086"/>
                    <a:gd name="T110" fmla="*/ 904 w 2128"/>
                    <a:gd name="T111" fmla="*/ 158 h 1086"/>
                    <a:gd name="T112" fmla="*/ 896 w 2128"/>
                    <a:gd name="T113" fmla="*/ 100 h 1086"/>
                    <a:gd name="T114" fmla="*/ 960 w 2128"/>
                    <a:gd name="T115" fmla="*/ 44 h 1086"/>
                    <a:gd name="T116" fmla="*/ 1049 w 2128"/>
                    <a:gd name="T117" fmla="*/ 47 h 1086"/>
                    <a:gd name="T118" fmla="*/ 1137 w 2128"/>
                    <a:gd name="T119" fmla="*/ 71 h 1086"/>
                    <a:gd name="T120" fmla="*/ 1194 w 2128"/>
                    <a:gd name="T121" fmla="*/ 45 h 1086"/>
                    <a:gd name="T122" fmla="*/ 1142 w 2128"/>
                    <a:gd name="T123" fmla="*/ 9 h 1086"/>
                    <a:gd name="T124" fmla="*/ 1210 w 2128"/>
                    <a:gd name="T125" fmla="*/ 23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28" h="1086">
                      <a:moveTo>
                        <a:pt x="2056" y="426"/>
                      </a:moveTo>
                      <a:lnTo>
                        <a:pt x="2056" y="427"/>
                      </a:lnTo>
                      <a:lnTo>
                        <a:pt x="2056" y="427"/>
                      </a:lnTo>
                      <a:lnTo>
                        <a:pt x="2056" y="427"/>
                      </a:lnTo>
                      <a:lnTo>
                        <a:pt x="2056" y="426"/>
                      </a:lnTo>
                      <a:close/>
                      <a:moveTo>
                        <a:pt x="2034" y="426"/>
                      </a:moveTo>
                      <a:lnTo>
                        <a:pt x="2037" y="427"/>
                      </a:lnTo>
                      <a:lnTo>
                        <a:pt x="2039" y="427"/>
                      </a:lnTo>
                      <a:lnTo>
                        <a:pt x="2041" y="428"/>
                      </a:lnTo>
                      <a:lnTo>
                        <a:pt x="2043" y="429"/>
                      </a:lnTo>
                      <a:lnTo>
                        <a:pt x="2045" y="432"/>
                      </a:lnTo>
                      <a:lnTo>
                        <a:pt x="2048" y="434"/>
                      </a:lnTo>
                      <a:lnTo>
                        <a:pt x="2050" y="436"/>
                      </a:lnTo>
                      <a:lnTo>
                        <a:pt x="2053" y="438"/>
                      </a:lnTo>
                      <a:lnTo>
                        <a:pt x="2054" y="438"/>
                      </a:lnTo>
                      <a:lnTo>
                        <a:pt x="2055" y="438"/>
                      </a:lnTo>
                      <a:lnTo>
                        <a:pt x="2056" y="439"/>
                      </a:lnTo>
                      <a:lnTo>
                        <a:pt x="2057" y="438"/>
                      </a:lnTo>
                      <a:lnTo>
                        <a:pt x="2057" y="438"/>
                      </a:lnTo>
                      <a:lnTo>
                        <a:pt x="2057" y="436"/>
                      </a:lnTo>
                      <a:lnTo>
                        <a:pt x="2057" y="435"/>
                      </a:lnTo>
                      <a:lnTo>
                        <a:pt x="2056" y="434"/>
                      </a:lnTo>
                      <a:lnTo>
                        <a:pt x="2056" y="434"/>
                      </a:lnTo>
                      <a:lnTo>
                        <a:pt x="2057" y="434"/>
                      </a:lnTo>
                      <a:lnTo>
                        <a:pt x="2057" y="433"/>
                      </a:lnTo>
                      <a:lnTo>
                        <a:pt x="2059" y="433"/>
                      </a:lnTo>
                      <a:lnTo>
                        <a:pt x="2060" y="434"/>
                      </a:lnTo>
                      <a:lnTo>
                        <a:pt x="2062" y="435"/>
                      </a:lnTo>
                      <a:lnTo>
                        <a:pt x="2063" y="437"/>
                      </a:lnTo>
                      <a:lnTo>
                        <a:pt x="2064" y="438"/>
                      </a:lnTo>
                      <a:lnTo>
                        <a:pt x="2064" y="440"/>
                      </a:lnTo>
                      <a:lnTo>
                        <a:pt x="2065" y="443"/>
                      </a:lnTo>
                      <a:lnTo>
                        <a:pt x="2066" y="445"/>
                      </a:lnTo>
                      <a:lnTo>
                        <a:pt x="2066" y="447"/>
                      </a:lnTo>
                      <a:lnTo>
                        <a:pt x="2067" y="448"/>
                      </a:lnTo>
                      <a:lnTo>
                        <a:pt x="2069" y="449"/>
                      </a:lnTo>
                      <a:lnTo>
                        <a:pt x="2070" y="451"/>
                      </a:lnTo>
                      <a:lnTo>
                        <a:pt x="2071" y="454"/>
                      </a:lnTo>
                      <a:lnTo>
                        <a:pt x="2072" y="456"/>
                      </a:lnTo>
                      <a:lnTo>
                        <a:pt x="2072" y="457"/>
                      </a:lnTo>
                      <a:lnTo>
                        <a:pt x="2072" y="458"/>
                      </a:lnTo>
                      <a:lnTo>
                        <a:pt x="2071" y="459"/>
                      </a:lnTo>
                      <a:lnTo>
                        <a:pt x="2070" y="460"/>
                      </a:lnTo>
                      <a:lnTo>
                        <a:pt x="2069" y="460"/>
                      </a:lnTo>
                      <a:lnTo>
                        <a:pt x="2067" y="459"/>
                      </a:lnTo>
                      <a:lnTo>
                        <a:pt x="2066" y="459"/>
                      </a:lnTo>
                      <a:lnTo>
                        <a:pt x="2066" y="460"/>
                      </a:lnTo>
                      <a:lnTo>
                        <a:pt x="2067" y="462"/>
                      </a:lnTo>
                      <a:lnTo>
                        <a:pt x="2069" y="465"/>
                      </a:lnTo>
                      <a:lnTo>
                        <a:pt x="2069" y="467"/>
                      </a:lnTo>
                      <a:lnTo>
                        <a:pt x="2070" y="468"/>
                      </a:lnTo>
                      <a:lnTo>
                        <a:pt x="2069" y="468"/>
                      </a:lnTo>
                      <a:lnTo>
                        <a:pt x="2069" y="468"/>
                      </a:lnTo>
                      <a:lnTo>
                        <a:pt x="2067" y="467"/>
                      </a:lnTo>
                      <a:lnTo>
                        <a:pt x="2065" y="466"/>
                      </a:lnTo>
                      <a:lnTo>
                        <a:pt x="2064" y="465"/>
                      </a:lnTo>
                      <a:lnTo>
                        <a:pt x="2063" y="464"/>
                      </a:lnTo>
                      <a:lnTo>
                        <a:pt x="2062" y="464"/>
                      </a:lnTo>
                      <a:lnTo>
                        <a:pt x="2061" y="464"/>
                      </a:lnTo>
                      <a:lnTo>
                        <a:pt x="2061" y="465"/>
                      </a:lnTo>
                      <a:lnTo>
                        <a:pt x="2062" y="467"/>
                      </a:lnTo>
                      <a:lnTo>
                        <a:pt x="2063" y="468"/>
                      </a:lnTo>
                      <a:lnTo>
                        <a:pt x="2064" y="470"/>
                      </a:lnTo>
                      <a:lnTo>
                        <a:pt x="2065" y="472"/>
                      </a:lnTo>
                      <a:lnTo>
                        <a:pt x="2065" y="475"/>
                      </a:lnTo>
                      <a:lnTo>
                        <a:pt x="2064" y="476"/>
                      </a:lnTo>
                      <a:lnTo>
                        <a:pt x="2064" y="478"/>
                      </a:lnTo>
                      <a:lnTo>
                        <a:pt x="2064" y="479"/>
                      </a:lnTo>
                      <a:lnTo>
                        <a:pt x="2063" y="479"/>
                      </a:lnTo>
                      <a:lnTo>
                        <a:pt x="2062" y="478"/>
                      </a:lnTo>
                      <a:lnTo>
                        <a:pt x="2061" y="477"/>
                      </a:lnTo>
                      <a:lnTo>
                        <a:pt x="2060" y="476"/>
                      </a:lnTo>
                      <a:lnTo>
                        <a:pt x="2057" y="472"/>
                      </a:lnTo>
                      <a:lnTo>
                        <a:pt x="2055" y="469"/>
                      </a:lnTo>
                      <a:lnTo>
                        <a:pt x="2053" y="467"/>
                      </a:lnTo>
                      <a:lnTo>
                        <a:pt x="2052" y="465"/>
                      </a:lnTo>
                      <a:lnTo>
                        <a:pt x="2050" y="462"/>
                      </a:lnTo>
                      <a:lnTo>
                        <a:pt x="2050" y="460"/>
                      </a:lnTo>
                      <a:lnTo>
                        <a:pt x="2050" y="458"/>
                      </a:lnTo>
                      <a:lnTo>
                        <a:pt x="2050" y="456"/>
                      </a:lnTo>
                      <a:lnTo>
                        <a:pt x="2049" y="454"/>
                      </a:lnTo>
                      <a:lnTo>
                        <a:pt x="2048" y="451"/>
                      </a:lnTo>
                      <a:lnTo>
                        <a:pt x="2045" y="449"/>
                      </a:lnTo>
                      <a:lnTo>
                        <a:pt x="2045" y="447"/>
                      </a:lnTo>
                      <a:lnTo>
                        <a:pt x="2044" y="445"/>
                      </a:lnTo>
                      <a:lnTo>
                        <a:pt x="2043" y="443"/>
                      </a:lnTo>
                      <a:lnTo>
                        <a:pt x="2043" y="442"/>
                      </a:lnTo>
                      <a:lnTo>
                        <a:pt x="2042" y="440"/>
                      </a:lnTo>
                      <a:lnTo>
                        <a:pt x="2042" y="439"/>
                      </a:lnTo>
                      <a:lnTo>
                        <a:pt x="2041" y="440"/>
                      </a:lnTo>
                      <a:lnTo>
                        <a:pt x="2041" y="443"/>
                      </a:lnTo>
                      <a:lnTo>
                        <a:pt x="2041" y="444"/>
                      </a:lnTo>
                      <a:lnTo>
                        <a:pt x="2042" y="446"/>
                      </a:lnTo>
                      <a:lnTo>
                        <a:pt x="2042" y="447"/>
                      </a:lnTo>
                      <a:lnTo>
                        <a:pt x="2041" y="449"/>
                      </a:lnTo>
                      <a:lnTo>
                        <a:pt x="2041" y="450"/>
                      </a:lnTo>
                      <a:lnTo>
                        <a:pt x="2039" y="449"/>
                      </a:lnTo>
                      <a:lnTo>
                        <a:pt x="2038" y="449"/>
                      </a:lnTo>
                      <a:lnTo>
                        <a:pt x="2035" y="447"/>
                      </a:lnTo>
                      <a:lnTo>
                        <a:pt x="2034" y="445"/>
                      </a:lnTo>
                      <a:lnTo>
                        <a:pt x="2031" y="440"/>
                      </a:lnTo>
                      <a:lnTo>
                        <a:pt x="2030" y="437"/>
                      </a:lnTo>
                      <a:lnTo>
                        <a:pt x="2029" y="435"/>
                      </a:lnTo>
                      <a:lnTo>
                        <a:pt x="2029" y="432"/>
                      </a:lnTo>
                      <a:lnTo>
                        <a:pt x="2030" y="429"/>
                      </a:lnTo>
                      <a:lnTo>
                        <a:pt x="2031" y="427"/>
                      </a:lnTo>
                      <a:lnTo>
                        <a:pt x="2032" y="426"/>
                      </a:lnTo>
                      <a:lnTo>
                        <a:pt x="2033" y="426"/>
                      </a:lnTo>
                      <a:lnTo>
                        <a:pt x="2034" y="426"/>
                      </a:lnTo>
                      <a:close/>
                      <a:moveTo>
                        <a:pt x="1956" y="420"/>
                      </a:moveTo>
                      <a:lnTo>
                        <a:pt x="1957" y="420"/>
                      </a:lnTo>
                      <a:lnTo>
                        <a:pt x="1960" y="421"/>
                      </a:lnTo>
                      <a:lnTo>
                        <a:pt x="1961" y="423"/>
                      </a:lnTo>
                      <a:lnTo>
                        <a:pt x="1962" y="425"/>
                      </a:lnTo>
                      <a:lnTo>
                        <a:pt x="1962" y="428"/>
                      </a:lnTo>
                      <a:lnTo>
                        <a:pt x="1960" y="429"/>
                      </a:lnTo>
                      <a:lnTo>
                        <a:pt x="1958" y="431"/>
                      </a:lnTo>
                      <a:lnTo>
                        <a:pt x="1957" y="431"/>
                      </a:lnTo>
                      <a:lnTo>
                        <a:pt x="1956" y="431"/>
                      </a:lnTo>
                      <a:lnTo>
                        <a:pt x="1955" y="432"/>
                      </a:lnTo>
                      <a:lnTo>
                        <a:pt x="1954" y="432"/>
                      </a:lnTo>
                      <a:lnTo>
                        <a:pt x="1953" y="432"/>
                      </a:lnTo>
                      <a:lnTo>
                        <a:pt x="1951" y="431"/>
                      </a:lnTo>
                      <a:lnTo>
                        <a:pt x="1945" y="423"/>
                      </a:lnTo>
                      <a:lnTo>
                        <a:pt x="1945" y="422"/>
                      </a:lnTo>
                      <a:lnTo>
                        <a:pt x="1946" y="421"/>
                      </a:lnTo>
                      <a:lnTo>
                        <a:pt x="1949" y="421"/>
                      </a:lnTo>
                      <a:lnTo>
                        <a:pt x="1951" y="422"/>
                      </a:lnTo>
                      <a:lnTo>
                        <a:pt x="1952" y="422"/>
                      </a:lnTo>
                      <a:lnTo>
                        <a:pt x="1954" y="423"/>
                      </a:lnTo>
                      <a:lnTo>
                        <a:pt x="1955" y="423"/>
                      </a:lnTo>
                      <a:lnTo>
                        <a:pt x="1955" y="423"/>
                      </a:lnTo>
                      <a:lnTo>
                        <a:pt x="1955" y="422"/>
                      </a:lnTo>
                      <a:lnTo>
                        <a:pt x="1956" y="421"/>
                      </a:lnTo>
                      <a:lnTo>
                        <a:pt x="1956" y="420"/>
                      </a:lnTo>
                      <a:lnTo>
                        <a:pt x="1956" y="420"/>
                      </a:lnTo>
                      <a:close/>
                      <a:moveTo>
                        <a:pt x="2114" y="417"/>
                      </a:moveTo>
                      <a:lnTo>
                        <a:pt x="2115" y="417"/>
                      </a:lnTo>
                      <a:lnTo>
                        <a:pt x="2115" y="418"/>
                      </a:lnTo>
                      <a:lnTo>
                        <a:pt x="2117" y="418"/>
                      </a:lnTo>
                      <a:lnTo>
                        <a:pt x="2119" y="420"/>
                      </a:lnTo>
                      <a:lnTo>
                        <a:pt x="2121" y="420"/>
                      </a:lnTo>
                      <a:lnTo>
                        <a:pt x="2121" y="422"/>
                      </a:lnTo>
                      <a:lnTo>
                        <a:pt x="2120" y="423"/>
                      </a:lnTo>
                      <a:lnTo>
                        <a:pt x="2120" y="423"/>
                      </a:lnTo>
                      <a:lnTo>
                        <a:pt x="2119" y="423"/>
                      </a:lnTo>
                      <a:lnTo>
                        <a:pt x="2118" y="422"/>
                      </a:lnTo>
                      <a:lnTo>
                        <a:pt x="2118" y="422"/>
                      </a:lnTo>
                      <a:lnTo>
                        <a:pt x="2117" y="421"/>
                      </a:lnTo>
                      <a:lnTo>
                        <a:pt x="2116" y="421"/>
                      </a:lnTo>
                      <a:lnTo>
                        <a:pt x="2115" y="420"/>
                      </a:lnTo>
                      <a:lnTo>
                        <a:pt x="2115" y="418"/>
                      </a:lnTo>
                      <a:lnTo>
                        <a:pt x="2114" y="417"/>
                      </a:lnTo>
                      <a:lnTo>
                        <a:pt x="2114" y="417"/>
                      </a:lnTo>
                      <a:close/>
                      <a:moveTo>
                        <a:pt x="2087" y="416"/>
                      </a:moveTo>
                      <a:lnTo>
                        <a:pt x="2087" y="416"/>
                      </a:lnTo>
                      <a:lnTo>
                        <a:pt x="2088" y="417"/>
                      </a:lnTo>
                      <a:lnTo>
                        <a:pt x="2091" y="420"/>
                      </a:lnTo>
                      <a:lnTo>
                        <a:pt x="2092" y="422"/>
                      </a:lnTo>
                      <a:lnTo>
                        <a:pt x="2094" y="423"/>
                      </a:lnTo>
                      <a:lnTo>
                        <a:pt x="2095" y="424"/>
                      </a:lnTo>
                      <a:lnTo>
                        <a:pt x="2097" y="423"/>
                      </a:lnTo>
                      <a:lnTo>
                        <a:pt x="2097" y="422"/>
                      </a:lnTo>
                      <a:lnTo>
                        <a:pt x="2098" y="422"/>
                      </a:lnTo>
                      <a:lnTo>
                        <a:pt x="2099" y="421"/>
                      </a:lnTo>
                      <a:lnTo>
                        <a:pt x="2100" y="422"/>
                      </a:lnTo>
                      <a:lnTo>
                        <a:pt x="2102" y="422"/>
                      </a:lnTo>
                      <a:lnTo>
                        <a:pt x="2104" y="424"/>
                      </a:lnTo>
                      <a:lnTo>
                        <a:pt x="2105" y="426"/>
                      </a:lnTo>
                      <a:lnTo>
                        <a:pt x="2105" y="427"/>
                      </a:lnTo>
                      <a:lnTo>
                        <a:pt x="2106" y="429"/>
                      </a:lnTo>
                      <a:lnTo>
                        <a:pt x="2106" y="431"/>
                      </a:lnTo>
                      <a:lnTo>
                        <a:pt x="2105" y="431"/>
                      </a:lnTo>
                      <a:lnTo>
                        <a:pt x="2105" y="431"/>
                      </a:lnTo>
                      <a:lnTo>
                        <a:pt x="2104" y="429"/>
                      </a:lnTo>
                      <a:lnTo>
                        <a:pt x="2103" y="429"/>
                      </a:lnTo>
                      <a:lnTo>
                        <a:pt x="2100" y="429"/>
                      </a:lnTo>
                      <a:lnTo>
                        <a:pt x="2099" y="429"/>
                      </a:lnTo>
                      <a:lnTo>
                        <a:pt x="2097" y="428"/>
                      </a:lnTo>
                      <a:lnTo>
                        <a:pt x="2096" y="429"/>
                      </a:lnTo>
                      <a:lnTo>
                        <a:pt x="2095" y="429"/>
                      </a:lnTo>
                      <a:lnTo>
                        <a:pt x="2097" y="432"/>
                      </a:lnTo>
                      <a:lnTo>
                        <a:pt x="2099" y="435"/>
                      </a:lnTo>
                      <a:lnTo>
                        <a:pt x="2103" y="437"/>
                      </a:lnTo>
                      <a:lnTo>
                        <a:pt x="2104" y="439"/>
                      </a:lnTo>
                      <a:lnTo>
                        <a:pt x="2105" y="442"/>
                      </a:lnTo>
                      <a:lnTo>
                        <a:pt x="2105" y="443"/>
                      </a:lnTo>
                      <a:lnTo>
                        <a:pt x="2105" y="444"/>
                      </a:lnTo>
                      <a:lnTo>
                        <a:pt x="2105" y="445"/>
                      </a:lnTo>
                      <a:lnTo>
                        <a:pt x="2106" y="446"/>
                      </a:lnTo>
                      <a:lnTo>
                        <a:pt x="2107" y="448"/>
                      </a:lnTo>
                      <a:lnTo>
                        <a:pt x="2109" y="450"/>
                      </a:lnTo>
                      <a:lnTo>
                        <a:pt x="2109" y="453"/>
                      </a:lnTo>
                      <a:lnTo>
                        <a:pt x="2109" y="455"/>
                      </a:lnTo>
                      <a:lnTo>
                        <a:pt x="2110" y="456"/>
                      </a:lnTo>
                      <a:lnTo>
                        <a:pt x="2109" y="457"/>
                      </a:lnTo>
                      <a:lnTo>
                        <a:pt x="2109" y="457"/>
                      </a:lnTo>
                      <a:lnTo>
                        <a:pt x="2107" y="457"/>
                      </a:lnTo>
                      <a:lnTo>
                        <a:pt x="2106" y="457"/>
                      </a:lnTo>
                      <a:lnTo>
                        <a:pt x="2105" y="457"/>
                      </a:lnTo>
                      <a:lnTo>
                        <a:pt x="2104" y="456"/>
                      </a:lnTo>
                      <a:lnTo>
                        <a:pt x="2104" y="457"/>
                      </a:lnTo>
                      <a:lnTo>
                        <a:pt x="2104" y="458"/>
                      </a:lnTo>
                      <a:lnTo>
                        <a:pt x="2104" y="459"/>
                      </a:lnTo>
                      <a:lnTo>
                        <a:pt x="2105" y="461"/>
                      </a:lnTo>
                      <a:lnTo>
                        <a:pt x="2105" y="462"/>
                      </a:lnTo>
                      <a:lnTo>
                        <a:pt x="2106" y="464"/>
                      </a:lnTo>
                      <a:lnTo>
                        <a:pt x="2108" y="465"/>
                      </a:lnTo>
                      <a:lnTo>
                        <a:pt x="2109" y="466"/>
                      </a:lnTo>
                      <a:lnTo>
                        <a:pt x="2109" y="467"/>
                      </a:lnTo>
                      <a:lnTo>
                        <a:pt x="2111" y="467"/>
                      </a:lnTo>
                      <a:lnTo>
                        <a:pt x="2114" y="469"/>
                      </a:lnTo>
                      <a:lnTo>
                        <a:pt x="2114" y="471"/>
                      </a:lnTo>
                      <a:lnTo>
                        <a:pt x="2115" y="473"/>
                      </a:lnTo>
                      <a:lnTo>
                        <a:pt x="2115" y="473"/>
                      </a:lnTo>
                      <a:lnTo>
                        <a:pt x="2116" y="475"/>
                      </a:lnTo>
                      <a:lnTo>
                        <a:pt x="2118" y="477"/>
                      </a:lnTo>
                      <a:lnTo>
                        <a:pt x="2119" y="478"/>
                      </a:lnTo>
                      <a:lnTo>
                        <a:pt x="2119" y="479"/>
                      </a:lnTo>
                      <a:lnTo>
                        <a:pt x="2119" y="481"/>
                      </a:lnTo>
                      <a:lnTo>
                        <a:pt x="2118" y="481"/>
                      </a:lnTo>
                      <a:lnTo>
                        <a:pt x="2117" y="482"/>
                      </a:lnTo>
                      <a:lnTo>
                        <a:pt x="2116" y="483"/>
                      </a:lnTo>
                      <a:lnTo>
                        <a:pt x="2116" y="483"/>
                      </a:lnTo>
                      <a:lnTo>
                        <a:pt x="2116" y="486"/>
                      </a:lnTo>
                      <a:lnTo>
                        <a:pt x="2116" y="487"/>
                      </a:lnTo>
                      <a:lnTo>
                        <a:pt x="2116" y="488"/>
                      </a:lnTo>
                      <a:lnTo>
                        <a:pt x="2116" y="489"/>
                      </a:lnTo>
                      <a:lnTo>
                        <a:pt x="2114" y="489"/>
                      </a:lnTo>
                      <a:lnTo>
                        <a:pt x="2114" y="489"/>
                      </a:lnTo>
                      <a:lnTo>
                        <a:pt x="2113" y="488"/>
                      </a:lnTo>
                      <a:lnTo>
                        <a:pt x="2111" y="487"/>
                      </a:lnTo>
                      <a:lnTo>
                        <a:pt x="2109" y="486"/>
                      </a:lnTo>
                      <a:lnTo>
                        <a:pt x="2108" y="484"/>
                      </a:lnTo>
                      <a:lnTo>
                        <a:pt x="2107" y="484"/>
                      </a:lnTo>
                      <a:lnTo>
                        <a:pt x="2107" y="486"/>
                      </a:lnTo>
                      <a:lnTo>
                        <a:pt x="2106" y="486"/>
                      </a:lnTo>
                      <a:lnTo>
                        <a:pt x="2105" y="486"/>
                      </a:lnTo>
                      <a:lnTo>
                        <a:pt x="2104" y="484"/>
                      </a:lnTo>
                      <a:lnTo>
                        <a:pt x="2103" y="483"/>
                      </a:lnTo>
                      <a:lnTo>
                        <a:pt x="2102" y="482"/>
                      </a:lnTo>
                      <a:lnTo>
                        <a:pt x="2102" y="480"/>
                      </a:lnTo>
                      <a:lnTo>
                        <a:pt x="2100" y="479"/>
                      </a:lnTo>
                      <a:lnTo>
                        <a:pt x="2098" y="478"/>
                      </a:lnTo>
                      <a:lnTo>
                        <a:pt x="2098" y="477"/>
                      </a:lnTo>
                      <a:lnTo>
                        <a:pt x="2097" y="477"/>
                      </a:lnTo>
                      <a:lnTo>
                        <a:pt x="2095" y="475"/>
                      </a:lnTo>
                      <a:lnTo>
                        <a:pt x="2094" y="475"/>
                      </a:lnTo>
                      <a:lnTo>
                        <a:pt x="2094" y="473"/>
                      </a:lnTo>
                      <a:lnTo>
                        <a:pt x="2094" y="472"/>
                      </a:lnTo>
                      <a:lnTo>
                        <a:pt x="2093" y="470"/>
                      </a:lnTo>
                      <a:lnTo>
                        <a:pt x="2093" y="469"/>
                      </a:lnTo>
                      <a:lnTo>
                        <a:pt x="2091" y="466"/>
                      </a:lnTo>
                      <a:lnTo>
                        <a:pt x="2088" y="464"/>
                      </a:lnTo>
                      <a:lnTo>
                        <a:pt x="2085" y="462"/>
                      </a:lnTo>
                      <a:lnTo>
                        <a:pt x="2082" y="460"/>
                      </a:lnTo>
                      <a:lnTo>
                        <a:pt x="2080" y="457"/>
                      </a:lnTo>
                      <a:lnTo>
                        <a:pt x="2080" y="453"/>
                      </a:lnTo>
                      <a:lnTo>
                        <a:pt x="2080" y="448"/>
                      </a:lnTo>
                      <a:lnTo>
                        <a:pt x="2080" y="447"/>
                      </a:lnTo>
                      <a:lnTo>
                        <a:pt x="2078" y="445"/>
                      </a:lnTo>
                      <a:lnTo>
                        <a:pt x="2078" y="444"/>
                      </a:lnTo>
                      <a:lnTo>
                        <a:pt x="2078" y="443"/>
                      </a:lnTo>
                      <a:lnTo>
                        <a:pt x="2078" y="442"/>
                      </a:lnTo>
                      <a:lnTo>
                        <a:pt x="2080" y="442"/>
                      </a:lnTo>
                      <a:lnTo>
                        <a:pt x="2081" y="443"/>
                      </a:lnTo>
                      <a:lnTo>
                        <a:pt x="2082" y="445"/>
                      </a:lnTo>
                      <a:lnTo>
                        <a:pt x="2084" y="446"/>
                      </a:lnTo>
                      <a:lnTo>
                        <a:pt x="2085" y="448"/>
                      </a:lnTo>
                      <a:lnTo>
                        <a:pt x="2086" y="450"/>
                      </a:lnTo>
                      <a:lnTo>
                        <a:pt x="2086" y="450"/>
                      </a:lnTo>
                      <a:lnTo>
                        <a:pt x="2087" y="451"/>
                      </a:lnTo>
                      <a:lnTo>
                        <a:pt x="2089" y="453"/>
                      </a:lnTo>
                      <a:lnTo>
                        <a:pt x="2091" y="453"/>
                      </a:lnTo>
                      <a:lnTo>
                        <a:pt x="2091" y="451"/>
                      </a:lnTo>
                      <a:lnTo>
                        <a:pt x="2091" y="450"/>
                      </a:lnTo>
                      <a:lnTo>
                        <a:pt x="2089" y="449"/>
                      </a:lnTo>
                      <a:lnTo>
                        <a:pt x="2088" y="448"/>
                      </a:lnTo>
                      <a:lnTo>
                        <a:pt x="2088" y="446"/>
                      </a:lnTo>
                      <a:lnTo>
                        <a:pt x="2086" y="445"/>
                      </a:lnTo>
                      <a:lnTo>
                        <a:pt x="2084" y="444"/>
                      </a:lnTo>
                      <a:lnTo>
                        <a:pt x="2082" y="442"/>
                      </a:lnTo>
                      <a:lnTo>
                        <a:pt x="2082" y="440"/>
                      </a:lnTo>
                      <a:lnTo>
                        <a:pt x="2081" y="438"/>
                      </a:lnTo>
                      <a:lnTo>
                        <a:pt x="2080" y="436"/>
                      </a:lnTo>
                      <a:lnTo>
                        <a:pt x="2080" y="434"/>
                      </a:lnTo>
                      <a:lnTo>
                        <a:pt x="2078" y="432"/>
                      </a:lnTo>
                      <a:lnTo>
                        <a:pt x="2077" y="431"/>
                      </a:lnTo>
                      <a:lnTo>
                        <a:pt x="2077" y="431"/>
                      </a:lnTo>
                      <a:lnTo>
                        <a:pt x="2078" y="431"/>
                      </a:lnTo>
                      <a:lnTo>
                        <a:pt x="2080" y="432"/>
                      </a:lnTo>
                      <a:lnTo>
                        <a:pt x="2081" y="432"/>
                      </a:lnTo>
                      <a:lnTo>
                        <a:pt x="2082" y="433"/>
                      </a:lnTo>
                      <a:lnTo>
                        <a:pt x="2084" y="434"/>
                      </a:lnTo>
                      <a:lnTo>
                        <a:pt x="2086" y="436"/>
                      </a:lnTo>
                      <a:lnTo>
                        <a:pt x="2088" y="437"/>
                      </a:lnTo>
                      <a:lnTo>
                        <a:pt x="2091" y="438"/>
                      </a:lnTo>
                      <a:lnTo>
                        <a:pt x="2091" y="432"/>
                      </a:lnTo>
                      <a:lnTo>
                        <a:pt x="2089" y="431"/>
                      </a:lnTo>
                      <a:lnTo>
                        <a:pt x="2087" y="429"/>
                      </a:lnTo>
                      <a:lnTo>
                        <a:pt x="2086" y="428"/>
                      </a:lnTo>
                      <a:lnTo>
                        <a:pt x="2086" y="427"/>
                      </a:lnTo>
                      <a:lnTo>
                        <a:pt x="2083" y="426"/>
                      </a:lnTo>
                      <a:lnTo>
                        <a:pt x="2082" y="425"/>
                      </a:lnTo>
                      <a:lnTo>
                        <a:pt x="2081" y="423"/>
                      </a:lnTo>
                      <a:lnTo>
                        <a:pt x="2081" y="422"/>
                      </a:lnTo>
                      <a:lnTo>
                        <a:pt x="2082" y="421"/>
                      </a:lnTo>
                      <a:lnTo>
                        <a:pt x="2084" y="422"/>
                      </a:lnTo>
                      <a:lnTo>
                        <a:pt x="2085" y="422"/>
                      </a:lnTo>
                      <a:lnTo>
                        <a:pt x="2086" y="422"/>
                      </a:lnTo>
                      <a:lnTo>
                        <a:pt x="2086" y="421"/>
                      </a:lnTo>
                      <a:lnTo>
                        <a:pt x="2086" y="420"/>
                      </a:lnTo>
                      <a:lnTo>
                        <a:pt x="2086" y="417"/>
                      </a:lnTo>
                      <a:lnTo>
                        <a:pt x="2086" y="417"/>
                      </a:lnTo>
                      <a:lnTo>
                        <a:pt x="2086" y="416"/>
                      </a:lnTo>
                      <a:lnTo>
                        <a:pt x="2087" y="416"/>
                      </a:lnTo>
                      <a:close/>
                      <a:moveTo>
                        <a:pt x="2115" y="410"/>
                      </a:moveTo>
                      <a:lnTo>
                        <a:pt x="2116" y="410"/>
                      </a:lnTo>
                      <a:lnTo>
                        <a:pt x="2118" y="411"/>
                      </a:lnTo>
                      <a:lnTo>
                        <a:pt x="2120" y="412"/>
                      </a:lnTo>
                      <a:lnTo>
                        <a:pt x="2121" y="414"/>
                      </a:lnTo>
                      <a:lnTo>
                        <a:pt x="2124" y="416"/>
                      </a:lnTo>
                      <a:lnTo>
                        <a:pt x="2126" y="418"/>
                      </a:lnTo>
                      <a:lnTo>
                        <a:pt x="2127" y="420"/>
                      </a:lnTo>
                      <a:lnTo>
                        <a:pt x="2127" y="422"/>
                      </a:lnTo>
                      <a:lnTo>
                        <a:pt x="2128" y="423"/>
                      </a:lnTo>
                      <a:lnTo>
                        <a:pt x="2127" y="423"/>
                      </a:lnTo>
                      <a:lnTo>
                        <a:pt x="2126" y="422"/>
                      </a:lnTo>
                      <a:lnTo>
                        <a:pt x="2124" y="421"/>
                      </a:lnTo>
                      <a:lnTo>
                        <a:pt x="2122" y="420"/>
                      </a:lnTo>
                      <a:lnTo>
                        <a:pt x="2120" y="417"/>
                      </a:lnTo>
                      <a:lnTo>
                        <a:pt x="2118" y="415"/>
                      </a:lnTo>
                      <a:lnTo>
                        <a:pt x="2116" y="414"/>
                      </a:lnTo>
                      <a:lnTo>
                        <a:pt x="2115" y="412"/>
                      </a:lnTo>
                      <a:lnTo>
                        <a:pt x="2115" y="411"/>
                      </a:lnTo>
                      <a:lnTo>
                        <a:pt x="2115" y="410"/>
                      </a:lnTo>
                      <a:lnTo>
                        <a:pt x="2115" y="410"/>
                      </a:lnTo>
                      <a:close/>
                      <a:moveTo>
                        <a:pt x="2086" y="399"/>
                      </a:moveTo>
                      <a:lnTo>
                        <a:pt x="2087" y="399"/>
                      </a:lnTo>
                      <a:lnTo>
                        <a:pt x="2093" y="401"/>
                      </a:lnTo>
                      <a:lnTo>
                        <a:pt x="2096" y="404"/>
                      </a:lnTo>
                      <a:lnTo>
                        <a:pt x="2097" y="406"/>
                      </a:lnTo>
                      <a:lnTo>
                        <a:pt x="2098" y="409"/>
                      </a:lnTo>
                      <a:lnTo>
                        <a:pt x="2098" y="411"/>
                      </a:lnTo>
                      <a:lnTo>
                        <a:pt x="2097" y="413"/>
                      </a:lnTo>
                      <a:lnTo>
                        <a:pt x="2096" y="414"/>
                      </a:lnTo>
                      <a:lnTo>
                        <a:pt x="2095" y="415"/>
                      </a:lnTo>
                      <a:lnTo>
                        <a:pt x="2092" y="411"/>
                      </a:lnTo>
                      <a:lnTo>
                        <a:pt x="2089" y="410"/>
                      </a:lnTo>
                      <a:lnTo>
                        <a:pt x="2087" y="409"/>
                      </a:lnTo>
                      <a:lnTo>
                        <a:pt x="2086" y="406"/>
                      </a:lnTo>
                      <a:lnTo>
                        <a:pt x="2084" y="405"/>
                      </a:lnTo>
                      <a:lnTo>
                        <a:pt x="2084" y="404"/>
                      </a:lnTo>
                      <a:lnTo>
                        <a:pt x="2084" y="402"/>
                      </a:lnTo>
                      <a:lnTo>
                        <a:pt x="2084" y="401"/>
                      </a:lnTo>
                      <a:lnTo>
                        <a:pt x="2085" y="399"/>
                      </a:lnTo>
                      <a:lnTo>
                        <a:pt x="2086" y="399"/>
                      </a:lnTo>
                      <a:close/>
                      <a:moveTo>
                        <a:pt x="77" y="399"/>
                      </a:moveTo>
                      <a:lnTo>
                        <a:pt x="79" y="399"/>
                      </a:lnTo>
                      <a:lnTo>
                        <a:pt x="80" y="400"/>
                      </a:lnTo>
                      <a:lnTo>
                        <a:pt x="79" y="402"/>
                      </a:lnTo>
                      <a:lnTo>
                        <a:pt x="77" y="403"/>
                      </a:lnTo>
                      <a:lnTo>
                        <a:pt x="75" y="405"/>
                      </a:lnTo>
                      <a:lnTo>
                        <a:pt x="74" y="406"/>
                      </a:lnTo>
                      <a:lnTo>
                        <a:pt x="72" y="407"/>
                      </a:lnTo>
                      <a:lnTo>
                        <a:pt x="69" y="411"/>
                      </a:lnTo>
                      <a:lnTo>
                        <a:pt x="66" y="414"/>
                      </a:lnTo>
                      <a:lnTo>
                        <a:pt x="64" y="418"/>
                      </a:lnTo>
                      <a:lnTo>
                        <a:pt x="58" y="425"/>
                      </a:lnTo>
                      <a:lnTo>
                        <a:pt x="51" y="431"/>
                      </a:lnTo>
                      <a:lnTo>
                        <a:pt x="43" y="432"/>
                      </a:lnTo>
                      <a:lnTo>
                        <a:pt x="41" y="428"/>
                      </a:lnTo>
                      <a:lnTo>
                        <a:pt x="43" y="423"/>
                      </a:lnTo>
                      <a:lnTo>
                        <a:pt x="46" y="416"/>
                      </a:lnTo>
                      <a:lnTo>
                        <a:pt x="53" y="412"/>
                      </a:lnTo>
                      <a:lnTo>
                        <a:pt x="58" y="407"/>
                      </a:lnTo>
                      <a:lnTo>
                        <a:pt x="62" y="406"/>
                      </a:lnTo>
                      <a:lnTo>
                        <a:pt x="64" y="405"/>
                      </a:lnTo>
                      <a:lnTo>
                        <a:pt x="66" y="403"/>
                      </a:lnTo>
                      <a:lnTo>
                        <a:pt x="66" y="403"/>
                      </a:lnTo>
                      <a:lnTo>
                        <a:pt x="67" y="402"/>
                      </a:lnTo>
                      <a:lnTo>
                        <a:pt x="67" y="402"/>
                      </a:lnTo>
                      <a:lnTo>
                        <a:pt x="69" y="401"/>
                      </a:lnTo>
                      <a:lnTo>
                        <a:pt x="70" y="400"/>
                      </a:lnTo>
                      <a:lnTo>
                        <a:pt x="73" y="399"/>
                      </a:lnTo>
                      <a:lnTo>
                        <a:pt x="75" y="399"/>
                      </a:lnTo>
                      <a:lnTo>
                        <a:pt x="77" y="399"/>
                      </a:lnTo>
                      <a:close/>
                      <a:moveTo>
                        <a:pt x="278" y="381"/>
                      </a:moveTo>
                      <a:lnTo>
                        <a:pt x="281" y="382"/>
                      </a:lnTo>
                      <a:lnTo>
                        <a:pt x="283" y="382"/>
                      </a:lnTo>
                      <a:lnTo>
                        <a:pt x="286" y="383"/>
                      </a:lnTo>
                      <a:lnTo>
                        <a:pt x="286" y="385"/>
                      </a:lnTo>
                      <a:lnTo>
                        <a:pt x="285" y="389"/>
                      </a:lnTo>
                      <a:lnTo>
                        <a:pt x="285" y="392"/>
                      </a:lnTo>
                      <a:lnTo>
                        <a:pt x="284" y="395"/>
                      </a:lnTo>
                      <a:lnTo>
                        <a:pt x="283" y="398"/>
                      </a:lnTo>
                      <a:lnTo>
                        <a:pt x="281" y="399"/>
                      </a:lnTo>
                      <a:lnTo>
                        <a:pt x="278" y="401"/>
                      </a:lnTo>
                      <a:lnTo>
                        <a:pt x="275" y="403"/>
                      </a:lnTo>
                      <a:lnTo>
                        <a:pt x="273" y="404"/>
                      </a:lnTo>
                      <a:lnTo>
                        <a:pt x="271" y="404"/>
                      </a:lnTo>
                      <a:lnTo>
                        <a:pt x="269" y="403"/>
                      </a:lnTo>
                      <a:lnTo>
                        <a:pt x="267" y="401"/>
                      </a:lnTo>
                      <a:lnTo>
                        <a:pt x="267" y="398"/>
                      </a:lnTo>
                      <a:lnTo>
                        <a:pt x="269" y="393"/>
                      </a:lnTo>
                      <a:lnTo>
                        <a:pt x="271" y="389"/>
                      </a:lnTo>
                      <a:lnTo>
                        <a:pt x="273" y="385"/>
                      </a:lnTo>
                      <a:lnTo>
                        <a:pt x="275" y="382"/>
                      </a:lnTo>
                      <a:lnTo>
                        <a:pt x="276" y="381"/>
                      </a:lnTo>
                      <a:lnTo>
                        <a:pt x="278" y="381"/>
                      </a:lnTo>
                      <a:close/>
                      <a:moveTo>
                        <a:pt x="1567" y="380"/>
                      </a:moveTo>
                      <a:lnTo>
                        <a:pt x="1568" y="381"/>
                      </a:lnTo>
                      <a:lnTo>
                        <a:pt x="1570" y="381"/>
                      </a:lnTo>
                      <a:lnTo>
                        <a:pt x="1571" y="382"/>
                      </a:lnTo>
                      <a:lnTo>
                        <a:pt x="1572" y="384"/>
                      </a:lnTo>
                      <a:lnTo>
                        <a:pt x="1572" y="388"/>
                      </a:lnTo>
                      <a:lnTo>
                        <a:pt x="1573" y="389"/>
                      </a:lnTo>
                      <a:lnTo>
                        <a:pt x="1573" y="391"/>
                      </a:lnTo>
                      <a:lnTo>
                        <a:pt x="1573" y="393"/>
                      </a:lnTo>
                      <a:lnTo>
                        <a:pt x="1573" y="394"/>
                      </a:lnTo>
                      <a:lnTo>
                        <a:pt x="1572" y="394"/>
                      </a:lnTo>
                      <a:lnTo>
                        <a:pt x="1571" y="395"/>
                      </a:lnTo>
                      <a:lnTo>
                        <a:pt x="1570" y="395"/>
                      </a:lnTo>
                      <a:lnTo>
                        <a:pt x="1569" y="394"/>
                      </a:lnTo>
                      <a:lnTo>
                        <a:pt x="1568" y="392"/>
                      </a:lnTo>
                      <a:lnTo>
                        <a:pt x="1568" y="391"/>
                      </a:lnTo>
                      <a:lnTo>
                        <a:pt x="1568" y="389"/>
                      </a:lnTo>
                      <a:lnTo>
                        <a:pt x="1568" y="386"/>
                      </a:lnTo>
                      <a:lnTo>
                        <a:pt x="1567" y="384"/>
                      </a:lnTo>
                      <a:lnTo>
                        <a:pt x="1567" y="382"/>
                      </a:lnTo>
                      <a:lnTo>
                        <a:pt x="1567" y="381"/>
                      </a:lnTo>
                      <a:lnTo>
                        <a:pt x="1567" y="380"/>
                      </a:lnTo>
                      <a:close/>
                      <a:moveTo>
                        <a:pt x="1811" y="380"/>
                      </a:moveTo>
                      <a:lnTo>
                        <a:pt x="1812" y="380"/>
                      </a:lnTo>
                      <a:lnTo>
                        <a:pt x="1812" y="381"/>
                      </a:lnTo>
                      <a:lnTo>
                        <a:pt x="1813" y="382"/>
                      </a:lnTo>
                      <a:lnTo>
                        <a:pt x="1814" y="384"/>
                      </a:lnTo>
                      <a:lnTo>
                        <a:pt x="1816" y="386"/>
                      </a:lnTo>
                      <a:lnTo>
                        <a:pt x="1818" y="386"/>
                      </a:lnTo>
                      <a:lnTo>
                        <a:pt x="1819" y="386"/>
                      </a:lnTo>
                      <a:lnTo>
                        <a:pt x="1820" y="385"/>
                      </a:lnTo>
                      <a:lnTo>
                        <a:pt x="1820" y="384"/>
                      </a:lnTo>
                      <a:lnTo>
                        <a:pt x="1821" y="384"/>
                      </a:lnTo>
                      <a:lnTo>
                        <a:pt x="1822" y="384"/>
                      </a:lnTo>
                      <a:lnTo>
                        <a:pt x="1823" y="386"/>
                      </a:lnTo>
                      <a:lnTo>
                        <a:pt x="1825" y="389"/>
                      </a:lnTo>
                      <a:lnTo>
                        <a:pt x="1826" y="391"/>
                      </a:lnTo>
                      <a:lnTo>
                        <a:pt x="1826" y="392"/>
                      </a:lnTo>
                      <a:lnTo>
                        <a:pt x="1826" y="393"/>
                      </a:lnTo>
                      <a:lnTo>
                        <a:pt x="1826" y="393"/>
                      </a:lnTo>
                      <a:lnTo>
                        <a:pt x="1825" y="394"/>
                      </a:lnTo>
                      <a:lnTo>
                        <a:pt x="1825" y="395"/>
                      </a:lnTo>
                      <a:lnTo>
                        <a:pt x="1826" y="398"/>
                      </a:lnTo>
                      <a:lnTo>
                        <a:pt x="1826" y="399"/>
                      </a:lnTo>
                      <a:lnTo>
                        <a:pt x="1827" y="401"/>
                      </a:lnTo>
                      <a:lnTo>
                        <a:pt x="1829" y="403"/>
                      </a:lnTo>
                      <a:lnTo>
                        <a:pt x="1831" y="404"/>
                      </a:lnTo>
                      <a:lnTo>
                        <a:pt x="1832" y="405"/>
                      </a:lnTo>
                      <a:lnTo>
                        <a:pt x="1833" y="405"/>
                      </a:lnTo>
                      <a:lnTo>
                        <a:pt x="1833" y="404"/>
                      </a:lnTo>
                      <a:lnTo>
                        <a:pt x="1832" y="402"/>
                      </a:lnTo>
                      <a:lnTo>
                        <a:pt x="1832" y="400"/>
                      </a:lnTo>
                      <a:lnTo>
                        <a:pt x="1832" y="398"/>
                      </a:lnTo>
                      <a:lnTo>
                        <a:pt x="1832" y="395"/>
                      </a:lnTo>
                      <a:lnTo>
                        <a:pt x="1832" y="395"/>
                      </a:lnTo>
                      <a:lnTo>
                        <a:pt x="1834" y="396"/>
                      </a:lnTo>
                      <a:lnTo>
                        <a:pt x="1835" y="399"/>
                      </a:lnTo>
                      <a:lnTo>
                        <a:pt x="1837" y="401"/>
                      </a:lnTo>
                      <a:lnTo>
                        <a:pt x="1838" y="404"/>
                      </a:lnTo>
                      <a:lnTo>
                        <a:pt x="1841" y="406"/>
                      </a:lnTo>
                      <a:lnTo>
                        <a:pt x="1843" y="409"/>
                      </a:lnTo>
                      <a:lnTo>
                        <a:pt x="1844" y="410"/>
                      </a:lnTo>
                      <a:lnTo>
                        <a:pt x="1845" y="411"/>
                      </a:lnTo>
                      <a:lnTo>
                        <a:pt x="1846" y="410"/>
                      </a:lnTo>
                      <a:lnTo>
                        <a:pt x="1846" y="404"/>
                      </a:lnTo>
                      <a:lnTo>
                        <a:pt x="1844" y="398"/>
                      </a:lnTo>
                      <a:lnTo>
                        <a:pt x="1842" y="391"/>
                      </a:lnTo>
                      <a:lnTo>
                        <a:pt x="1841" y="390"/>
                      </a:lnTo>
                      <a:lnTo>
                        <a:pt x="1841" y="388"/>
                      </a:lnTo>
                      <a:lnTo>
                        <a:pt x="1841" y="386"/>
                      </a:lnTo>
                      <a:lnTo>
                        <a:pt x="1841" y="385"/>
                      </a:lnTo>
                      <a:lnTo>
                        <a:pt x="1842" y="384"/>
                      </a:lnTo>
                      <a:lnTo>
                        <a:pt x="1844" y="385"/>
                      </a:lnTo>
                      <a:lnTo>
                        <a:pt x="1846" y="388"/>
                      </a:lnTo>
                      <a:lnTo>
                        <a:pt x="1847" y="390"/>
                      </a:lnTo>
                      <a:lnTo>
                        <a:pt x="1849" y="392"/>
                      </a:lnTo>
                      <a:lnTo>
                        <a:pt x="1851" y="395"/>
                      </a:lnTo>
                      <a:lnTo>
                        <a:pt x="1855" y="400"/>
                      </a:lnTo>
                      <a:lnTo>
                        <a:pt x="1855" y="402"/>
                      </a:lnTo>
                      <a:lnTo>
                        <a:pt x="1857" y="404"/>
                      </a:lnTo>
                      <a:lnTo>
                        <a:pt x="1858" y="405"/>
                      </a:lnTo>
                      <a:lnTo>
                        <a:pt x="1858" y="406"/>
                      </a:lnTo>
                      <a:lnTo>
                        <a:pt x="1858" y="407"/>
                      </a:lnTo>
                      <a:lnTo>
                        <a:pt x="1859" y="410"/>
                      </a:lnTo>
                      <a:lnTo>
                        <a:pt x="1860" y="412"/>
                      </a:lnTo>
                      <a:lnTo>
                        <a:pt x="1863" y="414"/>
                      </a:lnTo>
                      <a:lnTo>
                        <a:pt x="1863" y="412"/>
                      </a:lnTo>
                      <a:lnTo>
                        <a:pt x="1865" y="414"/>
                      </a:lnTo>
                      <a:lnTo>
                        <a:pt x="1866" y="417"/>
                      </a:lnTo>
                      <a:lnTo>
                        <a:pt x="1867" y="421"/>
                      </a:lnTo>
                      <a:lnTo>
                        <a:pt x="1868" y="424"/>
                      </a:lnTo>
                      <a:lnTo>
                        <a:pt x="1868" y="427"/>
                      </a:lnTo>
                      <a:lnTo>
                        <a:pt x="1875" y="434"/>
                      </a:lnTo>
                      <a:lnTo>
                        <a:pt x="1876" y="436"/>
                      </a:lnTo>
                      <a:lnTo>
                        <a:pt x="1877" y="437"/>
                      </a:lnTo>
                      <a:lnTo>
                        <a:pt x="1879" y="438"/>
                      </a:lnTo>
                      <a:lnTo>
                        <a:pt x="1880" y="439"/>
                      </a:lnTo>
                      <a:lnTo>
                        <a:pt x="1882" y="440"/>
                      </a:lnTo>
                      <a:lnTo>
                        <a:pt x="1884" y="442"/>
                      </a:lnTo>
                      <a:lnTo>
                        <a:pt x="1885" y="444"/>
                      </a:lnTo>
                      <a:lnTo>
                        <a:pt x="1886" y="445"/>
                      </a:lnTo>
                      <a:lnTo>
                        <a:pt x="1887" y="446"/>
                      </a:lnTo>
                      <a:lnTo>
                        <a:pt x="1887" y="447"/>
                      </a:lnTo>
                      <a:lnTo>
                        <a:pt x="1888" y="448"/>
                      </a:lnTo>
                      <a:lnTo>
                        <a:pt x="1890" y="450"/>
                      </a:lnTo>
                      <a:lnTo>
                        <a:pt x="1891" y="451"/>
                      </a:lnTo>
                      <a:lnTo>
                        <a:pt x="1892" y="451"/>
                      </a:lnTo>
                      <a:lnTo>
                        <a:pt x="1893" y="453"/>
                      </a:lnTo>
                      <a:lnTo>
                        <a:pt x="1895" y="455"/>
                      </a:lnTo>
                      <a:lnTo>
                        <a:pt x="1895" y="457"/>
                      </a:lnTo>
                      <a:lnTo>
                        <a:pt x="1896" y="459"/>
                      </a:lnTo>
                      <a:lnTo>
                        <a:pt x="1897" y="460"/>
                      </a:lnTo>
                      <a:lnTo>
                        <a:pt x="1898" y="461"/>
                      </a:lnTo>
                      <a:lnTo>
                        <a:pt x="1899" y="464"/>
                      </a:lnTo>
                      <a:lnTo>
                        <a:pt x="1898" y="464"/>
                      </a:lnTo>
                      <a:lnTo>
                        <a:pt x="1897" y="465"/>
                      </a:lnTo>
                      <a:lnTo>
                        <a:pt x="1896" y="465"/>
                      </a:lnTo>
                      <a:lnTo>
                        <a:pt x="1893" y="465"/>
                      </a:lnTo>
                      <a:lnTo>
                        <a:pt x="1892" y="465"/>
                      </a:lnTo>
                      <a:lnTo>
                        <a:pt x="1891" y="465"/>
                      </a:lnTo>
                      <a:lnTo>
                        <a:pt x="1890" y="465"/>
                      </a:lnTo>
                      <a:lnTo>
                        <a:pt x="1889" y="466"/>
                      </a:lnTo>
                      <a:lnTo>
                        <a:pt x="1889" y="467"/>
                      </a:lnTo>
                      <a:lnTo>
                        <a:pt x="1888" y="468"/>
                      </a:lnTo>
                      <a:lnTo>
                        <a:pt x="1888" y="469"/>
                      </a:lnTo>
                      <a:lnTo>
                        <a:pt x="1887" y="472"/>
                      </a:lnTo>
                      <a:lnTo>
                        <a:pt x="1887" y="475"/>
                      </a:lnTo>
                      <a:lnTo>
                        <a:pt x="1887" y="477"/>
                      </a:lnTo>
                      <a:lnTo>
                        <a:pt x="1888" y="480"/>
                      </a:lnTo>
                      <a:lnTo>
                        <a:pt x="1889" y="483"/>
                      </a:lnTo>
                      <a:lnTo>
                        <a:pt x="1889" y="487"/>
                      </a:lnTo>
                      <a:lnTo>
                        <a:pt x="1890" y="489"/>
                      </a:lnTo>
                      <a:lnTo>
                        <a:pt x="1890" y="491"/>
                      </a:lnTo>
                      <a:lnTo>
                        <a:pt x="1889" y="491"/>
                      </a:lnTo>
                      <a:lnTo>
                        <a:pt x="1889" y="492"/>
                      </a:lnTo>
                      <a:lnTo>
                        <a:pt x="1889" y="494"/>
                      </a:lnTo>
                      <a:lnTo>
                        <a:pt x="1888" y="497"/>
                      </a:lnTo>
                      <a:lnTo>
                        <a:pt x="1888" y="499"/>
                      </a:lnTo>
                      <a:lnTo>
                        <a:pt x="1890" y="503"/>
                      </a:lnTo>
                      <a:lnTo>
                        <a:pt x="1890" y="508"/>
                      </a:lnTo>
                      <a:lnTo>
                        <a:pt x="1890" y="512"/>
                      </a:lnTo>
                      <a:lnTo>
                        <a:pt x="1891" y="514"/>
                      </a:lnTo>
                      <a:lnTo>
                        <a:pt x="1891" y="515"/>
                      </a:lnTo>
                      <a:lnTo>
                        <a:pt x="1891" y="518"/>
                      </a:lnTo>
                      <a:lnTo>
                        <a:pt x="1890" y="520"/>
                      </a:lnTo>
                      <a:lnTo>
                        <a:pt x="1890" y="523"/>
                      </a:lnTo>
                      <a:lnTo>
                        <a:pt x="1893" y="538"/>
                      </a:lnTo>
                      <a:lnTo>
                        <a:pt x="1895" y="554"/>
                      </a:lnTo>
                      <a:lnTo>
                        <a:pt x="1892" y="552"/>
                      </a:lnTo>
                      <a:lnTo>
                        <a:pt x="1890" y="549"/>
                      </a:lnTo>
                      <a:lnTo>
                        <a:pt x="1888" y="546"/>
                      </a:lnTo>
                      <a:lnTo>
                        <a:pt x="1886" y="543"/>
                      </a:lnTo>
                      <a:lnTo>
                        <a:pt x="1885" y="540"/>
                      </a:lnTo>
                      <a:lnTo>
                        <a:pt x="1885" y="537"/>
                      </a:lnTo>
                      <a:lnTo>
                        <a:pt x="1885" y="535"/>
                      </a:lnTo>
                      <a:lnTo>
                        <a:pt x="1886" y="533"/>
                      </a:lnTo>
                      <a:lnTo>
                        <a:pt x="1887" y="531"/>
                      </a:lnTo>
                      <a:lnTo>
                        <a:pt x="1885" y="531"/>
                      </a:lnTo>
                      <a:lnTo>
                        <a:pt x="1884" y="532"/>
                      </a:lnTo>
                      <a:lnTo>
                        <a:pt x="1882" y="532"/>
                      </a:lnTo>
                      <a:lnTo>
                        <a:pt x="1881" y="531"/>
                      </a:lnTo>
                      <a:lnTo>
                        <a:pt x="1880" y="529"/>
                      </a:lnTo>
                      <a:lnTo>
                        <a:pt x="1878" y="526"/>
                      </a:lnTo>
                      <a:lnTo>
                        <a:pt x="1877" y="524"/>
                      </a:lnTo>
                      <a:lnTo>
                        <a:pt x="1876" y="523"/>
                      </a:lnTo>
                      <a:lnTo>
                        <a:pt x="1874" y="520"/>
                      </a:lnTo>
                      <a:lnTo>
                        <a:pt x="1871" y="518"/>
                      </a:lnTo>
                      <a:lnTo>
                        <a:pt x="1870" y="515"/>
                      </a:lnTo>
                      <a:lnTo>
                        <a:pt x="1868" y="514"/>
                      </a:lnTo>
                      <a:lnTo>
                        <a:pt x="1866" y="511"/>
                      </a:lnTo>
                      <a:lnTo>
                        <a:pt x="1864" y="509"/>
                      </a:lnTo>
                      <a:lnTo>
                        <a:pt x="1863" y="505"/>
                      </a:lnTo>
                      <a:lnTo>
                        <a:pt x="1863" y="504"/>
                      </a:lnTo>
                      <a:lnTo>
                        <a:pt x="1864" y="503"/>
                      </a:lnTo>
                      <a:lnTo>
                        <a:pt x="1864" y="503"/>
                      </a:lnTo>
                      <a:lnTo>
                        <a:pt x="1865" y="503"/>
                      </a:lnTo>
                      <a:lnTo>
                        <a:pt x="1866" y="503"/>
                      </a:lnTo>
                      <a:lnTo>
                        <a:pt x="1866" y="503"/>
                      </a:lnTo>
                      <a:lnTo>
                        <a:pt x="1867" y="503"/>
                      </a:lnTo>
                      <a:lnTo>
                        <a:pt x="1868" y="504"/>
                      </a:lnTo>
                      <a:lnTo>
                        <a:pt x="1869" y="504"/>
                      </a:lnTo>
                      <a:lnTo>
                        <a:pt x="1870" y="503"/>
                      </a:lnTo>
                      <a:lnTo>
                        <a:pt x="1870" y="501"/>
                      </a:lnTo>
                      <a:lnTo>
                        <a:pt x="1868" y="499"/>
                      </a:lnTo>
                      <a:lnTo>
                        <a:pt x="1866" y="495"/>
                      </a:lnTo>
                      <a:lnTo>
                        <a:pt x="1864" y="493"/>
                      </a:lnTo>
                      <a:lnTo>
                        <a:pt x="1863" y="492"/>
                      </a:lnTo>
                      <a:lnTo>
                        <a:pt x="1862" y="492"/>
                      </a:lnTo>
                      <a:lnTo>
                        <a:pt x="1859" y="491"/>
                      </a:lnTo>
                      <a:lnTo>
                        <a:pt x="1858" y="489"/>
                      </a:lnTo>
                      <a:lnTo>
                        <a:pt x="1856" y="486"/>
                      </a:lnTo>
                      <a:lnTo>
                        <a:pt x="1854" y="482"/>
                      </a:lnTo>
                      <a:lnTo>
                        <a:pt x="1853" y="480"/>
                      </a:lnTo>
                      <a:lnTo>
                        <a:pt x="1851" y="477"/>
                      </a:lnTo>
                      <a:lnTo>
                        <a:pt x="1851" y="476"/>
                      </a:lnTo>
                      <a:lnTo>
                        <a:pt x="1851" y="475"/>
                      </a:lnTo>
                      <a:lnTo>
                        <a:pt x="1852" y="473"/>
                      </a:lnTo>
                      <a:lnTo>
                        <a:pt x="1852" y="473"/>
                      </a:lnTo>
                      <a:lnTo>
                        <a:pt x="1854" y="473"/>
                      </a:lnTo>
                      <a:lnTo>
                        <a:pt x="1855" y="473"/>
                      </a:lnTo>
                      <a:lnTo>
                        <a:pt x="1856" y="473"/>
                      </a:lnTo>
                      <a:lnTo>
                        <a:pt x="1857" y="473"/>
                      </a:lnTo>
                      <a:lnTo>
                        <a:pt x="1858" y="472"/>
                      </a:lnTo>
                      <a:lnTo>
                        <a:pt x="1858" y="470"/>
                      </a:lnTo>
                      <a:lnTo>
                        <a:pt x="1858" y="469"/>
                      </a:lnTo>
                      <a:lnTo>
                        <a:pt x="1858" y="467"/>
                      </a:lnTo>
                      <a:lnTo>
                        <a:pt x="1859" y="467"/>
                      </a:lnTo>
                      <a:lnTo>
                        <a:pt x="1862" y="467"/>
                      </a:lnTo>
                      <a:lnTo>
                        <a:pt x="1863" y="467"/>
                      </a:lnTo>
                      <a:lnTo>
                        <a:pt x="1864" y="467"/>
                      </a:lnTo>
                      <a:lnTo>
                        <a:pt x="1866" y="468"/>
                      </a:lnTo>
                      <a:lnTo>
                        <a:pt x="1868" y="467"/>
                      </a:lnTo>
                      <a:lnTo>
                        <a:pt x="1868" y="466"/>
                      </a:lnTo>
                      <a:lnTo>
                        <a:pt x="1868" y="464"/>
                      </a:lnTo>
                      <a:lnTo>
                        <a:pt x="1868" y="461"/>
                      </a:lnTo>
                      <a:lnTo>
                        <a:pt x="1867" y="458"/>
                      </a:lnTo>
                      <a:lnTo>
                        <a:pt x="1866" y="455"/>
                      </a:lnTo>
                      <a:lnTo>
                        <a:pt x="1865" y="453"/>
                      </a:lnTo>
                      <a:lnTo>
                        <a:pt x="1864" y="453"/>
                      </a:lnTo>
                      <a:lnTo>
                        <a:pt x="1863" y="453"/>
                      </a:lnTo>
                      <a:lnTo>
                        <a:pt x="1863" y="454"/>
                      </a:lnTo>
                      <a:lnTo>
                        <a:pt x="1863" y="455"/>
                      </a:lnTo>
                      <a:lnTo>
                        <a:pt x="1863" y="455"/>
                      </a:lnTo>
                      <a:lnTo>
                        <a:pt x="1863" y="457"/>
                      </a:lnTo>
                      <a:lnTo>
                        <a:pt x="1862" y="458"/>
                      </a:lnTo>
                      <a:lnTo>
                        <a:pt x="1862" y="460"/>
                      </a:lnTo>
                      <a:lnTo>
                        <a:pt x="1862" y="461"/>
                      </a:lnTo>
                      <a:lnTo>
                        <a:pt x="1860" y="461"/>
                      </a:lnTo>
                      <a:lnTo>
                        <a:pt x="1859" y="458"/>
                      </a:lnTo>
                      <a:lnTo>
                        <a:pt x="1858" y="456"/>
                      </a:lnTo>
                      <a:lnTo>
                        <a:pt x="1857" y="454"/>
                      </a:lnTo>
                      <a:lnTo>
                        <a:pt x="1856" y="453"/>
                      </a:lnTo>
                      <a:lnTo>
                        <a:pt x="1855" y="451"/>
                      </a:lnTo>
                      <a:lnTo>
                        <a:pt x="1854" y="451"/>
                      </a:lnTo>
                      <a:lnTo>
                        <a:pt x="1853" y="453"/>
                      </a:lnTo>
                      <a:lnTo>
                        <a:pt x="1853" y="453"/>
                      </a:lnTo>
                      <a:lnTo>
                        <a:pt x="1853" y="456"/>
                      </a:lnTo>
                      <a:lnTo>
                        <a:pt x="1853" y="458"/>
                      </a:lnTo>
                      <a:lnTo>
                        <a:pt x="1854" y="460"/>
                      </a:lnTo>
                      <a:lnTo>
                        <a:pt x="1854" y="464"/>
                      </a:lnTo>
                      <a:lnTo>
                        <a:pt x="1854" y="465"/>
                      </a:lnTo>
                      <a:lnTo>
                        <a:pt x="1853" y="465"/>
                      </a:lnTo>
                      <a:lnTo>
                        <a:pt x="1852" y="465"/>
                      </a:lnTo>
                      <a:lnTo>
                        <a:pt x="1851" y="465"/>
                      </a:lnTo>
                      <a:lnTo>
                        <a:pt x="1848" y="467"/>
                      </a:lnTo>
                      <a:lnTo>
                        <a:pt x="1847" y="467"/>
                      </a:lnTo>
                      <a:lnTo>
                        <a:pt x="1846" y="466"/>
                      </a:lnTo>
                      <a:lnTo>
                        <a:pt x="1844" y="464"/>
                      </a:lnTo>
                      <a:lnTo>
                        <a:pt x="1843" y="461"/>
                      </a:lnTo>
                      <a:lnTo>
                        <a:pt x="1842" y="458"/>
                      </a:lnTo>
                      <a:lnTo>
                        <a:pt x="1841" y="456"/>
                      </a:lnTo>
                      <a:lnTo>
                        <a:pt x="1838" y="453"/>
                      </a:lnTo>
                      <a:lnTo>
                        <a:pt x="1832" y="444"/>
                      </a:lnTo>
                      <a:lnTo>
                        <a:pt x="1826" y="434"/>
                      </a:lnTo>
                      <a:lnTo>
                        <a:pt x="1825" y="432"/>
                      </a:lnTo>
                      <a:lnTo>
                        <a:pt x="1824" y="429"/>
                      </a:lnTo>
                      <a:lnTo>
                        <a:pt x="1825" y="427"/>
                      </a:lnTo>
                      <a:lnTo>
                        <a:pt x="1825" y="424"/>
                      </a:lnTo>
                      <a:lnTo>
                        <a:pt x="1825" y="422"/>
                      </a:lnTo>
                      <a:lnTo>
                        <a:pt x="1824" y="418"/>
                      </a:lnTo>
                      <a:lnTo>
                        <a:pt x="1818" y="412"/>
                      </a:lnTo>
                      <a:lnTo>
                        <a:pt x="1816" y="410"/>
                      </a:lnTo>
                      <a:lnTo>
                        <a:pt x="1814" y="407"/>
                      </a:lnTo>
                      <a:lnTo>
                        <a:pt x="1814" y="406"/>
                      </a:lnTo>
                      <a:lnTo>
                        <a:pt x="1813" y="404"/>
                      </a:lnTo>
                      <a:lnTo>
                        <a:pt x="1812" y="402"/>
                      </a:lnTo>
                      <a:lnTo>
                        <a:pt x="1811" y="399"/>
                      </a:lnTo>
                      <a:lnTo>
                        <a:pt x="1810" y="396"/>
                      </a:lnTo>
                      <a:lnTo>
                        <a:pt x="1809" y="393"/>
                      </a:lnTo>
                      <a:lnTo>
                        <a:pt x="1808" y="390"/>
                      </a:lnTo>
                      <a:lnTo>
                        <a:pt x="1806" y="386"/>
                      </a:lnTo>
                      <a:lnTo>
                        <a:pt x="1805" y="384"/>
                      </a:lnTo>
                      <a:lnTo>
                        <a:pt x="1806" y="382"/>
                      </a:lnTo>
                      <a:lnTo>
                        <a:pt x="1808" y="381"/>
                      </a:lnTo>
                      <a:lnTo>
                        <a:pt x="1810" y="380"/>
                      </a:lnTo>
                      <a:lnTo>
                        <a:pt x="1811" y="380"/>
                      </a:lnTo>
                      <a:close/>
                      <a:moveTo>
                        <a:pt x="428" y="372"/>
                      </a:moveTo>
                      <a:lnTo>
                        <a:pt x="436" y="374"/>
                      </a:lnTo>
                      <a:lnTo>
                        <a:pt x="440" y="378"/>
                      </a:lnTo>
                      <a:lnTo>
                        <a:pt x="446" y="384"/>
                      </a:lnTo>
                      <a:lnTo>
                        <a:pt x="450" y="390"/>
                      </a:lnTo>
                      <a:lnTo>
                        <a:pt x="454" y="396"/>
                      </a:lnTo>
                      <a:lnTo>
                        <a:pt x="455" y="403"/>
                      </a:lnTo>
                      <a:lnTo>
                        <a:pt x="450" y="411"/>
                      </a:lnTo>
                      <a:lnTo>
                        <a:pt x="443" y="417"/>
                      </a:lnTo>
                      <a:lnTo>
                        <a:pt x="434" y="420"/>
                      </a:lnTo>
                      <a:lnTo>
                        <a:pt x="423" y="418"/>
                      </a:lnTo>
                      <a:lnTo>
                        <a:pt x="413" y="416"/>
                      </a:lnTo>
                      <a:lnTo>
                        <a:pt x="404" y="413"/>
                      </a:lnTo>
                      <a:lnTo>
                        <a:pt x="398" y="410"/>
                      </a:lnTo>
                      <a:lnTo>
                        <a:pt x="397" y="405"/>
                      </a:lnTo>
                      <a:lnTo>
                        <a:pt x="398" y="399"/>
                      </a:lnTo>
                      <a:lnTo>
                        <a:pt x="402" y="392"/>
                      </a:lnTo>
                      <a:lnTo>
                        <a:pt x="406" y="385"/>
                      </a:lnTo>
                      <a:lnTo>
                        <a:pt x="409" y="380"/>
                      </a:lnTo>
                      <a:lnTo>
                        <a:pt x="414" y="374"/>
                      </a:lnTo>
                      <a:lnTo>
                        <a:pt x="420" y="372"/>
                      </a:lnTo>
                      <a:lnTo>
                        <a:pt x="428" y="372"/>
                      </a:lnTo>
                      <a:close/>
                      <a:moveTo>
                        <a:pt x="1855" y="372"/>
                      </a:moveTo>
                      <a:lnTo>
                        <a:pt x="1856" y="373"/>
                      </a:lnTo>
                      <a:lnTo>
                        <a:pt x="1857" y="374"/>
                      </a:lnTo>
                      <a:lnTo>
                        <a:pt x="1858" y="375"/>
                      </a:lnTo>
                      <a:lnTo>
                        <a:pt x="1859" y="378"/>
                      </a:lnTo>
                      <a:lnTo>
                        <a:pt x="1860" y="379"/>
                      </a:lnTo>
                      <a:lnTo>
                        <a:pt x="1862" y="381"/>
                      </a:lnTo>
                      <a:lnTo>
                        <a:pt x="1863" y="383"/>
                      </a:lnTo>
                      <a:lnTo>
                        <a:pt x="1864" y="385"/>
                      </a:lnTo>
                      <a:lnTo>
                        <a:pt x="1866" y="386"/>
                      </a:lnTo>
                      <a:lnTo>
                        <a:pt x="1868" y="389"/>
                      </a:lnTo>
                      <a:lnTo>
                        <a:pt x="1869" y="390"/>
                      </a:lnTo>
                      <a:lnTo>
                        <a:pt x="1869" y="390"/>
                      </a:lnTo>
                      <a:lnTo>
                        <a:pt x="1870" y="389"/>
                      </a:lnTo>
                      <a:lnTo>
                        <a:pt x="1870" y="388"/>
                      </a:lnTo>
                      <a:lnTo>
                        <a:pt x="1870" y="388"/>
                      </a:lnTo>
                      <a:lnTo>
                        <a:pt x="1870" y="386"/>
                      </a:lnTo>
                      <a:lnTo>
                        <a:pt x="1871" y="385"/>
                      </a:lnTo>
                      <a:lnTo>
                        <a:pt x="1871" y="385"/>
                      </a:lnTo>
                      <a:lnTo>
                        <a:pt x="1873" y="386"/>
                      </a:lnTo>
                      <a:lnTo>
                        <a:pt x="1876" y="389"/>
                      </a:lnTo>
                      <a:lnTo>
                        <a:pt x="1876" y="390"/>
                      </a:lnTo>
                      <a:lnTo>
                        <a:pt x="1876" y="389"/>
                      </a:lnTo>
                      <a:lnTo>
                        <a:pt x="1876" y="389"/>
                      </a:lnTo>
                      <a:lnTo>
                        <a:pt x="1876" y="388"/>
                      </a:lnTo>
                      <a:lnTo>
                        <a:pt x="1876" y="386"/>
                      </a:lnTo>
                      <a:lnTo>
                        <a:pt x="1876" y="386"/>
                      </a:lnTo>
                      <a:lnTo>
                        <a:pt x="1876" y="385"/>
                      </a:lnTo>
                      <a:lnTo>
                        <a:pt x="1876" y="383"/>
                      </a:lnTo>
                      <a:lnTo>
                        <a:pt x="1876" y="382"/>
                      </a:lnTo>
                      <a:lnTo>
                        <a:pt x="1877" y="381"/>
                      </a:lnTo>
                      <a:lnTo>
                        <a:pt x="1878" y="382"/>
                      </a:lnTo>
                      <a:lnTo>
                        <a:pt x="1880" y="383"/>
                      </a:lnTo>
                      <a:lnTo>
                        <a:pt x="1882" y="384"/>
                      </a:lnTo>
                      <a:lnTo>
                        <a:pt x="1885" y="386"/>
                      </a:lnTo>
                      <a:lnTo>
                        <a:pt x="1886" y="390"/>
                      </a:lnTo>
                      <a:lnTo>
                        <a:pt x="1887" y="392"/>
                      </a:lnTo>
                      <a:lnTo>
                        <a:pt x="1887" y="393"/>
                      </a:lnTo>
                      <a:lnTo>
                        <a:pt x="1887" y="395"/>
                      </a:lnTo>
                      <a:lnTo>
                        <a:pt x="1887" y="396"/>
                      </a:lnTo>
                      <a:lnTo>
                        <a:pt x="1887" y="399"/>
                      </a:lnTo>
                      <a:lnTo>
                        <a:pt x="1887" y="400"/>
                      </a:lnTo>
                      <a:lnTo>
                        <a:pt x="1888" y="402"/>
                      </a:lnTo>
                      <a:lnTo>
                        <a:pt x="1889" y="402"/>
                      </a:lnTo>
                      <a:lnTo>
                        <a:pt x="1890" y="402"/>
                      </a:lnTo>
                      <a:lnTo>
                        <a:pt x="1890" y="400"/>
                      </a:lnTo>
                      <a:lnTo>
                        <a:pt x="1890" y="399"/>
                      </a:lnTo>
                      <a:lnTo>
                        <a:pt x="1889" y="396"/>
                      </a:lnTo>
                      <a:lnTo>
                        <a:pt x="1889" y="395"/>
                      </a:lnTo>
                      <a:lnTo>
                        <a:pt x="1890" y="394"/>
                      </a:lnTo>
                      <a:lnTo>
                        <a:pt x="1890" y="393"/>
                      </a:lnTo>
                      <a:lnTo>
                        <a:pt x="1892" y="393"/>
                      </a:lnTo>
                      <a:lnTo>
                        <a:pt x="1893" y="393"/>
                      </a:lnTo>
                      <a:lnTo>
                        <a:pt x="1901" y="400"/>
                      </a:lnTo>
                      <a:lnTo>
                        <a:pt x="1902" y="402"/>
                      </a:lnTo>
                      <a:lnTo>
                        <a:pt x="1904" y="404"/>
                      </a:lnTo>
                      <a:lnTo>
                        <a:pt x="1906" y="405"/>
                      </a:lnTo>
                      <a:lnTo>
                        <a:pt x="1908" y="406"/>
                      </a:lnTo>
                      <a:lnTo>
                        <a:pt x="1910" y="407"/>
                      </a:lnTo>
                      <a:lnTo>
                        <a:pt x="1913" y="409"/>
                      </a:lnTo>
                      <a:lnTo>
                        <a:pt x="1915" y="410"/>
                      </a:lnTo>
                      <a:lnTo>
                        <a:pt x="1918" y="411"/>
                      </a:lnTo>
                      <a:lnTo>
                        <a:pt x="1920" y="413"/>
                      </a:lnTo>
                      <a:lnTo>
                        <a:pt x="1922" y="414"/>
                      </a:lnTo>
                      <a:lnTo>
                        <a:pt x="1923" y="416"/>
                      </a:lnTo>
                      <a:lnTo>
                        <a:pt x="1923" y="417"/>
                      </a:lnTo>
                      <a:lnTo>
                        <a:pt x="1923" y="418"/>
                      </a:lnTo>
                      <a:lnTo>
                        <a:pt x="1922" y="420"/>
                      </a:lnTo>
                      <a:lnTo>
                        <a:pt x="1922" y="421"/>
                      </a:lnTo>
                      <a:lnTo>
                        <a:pt x="1922" y="422"/>
                      </a:lnTo>
                      <a:lnTo>
                        <a:pt x="1922" y="423"/>
                      </a:lnTo>
                      <a:lnTo>
                        <a:pt x="1923" y="424"/>
                      </a:lnTo>
                      <a:lnTo>
                        <a:pt x="1924" y="426"/>
                      </a:lnTo>
                      <a:lnTo>
                        <a:pt x="1925" y="428"/>
                      </a:lnTo>
                      <a:lnTo>
                        <a:pt x="1925" y="429"/>
                      </a:lnTo>
                      <a:lnTo>
                        <a:pt x="1924" y="431"/>
                      </a:lnTo>
                      <a:lnTo>
                        <a:pt x="1924" y="432"/>
                      </a:lnTo>
                      <a:lnTo>
                        <a:pt x="1924" y="433"/>
                      </a:lnTo>
                      <a:lnTo>
                        <a:pt x="1922" y="435"/>
                      </a:lnTo>
                      <a:lnTo>
                        <a:pt x="1922" y="437"/>
                      </a:lnTo>
                      <a:lnTo>
                        <a:pt x="1922" y="439"/>
                      </a:lnTo>
                      <a:lnTo>
                        <a:pt x="1921" y="442"/>
                      </a:lnTo>
                      <a:lnTo>
                        <a:pt x="1921" y="444"/>
                      </a:lnTo>
                      <a:lnTo>
                        <a:pt x="1920" y="446"/>
                      </a:lnTo>
                      <a:lnTo>
                        <a:pt x="1920" y="448"/>
                      </a:lnTo>
                      <a:lnTo>
                        <a:pt x="1920" y="449"/>
                      </a:lnTo>
                      <a:lnTo>
                        <a:pt x="1919" y="450"/>
                      </a:lnTo>
                      <a:lnTo>
                        <a:pt x="1917" y="450"/>
                      </a:lnTo>
                      <a:lnTo>
                        <a:pt x="1914" y="450"/>
                      </a:lnTo>
                      <a:lnTo>
                        <a:pt x="1913" y="449"/>
                      </a:lnTo>
                      <a:lnTo>
                        <a:pt x="1911" y="448"/>
                      </a:lnTo>
                      <a:lnTo>
                        <a:pt x="1909" y="447"/>
                      </a:lnTo>
                      <a:lnTo>
                        <a:pt x="1907" y="445"/>
                      </a:lnTo>
                      <a:lnTo>
                        <a:pt x="1906" y="444"/>
                      </a:lnTo>
                      <a:lnTo>
                        <a:pt x="1902" y="442"/>
                      </a:lnTo>
                      <a:lnTo>
                        <a:pt x="1899" y="439"/>
                      </a:lnTo>
                      <a:lnTo>
                        <a:pt x="1896" y="437"/>
                      </a:lnTo>
                      <a:lnTo>
                        <a:pt x="1889" y="436"/>
                      </a:lnTo>
                      <a:lnTo>
                        <a:pt x="1882" y="434"/>
                      </a:lnTo>
                      <a:lnTo>
                        <a:pt x="1876" y="428"/>
                      </a:lnTo>
                      <a:lnTo>
                        <a:pt x="1875" y="427"/>
                      </a:lnTo>
                      <a:lnTo>
                        <a:pt x="1874" y="425"/>
                      </a:lnTo>
                      <a:lnTo>
                        <a:pt x="1874" y="424"/>
                      </a:lnTo>
                      <a:lnTo>
                        <a:pt x="1873" y="422"/>
                      </a:lnTo>
                      <a:lnTo>
                        <a:pt x="1873" y="421"/>
                      </a:lnTo>
                      <a:lnTo>
                        <a:pt x="1873" y="420"/>
                      </a:lnTo>
                      <a:lnTo>
                        <a:pt x="1878" y="422"/>
                      </a:lnTo>
                      <a:lnTo>
                        <a:pt x="1878" y="422"/>
                      </a:lnTo>
                      <a:lnTo>
                        <a:pt x="1878" y="421"/>
                      </a:lnTo>
                      <a:lnTo>
                        <a:pt x="1878" y="420"/>
                      </a:lnTo>
                      <a:lnTo>
                        <a:pt x="1877" y="418"/>
                      </a:lnTo>
                      <a:lnTo>
                        <a:pt x="1877" y="417"/>
                      </a:lnTo>
                      <a:lnTo>
                        <a:pt x="1878" y="417"/>
                      </a:lnTo>
                      <a:lnTo>
                        <a:pt x="1879" y="417"/>
                      </a:lnTo>
                      <a:lnTo>
                        <a:pt x="1880" y="417"/>
                      </a:lnTo>
                      <a:lnTo>
                        <a:pt x="1880" y="417"/>
                      </a:lnTo>
                      <a:lnTo>
                        <a:pt x="1881" y="417"/>
                      </a:lnTo>
                      <a:lnTo>
                        <a:pt x="1880" y="416"/>
                      </a:lnTo>
                      <a:lnTo>
                        <a:pt x="1880" y="415"/>
                      </a:lnTo>
                      <a:lnTo>
                        <a:pt x="1879" y="413"/>
                      </a:lnTo>
                      <a:lnTo>
                        <a:pt x="1878" y="411"/>
                      </a:lnTo>
                      <a:lnTo>
                        <a:pt x="1877" y="410"/>
                      </a:lnTo>
                      <a:lnTo>
                        <a:pt x="1875" y="409"/>
                      </a:lnTo>
                      <a:lnTo>
                        <a:pt x="1874" y="409"/>
                      </a:lnTo>
                      <a:lnTo>
                        <a:pt x="1871" y="409"/>
                      </a:lnTo>
                      <a:lnTo>
                        <a:pt x="1870" y="409"/>
                      </a:lnTo>
                      <a:lnTo>
                        <a:pt x="1869" y="410"/>
                      </a:lnTo>
                      <a:lnTo>
                        <a:pt x="1868" y="411"/>
                      </a:lnTo>
                      <a:lnTo>
                        <a:pt x="1867" y="412"/>
                      </a:lnTo>
                      <a:lnTo>
                        <a:pt x="1866" y="412"/>
                      </a:lnTo>
                      <a:lnTo>
                        <a:pt x="1864" y="411"/>
                      </a:lnTo>
                      <a:lnTo>
                        <a:pt x="1863" y="411"/>
                      </a:lnTo>
                      <a:lnTo>
                        <a:pt x="1862" y="411"/>
                      </a:lnTo>
                      <a:lnTo>
                        <a:pt x="1862" y="410"/>
                      </a:lnTo>
                      <a:lnTo>
                        <a:pt x="1860" y="409"/>
                      </a:lnTo>
                      <a:lnTo>
                        <a:pt x="1859" y="406"/>
                      </a:lnTo>
                      <a:lnTo>
                        <a:pt x="1858" y="405"/>
                      </a:lnTo>
                      <a:lnTo>
                        <a:pt x="1857" y="404"/>
                      </a:lnTo>
                      <a:lnTo>
                        <a:pt x="1856" y="402"/>
                      </a:lnTo>
                      <a:lnTo>
                        <a:pt x="1855" y="400"/>
                      </a:lnTo>
                      <a:lnTo>
                        <a:pt x="1855" y="400"/>
                      </a:lnTo>
                      <a:lnTo>
                        <a:pt x="1855" y="399"/>
                      </a:lnTo>
                      <a:lnTo>
                        <a:pt x="1856" y="398"/>
                      </a:lnTo>
                      <a:lnTo>
                        <a:pt x="1856" y="398"/>
                      </a:lnTo>
                      <a:lnTo>
                        <a:pt x="1857" y="398"/>
                      </a:lnTo>
                      <a:lnTo>
                        <a:pt x="1856" y="396"/>
                      </a:lnTo>
                      <a:lnTo>
                        <a:pt x="1855" y="394"/>
                      </a:lnTo>
                      <a:lnTo>
                        <a:pt x="1854" y="392"/>
                      </a:lnTo>
                      <a:lnTo>
                        <a:pt x="1852" y="390"/>
                      </a:lnTo>
                      <a:lnTo>
                        <a:pt x="1849" y="389"/>
                      </a:lnTo>
                      <a:lnTo>
                        <a:pt x="1848" y="389"/>
                      </a:lnTo>
                      <a:lnTo>
                        <a:pt x="1846" y="386"/>
                      </a:lnTo>
                      <a:lnTo>
                        <a:pt x="1845" y="385"/>
                      </a:lnTo>
                      <a:lnTo>
                        <a:pt x="1845" y="383"/>
                      </a:lnTo>
                      <a:lnTo>
                        <a:pt x="1845" y="382"/>
                      </a:lnTo>
                      <a:lnTo>
                        <a:pt x="1846" y="381"/>
                      </a:lnTo>
                      <a:lnTo>
                        <a:pt x="1847" y="381"/>
                      </a:lnTo>
                      <a:lnTo>
                        <a:pt x="1848" y="382"/>
                      </a:lnTo>
                      <a:lnTo>
                        <a:pt x="1851" y="383"/>
                      </a:lnTo>
                      <a:lnTo>
                        <a:pt x="1853" y="384"/>
                      </a:lnTo>
                      <a:lnTo>
                        <a:pt x="1854" y="385"/>
                      </a:lnTo>
                      <a:lnTo>
                        <a:pt x="1855" y="385"/>
                      </a:lnTo>
                      <a:lnTo>
                        <a:pt x="1855" y="385"/>
                      </a:lnTo>
                      <a:lnTo>
                        <a:pt x="1855" y="384"/>
                      </a:lnTo>
                      <a:lnTo>
                        <a:pt x="1855" y="382"/>
                      </a:lnTo>
                      <a:lnTo>
                        <a:pt x="1855" y="381"/>
                      </a:lnTo>
                      <a:lnTo>
                        <a:pt x="1855" y="380"/>
                      </a:lnTo>
                      <a:lnTo>
                        <a:pt x="1854" y="379"/>
                      </a:lnTo>
                      <a:lnTo>
                        <a:pt x="1854" y="378"/>
                      </a:lnTo>
                      <a:lnTo>
                        <a:pt x="1854" y="378"/>
                      </a:lnTo>
                      <a:lnTo>
                        <a:pt x="1854" y="377"/>
                      </a:lnTo>
                      <a:lnTo>
                        <a:pt x="1855" y="375"/>
                      </a:lnTo>
                      <a:lnTo>
                        <a:pt x="1854" y="373"/>
                      </a:lnTo>
                      <a:lnTo>
                        <a:pt x="1854" y="372"/>
                      </a:lnTo>
                      <a:lnTo>
                        <a:pt x="1855" y="372"/>
                      </a:lnTo>
                      <a:close/>
                      <a:moveTo>
                        <a:pt x="1843" y="361"/>
                      </a:moveTo>
                      <a:lnTo>
                        <a:pt x="1844" y="361"/>
                      </a:lnTo>
                      <a:lnTo>
                        <a:pt x="1845" y="361"/>
                      </a:lnTo>
                      <a:lnTo>
                        <a:pt x="1847" y="362"/>
                      </a:lnTo>
                      <a:lnTo>
                        <a:pt x="1849" y="363"/>
                      </a:lnTo>
                      <a:lnTo>
                        <a:pt x="1853" y="367"/>
                      </a:lnTo>
                      <a:lnTo>
                        <a:pt x="1852" y="368"/>
                      </a:lnTo>
                      <a:lnTo>
                        <a:pt x="1851" y="368"/>
                      </a:lnTo>
                      <a:lnTo>
                        <a:pt x="1849" y="367"/>
                      </a:lnTo>
                      <a:lnTo>
                        <a:pt x="1848" y="367"/>
                      </a:lnTo>
                      <a:lnTo>
                        <a:pt x="1846" y="366"/>
                      </a:lnTo>
                      <a:lnTo>
                        <a:pt x="1845" y="364"/>
                      </a:lnTo>
                      <a:lnTo>
                        <a:pt x="1844" y="363"/>
                      </a:lnTo>
                      <a:lnTo>
                        <a:pt x="1843" y="362"/>
                      </a:lnTo>
                      <a:lnTo>
                        <a:pt x="1843" y="362"/>
                      </a:lnTo>
                      <a:lnTo>
                        <a:pt x="1843" y="361"/>
                      </a:lnTo>
                      <a:lnTo>
                        <a:pt x="1843" y="361"/>
                      </a:lnTo>
                      <a:close/>
                      <a:moveTo>
                        <a:pt x="431" y="352"/>
                      </a:moveTo>
                      <a:lnTo>
                        <a:pt x="437" y="352"/>
                      </a:lnTo>
                      <a:lnTo>
                        <a:pt x="441" y="353"/>
                      </a:lnTo>
                      <a:lnTo>
                        <a:pt x="444" y="355"/>
                      </a:lnTo>
                      <a:lnTo>
                        <a:pt x="439" y="358"/>
                      </a:lnTo>
                      <a:lnTo>
                        <a:pt x="433" y="359"/>
                      </a:lnTo>
                      <a:lnTo>
                        <a:pt x="427" y="358"/>
                      </a:lnTo>
                      <a:lnTo>
                        <a:pt x="425" y="355"/>
                      </a:lnTo>
                      <a:lnTo>
                        <a:pt x="427" y="353"/>
                      </a:lnTo>
                      <a:lnTo>
                        <a:pt x="431" y="352"/>
                      </a:lnTo>
                      <a:close/>
                      <a:moveTo>
                        <a:pt x="133" y="345"/>
                      </a:moveTo>
                      <a:lnTo>
                        <a:pt x="134" y="345"/>
                      </a:lnTo>
                      <a:lnTo>
                        <a:pt x="135" y="346"/>
                      </a:lnTo>
                      <a:lnTo>
                        <a:pt x="135" y="347"/>
                      </a:lnTo>
                      <a:lnTo>
                        <a:pt x="136" y="348"/>
                      </a:lnTo>
                      <a:lnTo>
                        <a:pt x="136" y="350"/>
                      </a:lnTo>
                      <a:lnTo>
                        <a:pt x="138" y="352"/>
                      </a:lnTo>
                      <a:lnTo>
                        <a:pt x="136" y="355"/>
                      </a:lnTo>
                      <a:lnTo>
                        <a:pt x="136" y="356"/>
                      </a:lnTo>
                      <a:lnTo>
                        <a:pt x="135" y="357"/>
                      </a:lnTo>
                      <a:lnTo>
                        <a:pt x="132" y="358"/>
                      </a:lnTo>
                      <a:lnTo>
                        <a:pt x="129" y="359"/>
                      </a:lnTo>
                      <a:lnTo>
                        <a:pt x="125" y="360"/>
                      </a:lnTo>
                      <a:lnTo>
                        <a:pt x="122" y="360"/>
                      </a:lnTo>
                      <a:lnTo>
                        <a:pt x="121" y="358"/>
                      </a:lnTo>
                      <a:lnTo>
                        <a:pt x="120" y="355"/>
                      </a:lnTo>
                      <a:lnTo>
                        <a:pt x="120" y="352"/>
                      </a:lnTo>
                      <a:lnTo>
                        <a:pt x="122" y="349"/>
                      </a:lnTo>
                      <a:lnTo>
                        <a:pt x="124" y="347"/>
                      </a:lnTo>
                      <a:lnTo>
                        <a:pt x="127" y="347"/>
                      </a:lnTo>
                      <a:lnTo>
                        <a:pt x="128" y="347"/>
                      </a:lnTo>
                      <a:lnTo>
                        <a:pt x="130" y="346"/>
                      </a:lnTo>
                      <a:lnTo>
                        <a:pt x="131" y="345"/>
                      </a:lnTo>
                      <a:lnTo>
                        <a:pt x="133" y="345"/>
                      </a:lnTo>
                      <a:close/>
                      <a:moveTo>
                        <a:pt x="696" y="334"/>
                      </a:moveTo>
                      <a:lnTo>
                        <a:pt x="698" y="335"/>
                      </a:lnTo>
                      <a:lnTo>
                        <a:pt x="699" y="337"/>
                      </a:lnTo>
                      <a:lnTo>
                        <a:pt x="699" y="339"/>
                      </a:lnTo>
                      <a:lnTo>
                        <a:pt x="699" y="341"/>
                      </a:lnTo>
                      <a:lnTo>
                        <a:pt x="698" y="344"/>
                      </a:lnTo>
                      <a:lnTo>
                        <a:pt x="697" y="347"/>
                      </a:lnTo>
                      <a:lnTo>
                        <a:pt x="695" y="348"/>
                      </a:lnTo>
                      <a:lnTo>
                        <a:pt x="692" y="350"/>
                      </a:lnTo>
                      <a:lnTo>
                        <a:pt x="689" y="350"/>
                      </a:lnTo>
                      <a:lnTo>
                        <a:pt x="686" y="349"/>
                      </a:lnTo>
                      <a:lnTo>
                        <a:pt x="684" y="348"/>
                      </a:lnTo>
                      <a:lnTo>
                        <a:pt x="681" y="347"/>
                      </a:lnTo>
                      <a:lnTo>
                        <a:pt x="680" y="346"/>
                      </a:lnTo>
                      <a:lnTo>
                        <a:pt x="680" y="344"/>
                      </a:lnTo>
                      <a:lnTo>
                        <a:pt x="681" y="341"/>
                      </a:lnTo>
                      <a:lnTo>
                        <a:pt x="685" y="340"/>
                      </a:lnTo>
                      <a:lnTo>
                        <a:pt x="686" y="339"/>
                      </a:lnTo>
                      <a:lnTo>
                        <a:pt x="688" y="337"/>
                      </a:lnTo>
                      <a:lnTo>
                        <a:pt x="690" y="336"/>
                      </a:lnTo>
                      <a:lnTo>
                        <a:pt x="692" y="335"/>
                      </a:lnTo>
                      <a:lnTo>
                        <a:pt x="694" y="334"/>
                      </a:lnTo>
                      <a:lnTo>
                        <a:pt x="696" y="334"/>
                      </a:lnTo>
                      <a:close/>
                      <a:moveTo>
                        <a:pt x="281" y="331"/>
                      </a:moveTo>
                      <a:lnTo>
                        <a:pt x="282" y="333"/>
                      </a:lnTo>
                      <a:lnTo>
                        <a:pt x="283" y="333"/>
                      </a:lnTo>
                      <a:lnTo>
                        <a:pt x="283" y="333"/>
                      </a:lnTo>
                      <a:lnTo>
                        <a:pt x="284" y="333"/>
                      </a:lnTo>
                      <a:lnTo>
                        <a:pt x="285" y="331"/>
                      </a:lnTo>
                      <a:lnTo>
                        <a:pt x="288" y="335"/>
                      </a:lnTo>
                      <a:lnTo>
                        <a:pt x="292" y="336"/>
                      </a:lnTo>
                      <a:lnTo>
                        <a:pt x="294" y="337"/>
                      </a:lnTo>
                      <a:lnTo>
                        <a:pt x="296" y="339"/>
                      </a:lnTo>
                      <a:lnTo>
                        <a:pt x="298" y="340"/>
                      </a:lnTo>
                      <a:lnTo>
                        <a:pt x="300" y="341"/>
                      </a:lnTo>
                      <a:lnTo>
                        <a:pt x="303" y="342"/>
                      </a:lnTo>
                      <a:lnTo>
                        <a:pt x="303" y="345"/>
                      </a:lnTo>
                      <a:lnTo>
                        <a:pt x="302" y="347"/>
                      </a:lnTo>
                      <a:lnTo>
                        <a:pt x="299" y="348"/>
                      </a:lnTo>
                      <a:lnTo>
                        <a:pt x="296" y="349"/>
                      </a:lnTo>
                      <a:lnTo>
                        <a:pt x="294" y="350"/>
                      </a:lnTo>
                      <a:lnTo>
                        <a:pt x="292" y="350"/>
                      </a:lnTo>
                      <a:lnTo>
                        <a:pt x="288" y="350"/>
                      </a:lnTo>
                      <a:lnTo>
                        <a:pt x="285" y="349"/>
                      </a:lnTo>
                      <a:lnTo>
                        <a:pt x="282" y="348"/>
                      </a:lnTo>
                      <a:lnTo>
                        <a:pt x="278" y="347"/>
                      </a:lnTo>
                      <a:lnTo>
                        <a:pt x="277" y="345"/>
                      </a:lnTo>
                      <a:lnTo>
                        <a:pt x="276" y="342"/>
                      </a:lnTo>
                      <a:lnTo>
                        <a:pt x="277" y="340"/>
                      </a:lnTo>
                      <a:lnTo>
                        <a:pt x="277" y="337"/>
                      </a:lnTo>
                      <a:lnTo>
                        <a:pt x="280" y="335"/>
                      </a:lnTo>
                      <a:lnTo>
                        <a:pt x="281" y="331"/>
                      </a:lnTo>
                      <a:close/>
                      <a:moveTo>
                        <a:pt x="210" y="326"/>
                      </a:moveTo>
                      <a:lnTo>
                        <a:pt x="212" y="327"/>
                      </a:lnTo>
                      <a:lnTo>
                        <a:pt x="215" y="331"/>
                      </a:lnTo>
                      <a:lnTo>
                        <a:pt x="214" y="336"/>
                      </a:lnTo>
                      <a:lnTo>
                        <a:pt x="211" y="342"/>
                      </a:lnTo>
                      <a:lnTo>
                        <a:pt x="210" y="347"/>
                      </a:lnTo>
                      <a:lnTo>
                        <a:pt x="211" y="350"/>
                      </a:lnTo>
                      <a:lnTo>
                        <a:pt x="211" y="352"/>
                      </a:lnTo>
                      <a:lnTo>
                        <a:pt x="211" y="353"/>
                      </a:lnTo>
                      <a:lnTo>
                        <a:pt x="211" y="356"/>
                      </a:lnTo>
                      <a:lnTo>
                        <a:pt x="210" y="359"/>
                      </a:lnTo>
                      <a:lnTo>
                        <a:pt x="210" y="361"/>
                      </a:lnTo>
                      <a:lnTo>
                        <a:pt x="210" y="363"/>
                      </a:lnTo>
                      <a:lnTo>
                        <a:pt x="211" y="364"/>
                      </a:lnTo>
                      <a:lnTo>
                        <a:pt x="212" y="364"/>
                      </a:lnTo>
                      <a:lnTo>
                        <a:pt x="215" y="366"/>
                      </a:lnTo>
                      <a:lnTo>
                        <a:pt x="218" y="366"/>
                      </a:lnTo>
                      <a:lnTo>
                        <a:pt x="219" y="367"/>
                      </a:lnTo>
                      <a:lnTo>
                        <a:pt x="221" y="369"/>
                      </a:lnTo>
                      <a:lnTo>
                        <a:pt x="222" y="371"/>
                      </a:lnTo>
                      <a:lnTo>
                        <a:pt x="223" y="372"/>
                      </a:lnTo>
                      <a:lnTo>
                        <a:pt x="225" y="373"/>
                      </a:lnTo>
                      <a:lnTo>
                        <a:pt x="226" y="374"/>
                      </a:lnTo>
                      <a:lnTo>
                        <a:pt x="228" y="374"/>
                      </a:lnTo>
                      <a:lnTo>
                        <a:pt x="230" y="373"/>
                      </a:lnTo>
                      <a:lnTo>
                        <a:pt x="231" y="372"/>
                      </a:lnTo>
                      <a:lnTo>
                        <a:pt x="232" y="370"/>
                      </a:lnTo>
                      <a:lnTo>
                        <a:pt x="234" y="367"/>
                      </a:lnTo>
                      <a:lnTo>
                        <a:pt x="236" y="366"/>
                      </a:lnTo>
                      <a:lnTo>
                        <a:pt x="238" y="363"/>
                      </a:lnTo>
                      <a:lnTo>
                        <a:pt x="241" y="363"/>
                      </a:lnTo>
                      <a:lnTo>
                        <a:pt x="249" y="363"/>
                      </a:lnTo>
                      <a:lnTo>
                        <a:pt x="253" y="367"/>
                      </a:lnTo>
                      <a:lnTo>
                        <a:pt x="254" y="372"/>
                      </a:lnTo>
                      <a:lnTo>
                        <a:pt x="253" y="380"/>
                      </a:lnTo>
                      <a:lnTo>
                        <a:pt x="250" y="388"/>
                      </a:lnTo>
                      <a:lnTo>
                        <a:pt x="247" y="395"/>
                      </a:lnTo>
                      <a:lnTo>
                        <a:pt x="242" y="403"/>
                      </a:lnTo>
                      <a:lnTo>
                        <a:pt x="239" y="407"/>
                      </a:lnTo>
                      <a:lnTo>
                        <a:pt x="233" y="414"/>
                      </a:lnTo>
                      <a:lnTo>
                        <a:pt x="227" y="420"/>
                      </a:lnTo>
                      <a:lnTo>
                        <a:pt x="220" y="423"/>
                      </a:lnTo>
                      <a:lnTo>
                        <a:pt x="212" y="422"/>
                      </a:lnTo>
                      <a:lnTo>
                        <a:pt x="210" y="420"/>
                      </a:lnTo>
                      <a:lnTo>
                        <a:pt x="208" y="420"/>
                      </a:lnTo>
                      <a:lnTo>
                        <a:pt x="206" y="420"/>
                      </a:lnTo>
                      <a:lnTo>
                        <a:pt x="205" y="421"/>
                      </a:lnTo>
                      <a:lnTo>
                        <a:pt x="204" y="423"/>
                      </a:lnTo>
                      <a:lnTo>
                        <a:pt x="203" y="424"/>
                      </a:lnTo>
                      <a:lnTo>
                        <a:pt x="201" y="425"/>
                      </a:lnTo>
                      <a:lnTo>
                        <a:pt x="200" y="427"/>
                      </a:lnTo>
                      <a:lnTo>
                        <a:pt x="199" y="428"/>
                      </a:lnTo>
                      <a:lnTo>
                        <a:pt x="198" y="428"/>
                      </a:lnTo>
                      <a:lnTo>
                        <a:pt x="189" y="427"/>
                      </a:lnTo>
                      <a:lnTo>
                        <a:pt x="182" y="427"/>
                      </a:lnTo>
                      <a:lnTo>
                        <a:pt x="174" y="431"/>
                      </a:lnTo>
                      <a:lnTo>
                        <a:pt x="171" y="434"/>
                      </a:lnTo>
                      <a:lnTo>
                        <a:pt x="168" y="437"/>
                      </a:lnTo>
                      <a:lnTo>
                        <a:pt x="166" y="439"/>
                      </a:lnTo>
                      <a:lnTo>
                        <a:pt x="163" y="442"/>
                      </a:lnTo>
                      <a:lnTo>
                        <a:pt x="160" y="445"/>
                      </a:lnTo>
                      <a:lnTo>
                        <a:pt x="155" y="447"/>
                      </a:lnTo>
                      <a:lnTo>
                        <a:pt x="151" y="450"/>
                      </a:lnTo>
                      <a:lnTo>
                        <a:pt x="147" y="453"/>
                      </a:lnTo>
                      <a:lnTo>
                        <a:pt x="144" y="456"/>
                      </a:lnTo>
                      <a:lnTo>
                        <a:pt x="142" y="459"/>
                      </a:lnTo>
                      <a:lnTo>
                        <a:pt x="139" y="462"/>
                      </a:lnTo>
                      <a:lnTo>
                        <a:pt x="134" y="467"/>
                      </a:lnTo>
                      <a:lnTo>
                        <a:pt x="131" y="468"/>
                      </a:lnTo>
                      <a:lnTo>
                        <a:pt x="127" y="469"/>
                      </a:lnTo>
                      <a:lnTo>
                        <a:pt x="123" y="470"/>
                      </a:lnTo>
                      <a:lnTo>
                        <a:pt x="119" y="471"/>
                      </a:lnTo>
                      <a:lnTo>
                        <a:pt x="111" y="469"/>
                      </a:lnTo>
                      <a:lnTo>
                        <a:pt x="103" y="466"/>
                      </a:lnTo>
                      <a:lnTo>
                        <a:pt x="100" y="459"/>
                      </a:lnTo>
                      <a:lnTo>
                        <a:pt x="100" y="454"/>
                      </a:lnTo>
                      <a:lnTo>
                        <a:pt x="103" y="450"/>
                      </a:lnTo>
                      <a:lnTo>
                        <a:pt x="109" y="447"/>
                      </a:lnTo>
                      <a:lnTo>
                        <a:pt x="113" y="444"/>
                      </a:lnTo>
                      <a:lnTo>
                        <a:pt x="117" y="439"/>
                      </a:lnTo>
                      <a:lnTo>
                        <a:pt x="122" y="436"/>
                      </a:lnTo>
                      <a:lnTo>
                        <a:pt x="128" y="435"/>
                      </a:lnTo>
                      <a:lnTo>
                        <a:pt x="134" y="434"/>
                      </a:lnTo>
                      <a:lnTo>
                        <a:pt x="140" y="432"/>
                      </a:lnTo>
                      <a:lnTo>
                        <a:pt x="143" y="428"/>
                      </a:lnTo>
                      <a:lnTo>
                        <a:pt x="143" y="427"/>
                      </a:lnTo>
                      <a:lnTo>
                        <a:pt x="143" y="426"/>
                      </a:lnTo>
                      <a:lnTo>
                        <a:pt x="141" y="426"/>
                      </a:lnTo>
                      <a:lnTo>
                        <a:pt x="140" y="426"/>
                      </a:lnTo>
                      <a:lnTo>
                        <a:pt x="136" y="427"/>
                      </a:lnTo>
                      <a:lnTo>
                        <a:pt x="134" y="428"/>
                      </a:lnTo>
                      <a:lnTo>
                        <a:pt x="132" y="428"/>
                      </a:lnTo>
                      <a:lnTo>
                        <a:pt x="130" y="429"/>
                      </a:lnTo>
                      <a:lnTo>
                        <a:pt x="128" y="431"/>
                      </a:lnTo>
                      <a:lnTo>
                        <a:pt x="125" y="431"/>
                      </a:lnTo>
                      <a:lnTo>
                        <a:pt x="123" y="429"/>
                      </a:lnTo>
                      <a:lnTo>
                        <a:pt x="122" y="429"/>
                      </a:lnTo>
                      <a:lnTo>
                        <a:pt x="120" y="429"/>
                      </a:lnTo>
                      <a:lnTo>
                        <a:pt x="117" y="431"/>
                      </a:lnTo>
                      <a:lnTo>
                        <a:pt x="114" y="432"/>
                      </a:lnTo>
                      <a:lnTo>
                        <a:pt x="112" y="432"/>
                      </a:lnTo>
                      <a:lnTo>
                        <a:pt x="110" y="432"/>
                      </a:lnTo>
                      <a:lnTo>
                        <a:pt x="109" y="431"/>
                      </a:lnTo>
                      <a:lnTo>
                        <a:pt x="106" y="429"/>
                      </a:lnTo>
                      <a:lnTo>
                        <a:pt x="105" y="431"/>
                      </a:lnTo>
                      <a:lnTo>
                        <a:pt x="103" y="432"/>
                      </a:lnTo>
                      <a:lnTo>
                        <a:pt x="102" y="434"/>
                      </a:lnTo>
                      <a:lnTo>
                        <a:pt x="102" y="435"/>
                      </a:lnTo>
                      <a:lnTo>
                        <a:pt x="96" y="442"/>
                      </a:lnTo>
                      <a:lnTo>
                        <a:pt x="89" y="446"/>
                      </a:lnTo>
                      <a:lnTo>
                        <a:pt x="83" y="446"/>
                      </a:lnTo>
                      <a:lnTo>
                        <a:pt x="80" y="445"/>
                      </a:lnTo>
                      <a:lnTo>
                        <a:pt x="79" y="443"/>
                      </a:lnTo>
                      <a:lnTo>
                        <a:pt x="79" y="440"/>
                      </a:lnTo>
                      <a:lnTo>
                        <a:pt x="79" y="438"/>
                      </a:lnTo>
                      <a:lnTo>
                        <a:pt x="78" y="437"/>
                      </a:lnTo>
                      <a:lnTo>
                        <a:pt x="77" y="436"/>
                      </a:lnTo>
                      <a:lnTo>
                        <a:pt x="76" y="436"/>
                      </a:lnTo>
                      <a:lnTo>
                        <a:pt x="74" y="436"/>
                      </a:lnTo>
                      <a:lnTo>
                        <a:pt x="72" y="437"/>
                      </a:lnTo>
                      <a:lnTo>
                        <a:pt x="69" y="437"/>
                      </a:lnTo>
                      <a:lnTo>
                        <a:pt x="67" y="437"/>
                      </a:lnTo>
                      <a:lnTo>
                        <a:pt x="65" y="436"/>
                      </a:lnTo>
                      <a:lnTo>
                        <a:pt x="63" y="436"/>
                      </a:lnTo>
                      <a:lnTo>
                        <a:pt x="62" y="435"/>
                      </a:lnTo>
                      <a:lnTo>
                        <a:pt x="60" y="433"/>
                      </a:lnTo>
                      <a:lnTo>
                        <a:pt x="59" y="432"/>
                      </a:lnTo>
                      <a:lnTo>
                        <a:pt x="60" y="429"/>
                      </a:lnTo>
                      <a:lnTo>
                        <a:pt x="62" y="426"/>
                      </a:lnTo>
                      <a:lnTo>
                        <a:pt x="65" y="424"/>
                      </a:lnTo>
                      <a:lnTo>
                        <a:pt x="73" y="418"/>
                      </a:lnTo>
                      <a:lnTo>
                        <a:pt x="81" y="416"/>
                      </a:lnTo>
                      <a:lnTo>
                        <a:pt x="91" y="415"/>
                      </a:lnTo>
                      <a:lnTo>
                        <a:pt x="94" y="413"/>
                      </a:lnTo>
                      <a:lnTo>
                        <a:pt x="95" y="412"/>
                      </a:lnTo>
                      <a:lnTo>
                        <a:pt x="95" y="412"/>
                      </a:lnTo>
                      <a:lnTo>
                        <a:pt x="94" y="411"/>
                      </a:lnTo>
                      <a:lnTo>
                        <a:pt x="92" y="411"/>
                      </a:lnTo>
                      <a:lnTo>
                        <a:pt x="90" y="411"/>
                      </a:lnTo>
                      <a:lnTo>
                        <a:pt x="88" y="411"/>
                      </a:lnTo>
                      <a:lnTo>
                        <a:pt x="86" y="411"/>
                      </a:lnTo>
                      <a:lnTo>
                        <a:pt x="84" y="411"/>
                      </a:lnTo>
                      <a:lnTo>
                        <a:pt x="81" y="411"/>
                      </a:lnTo>
                      <a:lnTo>
                        <a:pt x="80" y="411"/>
                      </a:lnTo>
                      <a:lnTo>
                        <a:pt x="80" y="411"/>
                      </a:lnTo>
                      <a:lnTo>
                        <a:pt x="80" y="409"/>
                      </a:lnTo>
                      <a:lnTo>
                        <a:pt x="81" y="407"/>
                      </a:lnTo>
                      <a:lnTo>
                        <a:pt x="84" y="406"/>
                      </a:lnTo>
                      <a:lnTo>
                        <a:pt x="86" y="405"/>
                      </a:lnTo>
                      <a:lnTo>
                        <a:pt x="88" y="404"/>
                      </a:lnTo>
                      <a:lnTo>
                        <a:pt x="91" y="403"/>
                      </a:lnTo>
                      <a:lnTo>
                        <a:pt x="92" y="402"/>
                      </a:lnTo>
                      <a:lnTo>
                        <a:pt x="94" y="401"/>
                      </a:lnTo>
                      <a:lnTo>
                        <a:pt x="92" y="400"/>
                      </a:lnTo>
                      <a:lnTo>
                        <a:pt x="91" y="400"/>
                      </a:lnTo>
                      <a:lnTo>
                        <a:pt x="90" y="399"/>
                      </a:lnTo>
                      <a:lnTo>
                        <a:pt x="88" y="399"/>
                      </a:lnTo>
                      <a:lnTo>
                        <a:pt x="86" y="399"/>
                      </a:lnTo>
                      <a:lnTo>
                        <a:pt x="84" y="399"/>
                      </a:lnTo>
                      <a:lnTo>
                        <a:pt x="83" y="398"/>
                      </a:lnTo>
                      <a:lnTo>
                        <a:pt x="83" y="396"/>
                      </a:lnTo>
                      <a:lnTo>
                        <a:pt x="85" y="390"/>
                      </a:lnTo>
                      <a:lnTo>
                        <a:pt x="91" y="384"/>
                      </a:lnTo>
                      <a:lnTo>
                        <a:pt x="100" y="379"/>
                      </a:lnTo>
                      <a:lnTo>
                        <a:pt x="102" y="377"/>
                      </a:lnTo>
                      <a:lnTo>
                        <a:pt x="105" y="373"/>
                      </a:lnTo>
                      <a:lnTo>
                        <a:pt x="106" y="371"/>
                      </a:lnTo>
                      <a:lnTo>
                        <a:pt x="107" y="368"/>
                      </a:lnTo>
                      <a:lnTo>
                        <a:pt x="109" y="366"/>
                      </a:lnTo>
                      <a:lnTo>
                        <a:pt x="110" y="363"/>
                      </a:lnTo>
                      <a:lnTo>
                        <a:pt x="113" y="363"/>
                      </a:lnTo>
                      <a:lnTo>
                        <a:pt x="117" y="362"/>
                      </a:lnTo>
                      <a:lnTo>
                        <a:pt x="120" y="362"/>
                      </a:lnTo>
                      <a:lnTo>
                        <a:pt x="122" y="362"/>
                      </a:lnTo>
                      <a:lnTo>
                        <a:pt x="124" y="363"/>
                      </a:lnTo>
                      <a:lnTo>
                        <a:pt x="125" y="366"/>
                      </a:lnTo>
                      <a:lnTo>
                        <a:pt x="125" y="367"/>
                      </a:lnTo>
                      <a:lnTo>
                        <a:pt x="125" y="370"/>
                      </a:lnTo>
                      <a:lnTo>
                        <a:pt x="127" y="372"/>
                      </a:lnTo>
                      <a:lnTo>
                        <a:pt x="128" y="373"/>
                      </a:lnTo>
                      <a:lnTo>
                        <a:pt x="130" y="374"/>
                      </a:lnTo>
                      <a:lnTo>
                        <a:pt x="132" y="374"/>
                      </a:lnTo>
                      <a:lnTo>
                        <a:pt x="134" y="373"/>
                      </a:lnTo>
                      <a:lnTo>
                        <a:pt x="136" y="372"/>
                      </a:lnTo>
                      <a:lnTo>
                        <a:pt x="139" y="371"/>
                      </a:lnTo>
                      <a:lnTo>
                        <a:pt x="141" y="370"/>
                      </a:lnTo>
                      <a:lnTo>
                        <a:pt x="145" y="368"/>
                      </a:lnTo>
                      <a:lnTo>
                        <a:pt x="149" y="368"/>
                      </a:lnTo>
                      <a:lnTo>
                        <a:pt x="152" y="368"/>
                      </a:lnTo>
                      <a:lnTo>
                        <a:pt x="154" y="370"/>
                      </a:lnTo>
                      <a:lnTo>
                        <a:pt x="156" y="372"/>
                      </a:lnTo>
                      <a:lnTo>
                        <a:pt x="157" y="373"/>
                      </a:lnTo>
                      <a:lnTo>
                        <a:pt x="157" y="375"/>
                      </a:lnTo>
                      <a:lnTo>
                        <a:pt x="157" y="378"/>
                      </a:lnTo>
                      <a:lnTo>
                        <a:pt x="156" y="381"/>
                      </a:lnTo>
                      <a:lnTo>
                        <a:pt x="156" y="383"/>
                      </a:lnTo>
                      <a:lnTo>
                        <a:pt x="156" y="384"/>
                      </a:lnTo>
                      <a:lnTo>
                        <a:pt x="157" y="384"/>
                      </a:lnTo>
                      <a:lnTo>
                        <a:pt x="158" y="384"/>
                      </a:lnTo>
                      <a:lnTo>
                        <a:pt x="161" y="384"/>
                      </a:lnTo>
                      <a:lnTo>
                        <a:pt x="162" y="385"/>
                      </a:lnTo>
                      <a:lnTo>
                        <a:pt x="163" y="386"/>
                      </a:lnTo>
                      <a:lnTo>
                        <a:pt x="163" y="388"/>
                      </a:lnTo>
                      <a:lnTo>
                        <a:pt x="164" y="389"/>
                      </a:lnTo>
                      <a:lnTo>
                        <a:pt x="163" y="391"/>
                      </a:lnTo>
                      <a:lnTo>
                        <a:pt x="163" y="392"/>
                      </a:lnTo>
                      <a:lnTo>
                        <a:pt x="162" y="393"/>
                      </a:lnTo>
                      <a:lnTo>
                        <a:pt x="163" y="394"/>
                      </a:lnTo>
                      <a:lnTo>
                        <a:pt x="165" y="395"/>
                      </a:lnTo>
                      <a:lnTo>
                        <a:pt x="167" y="396"/>
                      </a:lnTo>
                      <a:lnTo>
                        <a:pt x="169" y="396"/>
                      </a:lnTo>
                      <a:lnTo>
                        <a:pt x="172" y="396"/>
                      </a:lnTo>
                      <a:lnTo>
                        <a:pt x="174" y="396"/>
                      </a:lnTo>
                      <a:lnTo>
                        <a:pt x="178" y="398"/>
                      </a:lnTo>
                      <a:lnTo>
                        <a:pt x="184" y="399"/>
                      </a:lnTo>
                      <a:lnTo>
                        <a:pt x="189" y="399"/>
                      </a:lnTo>
                      <a:lnTo>
                        <a:pt x="194" y="398"/>
                      </a:lnTo>
                      <a:lnTo>
                        <a:pt x="198" y="392"/>
                      </a:lnTo>
                      <a:lnTo>
                        <a:pt x="198" y="389"/>
                      </a:lnTo>
                      <a:lnTo>
                        <a:pt x="197" y="386"/>
                      </a:lnTo>
                      <a:lnTo>
                        <a:pt x="196" y="384"/>
                      </a:lnTo>
                      <a:lnTo>
                        <a:pt x="194" y="382"/>
                      </a:lnTo>
                      <a:lnTo>
                        <a:pt x="193" y="380"/>
                      </a:lnTo>
                      <a:lnTo>
                        <a:pt x="192" y="377"/>
                      </a:lnTo>
                      <a:lnTo>
                        <a:pt x="192" y="373"/>
                      </a:lnTo>
                      <a:lnTo>
                        <a:pt x="192" y="371"/>
                      </a:lnTo>
                      <a:lnTo>
                        <a:pt x="192" y="369"/>
                      </a:lnTo>
                      <a:lnTo>
                        <a:pt x="192" y="367"/>
                      </a:lnTo>
                      <a:lnTo>
                        <a:pt x="192" y="366"/>
                      </a:lnTo>
                      <a:lnTo>
                        <a:pt x="189" y="364"/>
                      </a:lnTo>
                      <a:lnTo>
                        <a:pt x="187" y="363"/>
                      </a:lnTo>
                      <a:lnTo>
                        <a:pt x="185" y="363"/>
                      </a:lnTo>
                      <a:lnTo>
                        <a:pt x="183" y="363"/>
                      </a:lnTo>
                      <a:lnTo>
                        <a:pt x="179" y="362"/>
                      </a:lnTo>
                      <a:lnTo>
                        <a:pt x="178" y="360"/>
                      </a:lnTo>
                      <a:lnTo>
                        <a:pt x="177" y="358"/>
                      </a:lnTo>
                      <a:lnTo>
                        <a:pt x="178" y="356"/>
                      </a:lnTo>
                      <a:lnTo>
                        <a:pt x="178" y="353"/>
                      </a:lnTo>
                      <a:lnTo>
                        <a:pt x="180" y="351"/>
                      </a:lnTo>
                      <a:lnTo>
                        <a:pt x="183" y="349"/>
                      </a:lnTo>
                      <a:lnTo>
                        <a:pt x="185" y="347"/>
                      </a:lnTo>
                      <a:lnTo>
                        <a:pt x="189" y="345"/>
                      </a:lnTo>
                      <a:lnTo>
                        <a:pt x="194" y="342"/>
                      </a:lnTo>
                      <a:lnTo>
                        <a:pt x="197" y="340"/>
                      </a:lnTo>
                      <a:lnTo>
                        <a:pt x="199" y="337"/>
                      </a:lnTo>
                      <a:lnTo>
                        <a:pt x="203" y="334"/>
                      </a:lnTo>
                      <a:lnTo>
                        <a:pt x="203" y="333"/>
                      </a:lnTo>
                      <a:lnTo>
                        <a:pt x="203" y="330"/>
                      </a:lnTo>
                      <a:lnTo>
                        <a:pt x="205" y="329"/>
                      </a:lnTo>
                      <a:lnTo>
                        <a:pt x="206" y="327"/>
                      </a:lnTo>
                      <a:lnTo>
                        <a:pt x="208" y="326"/>
                      </a:lnTo>
                      <a:lnTo>
                        <a:pt x="210" y="326"/>
                      </a:lnTo>
                      <a:close/>
                      <a:moveTo>
                        <a:pt x="347" y="315"/>
                      </a:moveTo>
                      <a:lnTo>
                        <a:pt x="357" y="316"/>
                      </a:lnTo>
                      <a:lnTo>
                        <a:pt x="360" y="316"/>
                      </a:lnTo>
                      <a:lnTo>
                        <a:pt x="363" y="316"/>
                      </a:lnTo>
                      <a:lnTo>
                        <a:pt x="365" y="317"/>
                      </a:lnTo>
                      <a:lnTo>
                        <a:pt x="368" y="317"/>
                      </a:lnTo>
                      <a:lnTo>
                        <a:pt x="370" y="318"/>
                      </a:lnTo>
                      <a:lnTo>
                        <a:pt x="373" y="319"/>
                      </a:lnTo>
                      <a:lnTo>
                        <a:pt x="376" y="320"/>
                      </a:lnTo>
                      <a:lnTo>
                        <a:pt x="379" y="320"/>
                      </a:lnTo>
                      <a:lnTo>
                        <a:pt x="381" y="323"/>
                      </a:lnTo>
                      <a:lnTo>
                        <a:pt x="385" y="327"/>
                      </a:lnTo>
                      <a:lnTo>
                        <a:pt x="386" y="334"/>
                      </a:lnTo>
                      <a:lnTo>
                        <a:pt x="386" y="340"/>
                      </a:lnTo>
                      <a:lnTo>
                        <a:pt x="385" y="347"/>
                      </a:lnTo>
                      <a:lnTo>
                        <a:pt x="385" y="352"/>
                      </a:lnTo>
                      <a:lnTo>
                        <a:pt x="387" y="357"/>
                      </a:lnTo>
                      <a:lnTo>
                        <a:pt x="391" y="361"/>
                      </a:lnTo>
                      <a:lnTo>
                        <a:pt x="395" y="367"/>
                      </a:lnTo>
                      <a:lnTo>
                        <a:pt x="395" y="369"/>
                      </a:lnTo>
                      <a:lnTo>
                        <a:pt x="394" y="370"/>
                      </a:lnTo>
                      <a:lnTo>
                        <a:pt x="393" y="371"/>
                      </a:lnTo>
                      <a:lnTo>
                        <a:pt x="391" y="371"/>
                      </a:lnTo>
                      <a:lnTo>
                        <a:pt x="389" y="372"/>
                      </a:lnTo>
                      <a:lnTo>
                        <a:pt x="385" y="373"/>
                      </a:lnTo>
                      <a:lnTo>
                        <a:pt x="383" y="373"/>
                      </a:lnTo>
                      <a:lnTo>
                        <a:pt x="381" y="375"/>
                      </a:lnTo>
                      <a:lnTo>
                        <a:pt x="379" y="379"/>
                      </a:lnTo>
                      <a:lnTo>
                        <a:pt x="376" y="381"/>
                      </a:lnTo>
                      <a:lnTo>
                        <a:pt x="375" y="384"/>
                      </a:lnTo>
                      <a:lnTo>
                        <a:pt x="374" y="386"/>
                      </a:lnTo>
                      <a:lnTo>
                        <a:pt x="372" y="389"/>
                      </a:lnTo>
                      <a:lnTo>
                        <a:pt x="370" y="391"/>
                      </a:lnTo>
                      <a:lnTo>
                        <a:pt x="368" y="393"/>
                      </a:lnTo>
                      <a:lnTo>
                        <a:pt x="365" y="395"/>
                      </a:lnTo>
                      <a:lnTo>
                        <a:pt x="359" y="400"/>
                      </a:lnTo>
                      <a:lnTo>
                        <a:pt x="351" y="402"/>
                      </a:lnTo>
                      <a:lnTo>
                        <a:pt x="343" y="403"/>
                      </a:lnTo>
                      <a:lnTo>
                        <a:pt x="336" y="402"/>
                      </a:lnTo>
                      <a:lnTo>
                        <a:pt x="334" y="400"/>
                      </a:lnTo>
                      <a:lnTo>
                        <a:pt x="331" y="398"/>
                      </a:lnTo>
                      <a:lnTo>
                        <a:pt x="329" y="395"/>
                      </a:lnTo>
                      <a:lnTo>
                        <a:pt x="327" y="393"/>
                      </a:lnTo>
                      <a:lnTo>
                        <a:pt x="326" y="391"/>
                      </a:lnTo>
                      <a:lnTo>
                        <a:pt x="325" y="389"/>
                      </a:lnTo>
                      <a:lnTo>
                        <a:pt x="326" y="386"/>
                      </a:lnTo>
                      <a:lnTo>
                        <a:pt x="327" y="384"/>
                      </a:lnTo>
                      <a:lnTo>
                        <a:pt x="330" y="382"/>
                      </a:lnTo>
                      <a:lnTo>
                        <a:pt x="335" y="379"/>
                      </a:lnTo>
                      <a:lnTo>
                        <a:pt x="340" y="375"/>
                      </a:lnTo>
                      <a:lnTo>
                        <a:pt x="345" y="371"/>
                      </a:lnTo>
                      <a:lnTo>
                        <a:pt x="345" y="369"/>
                      </a:lnTo>
                      <a:lnTo>
                        <a:pt x="341" y="368"/>
                      </a:lnTo>
                      <a:lnTo>
                        <a:pt x="336" y="370"/>
                      </a:lnTo>
                      <a:lnTo>
                        <a:pt x="329" y="372"/>
                      </a:lnTo>
                      <a:lnTo>
                        <a:pt x="325" y="373"/>
                      </a:lnTo>
                      <a:lnTo>
                        <a:pt x="320" y="375"/>
                      </a:lnTo>
                      <a:lnTo>
                        <a:pt x="316" y="379"/>
                      </a:lnTo>
                      <a:lnTo>
                        <a:pt x="310" y="380"/>
                      </a:lnTo>
                      <a:lnTo>
                        <a:pt x="306" y="380"/>
                      </a:lnTo>
                      <a:lnTo>
                        <a:pt x="304" y="378"/>
                      </a:lnTo>
                      <a:lnTo>
                        <a:pt x="305" y="372"/>
                      </a:lnTo>
                      <a:lnTo>
                        <a:pt x="306" y="366"/>
                      </a:lnTo>
                      <a:lnTo>
                        <a:pt x="309" y="360"/>
                      </a:lnTo>
                      <a:lnTo>
                        <a:pt x="314" y="356"/>
                      </a:lnTo>
                      <a:lnTo>
                        <a:pt x="319" y="353"/>
                      </a:lnTo>
                      <a:lnTo>
                        <a:pt x="325" y="350"/>
                      </a:lnTo>
                      <a:lnTo>
                        <a:pt x="327" y="347"/>
                      </a:lnTo>
                      <a:lnTo>
                        <a:pt x="327" y="346"/>
                      </a:lnTo>
                      <a:lnTo>
                        <a:pt x="325" y="345"/>
                      </a:lnTo>
                      <a:lnTo>
                        <a:pt x="324" y="345"/>
                      </a:lnTo>
                      <a:lnTo>
                        <a:pt x="321" y="344"/>
                      </a:lnTo>
                      <a:lnTo>
                        <a:pt x="319" y="342"/>
                      </a:lnTo>
                      <a:lnTo>
                        <a:pt x="318" y="341"/>
                      </a:lnTo>
                      <a:lnTo>
                        <a:pt x="317" y="340"/>
                      </a:lnTo>
                      <a:lnTo>
                        <a:pt x="317" y="339"/>
                      </a:lnTo>
                      <a:lnTo>
                        <a:pt x="318" y="337"/>
                      </a:lnTo>
                      <a:lnTo>
                        <a:pt x="320" y="336"/>
                      </a:lnTo>
                      <a:lnTo>
                        <a:pt x="320" y="335"/>
                      </a:lnTo>
                      <a:lnTo>
                        <a:pt x="323" y="335"/>
                      </a:lnTo>
                      <a:lnTo>
                        <a:pt x="325" y="335"/>
                      </a:lnTo>
                      <a:lnTo>
                        <a:pt x="328" y="334"/>
                      </a:lnTo>
                      <a:lnTo>
                        <a:pt x="331" y="333"/>
                      </a:lnTo>
                      <a:lnTo>
                        <a:pt x="334" y="333"/>
                      </a:lnTo>
                      <a:lnTo>
                        <a:pt x="336" y="331"/>
                      </a:lnTo>
                      <a:lnTo>
                        <a:pt x="338" y="330"/>
                      </a:lnTo>
                      <a:lnTo>
                        <a:pt x="339" y="329"/>
                      </a:lnTo>
                      <a:lnTo>
                        <a:pt x="338" y="328"/>
                      </a:lnTo>
                      <a:lnTo>
                        <a:pt x="336" y="327"/>
                      </a:lnTo>
                      <a:lnTo>
                        <a:pt x="335" y="327"/>
                      </a:lnTo>
                      <a:lnTo>
                        <a:pt x="332" y="327"/>
                      </a:lnTo>
                      <a:lnTo>
                        <a:pt x="330" y="326"/>
                      </a:lnTo>
                      <a:lnTo>
                        <a:pt x="328" y="326"/>
                      </a:lnTo>
                      <a:lnTo>
                        <a:pt x="326" y="326"/>
                      </a:lnTo>
                      <a:lnTo>
                        <a:pt x="324" y="325"/>
                      </a:lnTo>
                      <a:lnTo>
                        <a:pt x="323" y="324"/>
                      </a:lnTo>
                      <a:lnTo>
                        <a:pt x="324" y="323"/>
                      </a:lnTo>
                      <a:lnTo>
                        <a:pt x="325" y="322"/>
                      </a:lnTo>
                      <a:lnTo>
                        <a:pt x="327" y="320"/>
                      </a:lnTo>
                      <a:lnTo>
                        <a:pt x="337" y="316"/>
                      </a:lnTo>
                      <a:lnTo>
                        <a:pt x="347" y="315"/>
                      </a:lnTo>
                      <a:close/>
                      <a:moveTo>
                        <a:pt x="123" y="314"/>
                      </a:moveTo>
                      <a:lnTo>
                        <a:pt x="124" y="314"/>
                      </a:lnTo>
                      <a:lnTo>
                        <a:pt x="125" y="315"/>
                      </a:lnTo>
                      <a:lnTo>
                        <a:pt x="124" y="316"/>
                      </a:lnTo>
                      <a:lnTo>
                        <a:pt x="123" y="317"/>
                      </a:lnTo>
                      <a:lnTo>
                        <a:pt x="122" y="319"/>
                      </a:lnTo>
                      <a:lnTo>
                        <a:pt x="121" y="320"/>
                      </a:lnTo>
                      <a:lnTo>
                        <a:pt x="120" y="322"/>
                      </a:lnTo>
                      <a:lnTo>
                        <a:pt x="120" y="322"/>
                      </a:lnTo>
                      <a:lnTo>
                        <a:pt x="118" y="324"/>
                      </a:lnTo>
                      <a:lnTo>
                        <a:pt x="118" y="325"/>
                      </a:lnTo>
                      <a:lnTo>
                        <a:pt x="118" y="326"/>
                      </a:lnTo>
                      <a:lnTo>
                        <a:pt x="119" y="326"/>
                      </a:lnTo>
                      <a:lnTo>
                        <a:pt x="119" y="327"/>
                      </a:lnTo>
                      <a:lnTo>
                        <a:pt x="120" y="328"/>
                      </a:lnTo>
                      <a:lnTo>
                        <a:pt x="121" y="329"/>
                      </a:lnTo>
                      <a:lnTo>
                        <a:pt x="122" y="331"/>
                      </a:lnTo>
                      <a:lnTo>
                        <a:pt x="121" y="333"/>
                      </a:lnTo>
                      <a:lnTo>
                        <a:pt x="120" y="334"/>
                      </a:lnTo>
                      <a:lnTo>
                        <a:pt x="118" y="335"/>
                      </a:lnTo>
                      <a:lnTo>
                        <a:pt x="116" y="336"/>
                      </a:lnTo>
                      <a:lnTo>
                        <a:pt x="112" y="339"/>
                      </a:lnTo>
                      <a:lnTo>
                        <a:pt x="111" y="341"/>
                      </a:lnTo>
                      <a:lnTo>
                        <a:pt x="110" y="344"/>
                      </a:lnTo>
                      <a:lnTo>
                        <a:pt x="110" y="346"/>
                      </a:lnTo>
                      <a:lnTo>
                        <a:pt x="111" y="349"/>
                      </a:lnTo>
                      <a:lnTo>
                        <a:pt x="110" y="351"/>
                      </a:lnTo>
                      <a:lnTo>
                        <a:pt x="110" y="355"/>
                      </a:lnTo>
                      <a:lnTo>
                        <a:pt x="108" y="357"/>
                      </a:lnTo>
                      <a:lnTo>
                        <a:pt x="107" y="359"/>
                      </a:lnTo>
                      <a:lnTo>
                        <a:pt x="105" y="361"/>
                      </a:lnTo>
                      <a:lnTo>
                        <a:pt x="100" y="366"/>
                      </a:lnTo>
                      <a:lnTo>
                        <a:pt x="96" y="370"/>
                      </a:lnTo>
                      <a:lnTo>
                        <a:pt x="94" y="373"/>
                      </a:lnTo>
                      <a:lnTo>
                        <a:pt x="91" y="377"/>
                      </a:lnTo>
                      <a:lnTo>
                        <a:pt x="89" y="380"/>
                      </a:lnTo>
                      <a:lnTo>
                        <a:pt x="87" y="382"/>
                      </a:lnTo>
                      <a:lnTo>
                        <a:pt x="85" y="384"/>
                      </a:lnTo>
                      <a:lnTo>
                        <a:pt x="84" y="385"/>
                      </a:lnTo>
                      <a:lnTo>
                        <a:pt x="81" y="386"/>
                      </a:lnTo>
                      <a:lnTo>
                        <a:pt x="80" y="385"/>
                      </a:lnTo>
                      <a:lnTo>
                        <a:pt x="79" y="384"/>
                      </a:lnTo>
                      <a:lnTo>
                        <a:pt x="78" y="382"/>
                      </a:lnTo>
                      <a:lnTo>
                        <a:pt x="77" y="380"/>
                      </a:lnTo>
                      <a:lnTo>
                        <a:pt x="76" y="378"/>
                      </a:lnTo>
                      <a:lnTo>
                        <a:pt x="76" y="375"/>
                      </a:lnTo>
                      <a:lnTo>
                        <a:pt x="75" y="374"/>
                      </a:lnTo>
                      <a:lnTo>
                        <a:pt x="74" y="373"/>
                      </a:lnTo>
                      <a:lnTo>
                        <a:pt x="73" y="373"/>
                      </a:lnTo>
                      <a:lnTo>
                        <a:pt x="70" y="374"/>
                      </a:lnTo>
                      <a:lnTo>
                        <a:pt x="68" y="375"/>
                      </a:lnTo>
                      <a:lnTo>
                        <a:pt x="67" y="377"/>
                      </a:lnTo>
                      <a:lnTo>
                        <a:pt x="65" y="378"/>
                      </a:lnTo>
                      <a:lnTo>
                        <a:pt x="64" y="379"/>
                      </a:lnTo>
                      <a:lnTo>
                        <a:pt x="63" y="380"/>
                      </a:lnTo>
                      <a:lnTo>
                        <a:pt x="59" y="383"/>
                      </a:lnTo>
                      <a:lnTo>
                        <a:pt x="58" y="385"/>
                      </a:lnTo>
                      <a:lnTo>
                        <a:pt x="57" y="389"/>
                      </a:lnTo>
                      <a:lnTo>
                        <a:pt x="56" y="391"/>
                      </a:lnTo>
                      <a:lnTo>
                        <a:pt x="55" y="393"/>
                      </a:lnTo>
                      <a:lnTo>
                        <a:pt x="54" y="396"/>
                      </a:lnTo>
                      <a:lnTo>
                        <a:pt x="52" y="399"/>
                      </a:lnTo>
                      <a:lnTo>
                        <a:pt x="49" y="402"/>
                      </a:lnTo>
                      <a:lnTo>
                        <a:pt x="47" y="405"/>
                      </a:lnTo>
                      <a:lnTo>
                        <a:pt x="44" y="409"/>
                      </a:lnTo>
                      <a:lnTo>
                        <a:pt x="42" y="412"/>
                      </a:lnTo>
                      <a:lnTo>
                        <a:pt x="38" y="413"/>
                      </a:lnTo>
                      <a:lnTo>
                        <a:pt x="36" y="414"/>
                      </a:lnTo>
                      <a:lnTo>
                        <a:pt x="34" y="413"/>
                      </a:lnTo>
                      <a:lnTo>
                        <a:pt x="33" y="412"/>
                      </a:lnTo>
                      <a:lnTo>
                        <a:pt x="32" y="411"/>
                      </a:lnTo>
                      <a:lnTo>
                        <a:pt x="31" y="410"/>
                      </a:lnTo>
                      <a:lnTo>
                        <a:pt x="30" y="409"/>
                      </a:lnTo>
                      <a:lnTo>
                        <a:pt x="27" y="409"/>
                      </a:lnTo>
                      <a:lnTo>
                        <a:pt x="25" y="409"/>
                      </a:lnTo>
                      <a:lnTo>
                        <a:pt x="23" y="410"/>
                      </a:lnTo>
                      <a:lnTo>
                        <a:pt x="22" y="411"/>
                      </a:lnTo>
                      <a:lnTo>
                        <a:pt x="20" y="412"/>
                      </a:lnTo>
                      <a:lnTo>
                        <a:pt x="18" y="414"/>
                      </a:lnTo>
                      <a:lnTo>
                        <a:pt x="16" y="415"/>
                      </a:lnTo>
                      <a:lnTo>
                        <a:pt x="14" y="415"/>
                      </a:lnTo>
                      <a:lnTo>
                        <a:pt x="12" y="413"/>
                      </a:lnTo>
                      <a:lnTo>
                        <a:pt x="11" y="412"/>
                      </a:lnTo>
                      <a:lnTo>
                        <a:pt x="9" y="412"/>
                      </a:lnTo>
                      <a:lnTo>
                        <a:pt x="7" y="413"/>
                      </a:lnTo>
                      <a:lnTo>
                        <a:pt x="3" y="414"/>
                      </a:lnTo>
                      <a:lnTo>
                        <a:pt x="1" y="415"/>
                      </a:lnTo>
                      <a:lnTo>
                        <a:pt x="0" y="415"/>
                      </a:lnTo>
                      <a:lnTo>
                        <a:pt x="0" y="414"/>
                      </a:lnTo>
                      <a:lnTo>
                        <a:pt x="1" y="412"/>
                      </a:lnTo>
                      <a:lnTo>
                        <a:pt x="2" y="410"/>
                      </a:lnTo>
                      <a:lnTo>
                        <a:pt x="2" y="409"/>
                      </a:lnTo>
                      <a:lnTo>
                        <a:pt x="3" y="407"/>
                      </a:lnTo>
                      <a:lnTo>
                        <a:pt x="4" y="405"/>
                      </a:lnTo>
                      <a:lnTo>
                        <a:pt x="5" y="403"/>
                      </a:lnTo>
                      <a:lnTo>
                        <a:pt x="5" y="403"/>
                      </a:lnTo>
                      <a:lnTo>
                        <a:pt x="4" y="401"/>
                      </a:lnTo>
                      <a:lnTo>
                        <a:pt x="3" y="399"/>
                      </a:lnTo>
                      <a:lnTo>
                        <a:pt x="3" y="396"/>
                      </a:lnTo>
                      <a:lnTo>
                        <a:pt x="4" y="394"/>
                      </a:lnTo>
                      <a:lnTo>
                        <a:pt x="8" y="392"/>
                      </a:lnTo>
                      <a:lnTo>
                        <a:pt x="11" y="390"/>
                      </a:lnTo>
                      <a:lnTo>
                        <a:pt x="14" y="389"/>
                      </a:lnTo>
                      <a:lnTo>
                        <a:pt x="18" y="388"/>
                      </a:lnTo>
                      <a:lnTo>
                        <a:pt x="21" y="386"/>
                      </a:lnTo>
                      <a:lnTo>
                        <a:pt x="26" y="382"/>
                      </a:lnTo>
                      <a:lnTo>
                        <a:pt x="31" y="378"/>
                      </a:lnTo>
                      <a:lnTo>
                        <a:pt x="34" y="373"/>
                      </a:lnTo>
                      <a:lnTo>
                        <a:pt x="40" y="367"/>
                      </a:lnTo>
                      <a:lnTo>
                        <a:pt x="46" y="361"/>
                      </a:lnTo>
                      <a:lnTo>
                        <a:pt x="54" y="355"/>
                      </a:lnTo>
                      <a:lnTo>
                        <a:pt x="65" y="347"/>
                      </a:lnTo>
                      <a:lnTo>
                        <a:pt x="76" y="338"/>
                      </a:lnTo>
                      <a:lnTo>
                        <a:pt x="83" y="335"/>
                      </a:lnTo>
                      <a:lnTo>
                        <a:pt x="90" y="333"/>
                      </a:lnTo>
                      <a:lnTo>
                        <a:pt x="98" y="330"/>
                      </a:lnTo>
                      <a:lnTo>
                        <a:pt x="102" y="327"/>
                      </a:lnTo>
                      <a:lnTo>
                        <a:pt x="107" y="324"/>
                      </a:lnTo>
                      <a:lnTo>
                        <a:pt x="111" y="322"/>
                      </a:lnTo>
                      <a:lnTo>
                        <a:pt x="112" y="320"/>
                      </a:lnTo>
                      <a:lnTo>
                        <a:pt x="114" y="318"/>
                      </a:lnTo>
                      <a:lnTo>
                        <a:pt x="118" y="316"/>
                      </a:lnTo>
                      <a:lnTo>
                        <a:pt x="121" y="314"/>
                      </a:lnTo>
                      <a:lnTo>
                        <a:pt x="123" y="314"/>
                      </a:lnTo>
                      <a:close/>
                      <a:moveTo>
                        <a:pt x="1539" y="307"/>
                      </a:moveTo>
                      <a:lnTo>
                        <a:pt x="1540" y="307"/>
                      </a:lnTo>
                      <a:lnTo>
                        <a:pt x="1542" y="308"/>
                      </a:lnTo>
                      <a:lnTo>
                        <a:pt x="1544" y="309"/>
                      </a:lnTo>
                      <a:lnTo>
                        <a:pt x="1547" y="311"/>
                      </a:lnTo>
                      <a:lnTo>
                        <a:pt x="1548" y="312"/>
                      </a:lnTo>
                      <a:lnTo>
                        <a:pt x="1549" y="313"/>
                      </a:lnTo>
                      <a:lnTo>
                        <a:pt x="1549" y="314"/>
                      </a:lnTo>
                      <a:lnTo>
                        <a:pt x="1550" y="316"/>
                      </a:lnTo>
                      <a:lnTo>
                        <a:pt x="1551" y="318"/>
                      </a:lnTo>
                      <a:lnTo>
                        <a:pt x="1551" y="320"/>
                      </a:lnTo>
                      <a:lnTo>
                        <a:pt x="1552" y="323"/>
                      </a:lnTo>
                      <a:lnTo>
                        <a:pt x="1552" y="325"/>
                      </a:lnTo>
                      <a:lnTo>
                        <a:pt x="1551" y="326"/>
                      </a:lnTo>
                      <a:lnTo>
                        <a:pt x="1551" y="326"/>
                      </a:lnTo>
                      <a:lnTo>
                        <a:pt x="1550" y="326"/>
                      </a:lnTo>
                      <a:lnTo>
                        <a:pt x="1548" y="324"/>
                      </a:lnTo>
                      <a:lnTo>
                        <a:pt x="1542" y="320"/>
                      </a:lnTo>
                      <a:lnTo>
                        <a:pt x="1539" y="317"/>
                      </a:lnTo>
                      <a:lnTo>
                        <a:pt x="1538" y="313"/>
                      </a:lnTo>
                      <a:lnTo>
                        <a:pt x="1537" y="309"/>
                      </a:lnTo>
                      <a:lnTo>
                        <a:pt x="1538" y="307"/>
                      </a:lnTo>
                      <a:lnTo>
                        <a:pt x="1539" y="307"/>
                      </a:lnTo>
                      <a:close/>
                      <a:moveTo>
                        <a:pt x="139" y="287"/>
                      </a:moveTo>
                      <a:lnTo>
                        <a:pt x="141" y="287"/>
                      </a:lnTo>
                      <a:lnTo>
                        <a:pt x="142" y="289"/>
                      </a:lnTo>
                      <a:lnTo>
                        <a:pt x="143" y="290"/>
                      </a:lnTo>
                      <a:lnTo>
                        <a:pt x="144" y="291"/>
                      </a:lnTo>
                      <a:lnTo>
                        <a:pt x="145" y="292"/>
                      </a:lnTo>
                      <a:lnTo>
                        <a:pt x="145" y="293"/>
                      </a:lnTo>
                      <a:lnTo>
                        <a:pt x="144" y="295"/>
                      </a:lnTo>
                      <a:lnTo>
                        <a:pt x="143" y="297"/>
                      </a:lnTo>
                      <a:lnTo>
                        <a:pt x="142" y="300"/>
                      </a:lnTo>
                      <a:lnTo>
                        <a:pt x="139" y="301"/>
                      </a:lnTo>
                      <a:lnTo>
                        <a:pt x="136" y="301"/>
                      </a:lnTo>
                      <a:lnTo>
                        <a:pt x="135" y="298"/>
                      </a:lnTo>
                      <a:lnTo>
                        <a:pt x="133" y="297"/>
                      </a:lnTo>
                      <a:lnTo>
                        <a:pt x="133" y="294"/>
                      </a:lnTo>
                      <a:lnTo>
                        <a:pt x="133" y="292"/>
                      </a:lnTo>
                      <a:lnTo>
                        <a:pt x="134" y="290"/>
                      </a:lnTo>
                      <a:lnTo>
                        <a:pt x="136" y="287"/>
                      </a:lnTo>
                      <a:lnTo>
                        <a:pt x="139" y="287"/>
                      </a:lnTo>
                      <a:close/>
                      <a:moveTo>
                        <a:pt x="434" y="285"/>
                      </a:moveTo>
                      <a:lnTo>
                        <a:pt x="434" y="287"/>
                      </a:lnTo>
                      <a:lnTo>
                        <a:pt x="434" y="289"/>
                      </a:lnTo>
                      <a:lnTo>
                        <a:pt x="433" y="290"/>
                      </a:lnTo>
                      <a:lnTo>
                        <a:pt x="433" y="291"/>
                      </a:lnTo>
                      <a:lnTo>
                        <a:pt x="431" y="292"/>
                      </a:lnTo>
                      <a:lnTo>
                        <a:pt x="429" y="293"/>
                      </a:lnTo>
                      <a:lnTo>
                        <a:pt x="428" y="293"/>
                      </a:lnTo>
                      <a:lnTo>
                        <a:pt x="427" y="292"/>
                      </a:lnTo>
                      <a:lnTo>
                        <a:pt x="426" y="291"/>
                      </a:lnTo>
                      <a:lnTo>
                        <a:pt x="426" y="291"/>
                      </a:lnTo>
                      <a:lnTo>
                        <a:pt x="426" y="289"/>
                      </a:lnTo>
                      <a:lnTo>
                        <a:pt x="427" y="287"/>
                      </a:lnTo>
                      <a:lnTo>
                        <a:pt x="429" y="286"/>
                      </a:lnTo>
                      <a:lnTo>
                        <a:pt x="431" y="285"/>
                      </a:lnTo>
                      <a:lnTo>
                        <a:pt x="434" y="285"/>
                      </a:lnTo>
                      <a:close/>
                      <a:moveTo>
                        <a:pt x="266" y="280"/>
                      </a:moveTo>
                      <a:lnTo>
                        <a:pt x="269" y="280"/>
                      </a:lnTo>
                      <a:lnTo>
                        <a:pt x="271" y="281"/>
                      </a:lnTo>
                      <a:lnTo>
                        <a:pt x="273" y="282"/>
                      </a:lnTo>
                      <a:lnTo>
                        <a:pt x="274" y="283"/>
                      </a:lnTo>
                      <a:lnTo>
                        <a:pt x="275" y="284"/>
                      </a:lnTo>
                      <a:lnTo>
                        <a:pt x="282" y="296"/>
                      </a:lnTo>
                      <a:lnTo>
                        <a:pt x="283" y="297"/>
                      </a:lnTo>
                      <a:lnTo>
                        <a:pt x="284" y="298"/>
                      </a:lnTo>
                      <a:lnTo>
                        <a:pt x="284" y="300"/>
                      </a:lnTo>
                      <a:lnTo>
                        <a:pt x="284" y="302"/>
                      </a:lnTo>
                      <a:lnTo>
                        <a:pt x="284" y="304"/>
                      </a:lnTo>
                      <a:lnTo>
                        <a:pt x="280" y="308"/>
                      </a:lnTo>
                      <a:lnTo>
                        <a:pt x="275" y="309"/>
                      </a:lnTo>
                      <a:lnTo>
                        <a:pt x="270" y="309"/>
                      </a:lnTo>
                      <a:lnTo>
                        <a:pt x="265" y="307"/>
                      </a:lnTo>
                      <a:lnTo>
                        <a:pt x="262" y="305"/>
                      </a:lnTo>
                      <a:lnTo>
                        <a:pt x="261" y="304"/>
                      </a:lnTo>
                      <a:lnTo>
                        <a:pt x="261" y="301"/>
                      </a:lnTo>
                      <a:lnTo>
                        <a:pt x="261" y="298"/>
                      </a:lnTo>
                      <a:lnTo>
                        <a:pt x="261" y="296"/>
                      </a:lnTo>
                      <a:lnTo>
                        <a:pt x="262" y="294"/>
                      </a:lnTo>
                      <a:lnTo>
                        <a:pt x="262" y="292"/>
                      </a:lnTo>
                      <a:lnTo>
                        <a:pt x="262" y="286"/>
                      </a:lnTo>
                      <a:lnTo>
                        <a:pt x="263" y="283"/>
                      </a:lnTo>
                      <a:lnTo>
                        <a:pt x="264" y="282"/>
                      </a:lnTo>
                      <a:lnTo>
                        <a:pt x="265" y="281"/>
                      </a:lnTo>
                      <a:lnTo>
                        <a:pt x="266" y="280"/>
                      </a:lnTo>
                      <a:close/>
                      <a:moveTo>
                        <a:pt x="210" y="270"/>
                      </a:moveTo>
                      <a:lnTo>
                        <a:pt x="211" y="271"/>
                      </a:lnTo>
                      <a:lnTo>
                        <a:pt x="211" y="272"/>
                      </a:lnTo>
                      <a:lnTo>
                        <a:pt x="211" y="273"/>
                      </a:lnTo>
                      <a:lnTo>
                        <a:pt x="211" y="275"/>
                      </a:lnTo>
                      <a:lnTo>
                        <a:pt x="211" y="278"/>
                      </a:lnTo>
                      <a:lnTo>
                        <a:pt x="210" y="279"/>
                      </a:lnTo>
                      <a:lnTo>
                        <a:pt x="209" y="279"/>
                      </a:lnTo>
                      <a:lnTo>
                        <a:pt x="207" y="281"/>
                      </a:lnTo>
                      <a:lnTo>
                        <a:pt x="204" y="282"/>
                      </a:lnTo>
                      <a:lnTo>
                        <a:pt x="201" y="283"/>
                      </a:lnTo>
                      <a:lnTo>
                        <a:pt x="199" y="283"/>
                      </a:lnTo>
                      <a:lnTo>
                        <a:pt x="196" y="284"/>
                      </a:lnTo>
                      <a:lnTo>
                        <a:pt x="194" y="285"/>
                      </a:lnTo>
                      <a:lnTo>
                        <a:pt x="193" y="287"/>
                      </a:lnTo>
                      <a:lnTo>
                        <a:pt x="193" y="290"/>
                      </a:lnTo>
                      <a:lnTo>
                        <a:pt x="194" y="291"/>
                      </a:lnTo>
                      <a:lnTo>
                        <a:pt x="195" y="293"/>
                      </a:lnTo>
                      <a:lnTo>
                        <a:pt x="197" y="294"/>
                      </a:lnTo>
                      <a:lnTo>
                        <a:pt x="198" y="295"/>
                      </a:lnTo>
                      <a:lnTo>
                        <a:pt x="198" y="296"/>
                      </a:lnTo>
                      <a:lnTo>
                        <a:pt x="197" y="300"/>
                      </a:lnTo>
                      <a:lnTo>
                        <a:pt x="196" y="304"/>
                      </a:lnTo>
                      <a:lnTo>
                        <a:pt x="193" y="307"/>
                      </a:lnTo>
                      <a:lnTo>
                        <a:pt x="189" y="311"/>
                      </a:lnTo>
                      <a:lnTo>
                        <a:pt x="185" y="313"/>
                      </a:lnTo>
                      <a:lnTo>
                        <a:pt x="175" y="316"/>
                      </a:lnTo>
                      <a:lnTo>
                        <a:pt x="167" y="316"/>
                      </a:lnTo>
                      <a:lnTo>
                        <a:pt x="161" y="313"/>
                      </a:lnTo>
                      <a:lnTo>
                        <a:pt x="157" y="307"/>
                      </a:lnTo>
                      <a:lnTo>
                        <a:pt x="156" y="301"/>
                      </a:lnTo>
                      <a:lnTo>
                        <a:pt x="163" y="291"/>
                      </a:lnTo>
                      <a:lnTo>
                        <a:pt x="174" y="282"/>
                      </a:lnTo>
                      <a:lnTo>
                        <a:pt x="177" y="281"/>
                      </a:lnTo>
                      <a:lnTo>
                        <a:pt x="179" y="280"/>
                      </a:lnTo>
                      <a:lnTo>
                        <a:pt x="182" y="279"/>
                      </a:lnTo>
                      <a:lnTo>
                        <a:pt x="185" y="276"/>
                      </a:lnTo>
                      <a:lnTo>
                        <a:pt x="188" y="275"/>
                      </a:lnTo>
                      <a:lnTo>
                        <a:pt x="192" y="275"/>
                      </a:lnTo>
                      <a:lnTo>
                        <a:pt x="195" y="275"/>
                      </a:lnTo>
                      <a:lnTo>
                        <a:pt x="198" y="274"/>
                      </a:lnTo>
                      <a:lnTo>
                        <a:pt x="199" y="273"/>
                      </a:lnTo>
                      <a:lnTo>
                        <a:pt x="201" y="272"/>
                      </a:lnTo>
                      <a:lnTo>
                        <a:pt x="204" y="271"/>
                      </a:lnTo>
                      <a:lnTo>
                        <a:pt x="206" y="270"/>
                      </a:lnTo>
                      <a:lnTo>
                        <a:pt x="208" y="270"/>
                      </a:lnTo>
                      <a:lnTo>
                        <a:pt x="210" y="270"/>
                      </a:lnTo>
                      <a:close/>
                      <a:moveTo>
                        <a:pt x="517" y="268"/>
                      </a:moveTo>
                      <a:lnTo>
                        <a:pt x="520" y="270"/>
                      </a:lnTo>
                      <a:lnTo>
                        <a:pt x="521" y="271"/>
                      </a:lnTo>
                      <a:lnTo>
                        <a:pt x="522" y="273"/>
                      </a:lnTo>
                      <a:lnTo>
                        <a:pt x="521" y="275"/>
                      </a:lnTo>
                      <a:lnTo>
                        <a:pt x="520" y="278"/>
                      </a:lnTo>
                      <a:lnTo>
                        <a:pt x="517" y="280"/>
                      </a:lnTo>
                      <a:lnTo>
                        <a:pt x="514" y="282"/>
                      </a:lnTo>
                      <a:lnTo>
                        <a:pt x="511" y="284"/>
                      </a:lnTo>
                      <a:lnTo>
                        <a:pt x="507" y="285"/>
                      </a:lnTo>
                      <a:lnTo>
                        <a:pt x="504" y="285"/>
                      </a:lnTo>
                      <a:lnTo>
                        <a:pt x="502" y="284"/>
                      </a:lnTo>
                      <a:lnTo>
                        <a:pt x="501" y="282"/>
                      </a:lnTo>
                      <a:lnTo>
                        <a:pt x="501" y="280"/>
                      </a:lnTo>
                      <a:lnTo>
                        <a:pt x="502" y="278"/>
                      </a:lnTo>
                      <a:lnTo>
                        <a:pt x="504" y="275"/>
                      </a:lnTo>
                      <a:lnTo>
                        <a:pt x="506" y="274"/>
                      </a:lnTo>
                      <a:lnTo>
                        <a:pt x="507" y="272"/>
                      </a:lnTo>
                      <a:lnTo>
                        <a:pt x="510" y="272"/>
                      </a:lnTo>
                      <a:lnTo>
                        <a:pt x="512" y="271"/>
                      </a:lnTo>
                      <a:lnTo>
                        <a:pt x="514" y="270"/>
                      </a:lnTo>
                      <a:lnTo>
                        <a:pt x="515" y="268"/>
                      </a:lnTo>
                      <a:lnTo>
                        <a:pt x="517" y="268"/>
                      </a:lnTo>
                      <a:close/>
                      <a:moveTo>
                        <a:pt x="330" y="266"/>
                      </a:moveTo>
                      <a:lnTo>
                        <a:pt x="332" y="266"/>
                      </a:lnTo>
                      <a:lnTo>
                        <a:pt x="335" y="268"/>
                      </a:lnTo>
                      <a:lnTo>
                        <a:pt x="337" y="268"/>
                      </a:lnTo>
                      <a:lnTo>
                        <a:pt x="338" y="268"/>
                      </a:lnTo>
                      <a:lnTo>
                        <a:pt x="338" y="269"/>
                      </a:lnTo>
                      <a:lnTo>
                        <a:pt x="338" y="271"/>
                      </a:lnTo>
                      <a:lnTo>
                        <a:pt x="337" y="272"/>
                      </a:lnTo>
                      <a:lnTo>
                        <a:pt x="336" y="273"/>
                      </a:lnTo>
                      <a:lnTo>
                        <a:pt x="334" y="274"/>
                      </a:lnTo>
                      <a:lnTo>
                        <a:pt x="330" y="275"/>
                      </a:lnTo>
                      <a:lnTo>
                        <a:pt x="328" y="276"/>
                      </a:lnTo>
                      <a:lnTo>
                        <a:pt x="327" y="276"/>
                      </a:lnTo>
                      <a:lnTo>
                        <a:pt x="324" y="276"/>
                      </a:lnTo>
                      <a:lnTo>
                        <a:pt x="320" y="275"/>
                      </a:lnTo>
                      <a:lnTo>
                        <a:pt x="318" y="275"/>
                      </a:lnTo>
                      <a:lnTo>
                        <a:pt x="317" y="274"/>
                      </a:lnTo>
                      <a:lnTo>
                        <a:pt x="317" y="272"/>
                      </a:lnTo>
                      <a:lnTo>
                        <a:pt x="318" y="271"/>
                      </a:lnTo>
                      <a:lnTo>
                        <a:pt x="319" y="269"/>
                      </a:lnTo>
                      <a:lnTo>
                        <a:pt x="321" y="268"/>
                      </a:lnTo>
                      <a:lnTo>
                        <a:pt x="324" y="268"/>
                      </a:lnTo>
                      <a:lnTo>
                        <a:pt x="327" y="266"/>
                      </a:lnTo>
                      <a:lnTo>
                        <a:pt x="330" y="266"/>
                      </a:lnTo>
                      <a:close/>
                      <a:moveTo>
                        <a:pt x="460" y="258"/>
                      </a:moveTo>
                      <a:lnTo>
                        <a:pt x="463" y="259"/>
                      </a:lnTo>
                      <a:lnTo>
                        <a:pt x="465" y="260"/>
                      </a:lnTo>
                      <a:lnTo>
                        <a:pt x="466" y="262"/>
                      </a:lnTo>
                      <a:lnTo>
                        <a:pt x="466" y="264"/>
                      </a:lnTo>
                      <a:lnTo>
                        <a:pt x="465" y="266"/>
                      </a:lnTo>
                      <a:lnTo>
                        <a:pt x="463" y="269"/>
                      </a:lnTo>
                      <a:lnTo>
                        <a:pt x="461" y="271"/>
                      </a:lnTo>
                      <a:lnTo>
                        <a:pt x="458" y="273"/>
                      </a:lnTo>
                      <a:lnTo>
                        <a:pt x="456" y="274"/>
                      </a:lnTo>
                      <a:lnTo>
                        <a:pt x="448" y="275"/>
                      </a:lnTo>
                      <a:lnTo>
                        <a:pt x="441" y="274"/>
                      </a:lnTo>
                      <a:lnTo>
                        <a:pt x="436" y="274"/>
                      </a:lnTo>
                      <a:lnTo>
                        <a:pt x="431" y="275"/>
                      </a:lnTo>
                      <a:lnTo>
                        <a:pt x="428" y="275"/>
                      </a:lnTo>
                      <a:lnTo>
                        <a:pt x="424" y="275"/>
                      </a:lnTo>
                      <a:lnTo>
                        <a:pt x="420" y="274"/>
                      </a:lnTo>
                      <a:lnTo>
                        <a:pt x="418" y="272"/>
                      </a:lnTo>
                      <a:lnTo>
                        <a:pt x="417" y="270"/>
                      </a:lnTo>
                      <a:lnTo>
                        <a:pt x="416" y="269"/>
                      </a:lnTo>
                      <a:lnTo>
                        <a:pt x="417" y="266"/>
                      </a:lnTo>
                      <a:lnTo>
                        <a:pt x="418" y="264"/>
                      </a:lnTo>
                      <a:lnTo>
                        <a:pt x="420" y="262"/>
                      </a:lnTo>
                      <a:lnTo>
                        <a:pt x="423" y="262"/>
                      </a:lnTo>
                      <a:lnTo>
                        <a:pt x="426" y="261"/>
                      </a:lnTo>
                      <a:lnTo>
                        <a:pt x="428" y="261"/>
                      </a:lnTo>
                      <a:lnTo>
                        <a:pt x="431" y="260"/>
                      </a:lnTo>
                      <a:lnTo>
                        <a:pt x="434" y="260"/>
                      </a:lnTo>
                      <a:lnTo>
                        <a:pt x="435" y="260"/>
                      </a:lnTo>
                      <a:lnTo>
                        <a:pt x="436" y="260"/>
                      </a:lnTo>
                      <a:lnTo>
                        <a:pt x="436" y="260"/>
                      </a:lnTo>
                      <a:lnTo>
                        <a:pt x="434" y="260"/>
                      </a:lnTo>
                      <a:lnTo>
                        <a:pt x="447" y="259"/>
                      </a:lnTo>
                      <a:lnTo>
                        <a:pt x="460" y="258"/>
                      </a:lnTo>
                      <a:close/>
                      <a:moveTo>
                        <a:pt x="208" y="246"/>
                      </a:moveTo>
                      <a:lnTo>
                        <a:pt x="212" y="250"/>
                      </a:lnTo>
                      <a:lnTo>
                        <a:pt x="214" y="251"/>
                      </a:lnTo>
                      <a:lnTo>
                        <a:pt x="215" y="252"/>
                      </a:lnTo>
                      <a:lnTo>
                        <a:pt x="216" y="254"/>
                      </a:lnTo>
                      <a:lnTo>
                        <a:pt x="217" y="255"/>
                      </a:lnTo>
                      <a:lnTo>
                        <a:pt x="217" y="258"/>
                      </a:lnTo>
                      <a:lnTo>
                        <a:pt x="217" y="260"/>
                      </a:lnTo>
                      <a:lnTo>
                        <a:pt x="215" y="262"/>
                      </a:lnTo>
                      <a:lnTo>
                        <a:pt x="211" y="263"/>
                      </a:lnTo>
                      <a:lnTo>
                        <a:pt x="208" y="264"/>
                      </a:lnTo>
                      <a:lnTo>
                        <a:pt x="205" y="264"/>
                      </a:lnTo>
                      <a:lnTo>
                        <a:pt x="201" y="264"/>
                      </a:lnTo>
                      <a:lnTo>
                        <a:pt x="199" y="264"/>
                      </a:lnTo>
                      <a:lnTo>
                        <a:pt x="198" y="263"/>
                      </a:lnTo>
                      <a:lnTo>
                        <a:pt x="196" y="263"/>
                      </a:lnTo>
                      <a:lnTo>
                        <a:pt x="195" y="263"/>
                      </a:lnTo>
                      <a:lnTo>
                        <a:pt x="193" y="264"/>
                      </a:lnTo>
                      <a:lnTo>
                        <a:pt x="192" y="264"/>
                      </a:lnTo>
                      <a:lnTo>
                        <a:pt x="190" y="265"/>
                      </a:lnTo>
                      <a:lnTo>
                        <a:pt x="189" y="265"/>
                      </a:lnTo>
                      <a:lnTo>
                        <a:pt x="188" y="266"/>
                      </a:lnTo>
                      <a:lnTo>
                        <a:pt x="186" y="265"/>
                      </a:lnTo>
                      <a:lnTo>
                        <a:pt x="183" y="265"/>
                      </a:lnTo>
                      <a:lnTo>
                        <a:pt x="179" y="265"/>
                      </a:lnTo>
                      <a:lnTo>
                        <a:pt x="176" y="265"/>
                      </a:lnTo>
                      <a:lnTo>
                        <a:pt x="173" y="266"/>
                      </a:lnTo>
                      <a:lnTo>
                        <a:pt x="172" y="268"/>
                      </a:lnTo>
                      <a:lnTo>
                        <a:pt x="169" y="269"/>
                      </a:lnTo>
                      <a:lnTo>
                        <a:pt x="167" y="270"/>
                      </a:lnTo>
                      <a:lnTo>
                        <a:pt x="165" y="271"/>
                      </a:lnTo>
                      <a:lnTo>
                        <a:pt x="164" y="272"/>
                      </a:lnTo>
                      <a:lnTo>
                        <a:pt x="162" y="272"/>
                      </a:lnTo>
                      <a:lnTo>
                        <a:pt x="161" y="272"/>
                      </a:lnTo>
                      <a:lnTo>
                        <a:pt x="160" y="271"/>
                      </a:lnTo>
                      <a:lnTo>
                        <a:pt x="160" y="270"/>
                      </a:lnTo>
                      <a:lnTo>
                        <a:pt x="161" y="268"/>
                      </a:lnTo>
                      <a:lnTo>
                        <a:pt x="163" y="264"/>
                      </a:lnTo>
                      <a:lnTo>
                        <a:pt x="165" y="262"/>
                      </a:lnTo>
                      <a:lnTo>
                        <a:pt x="169" y="259"/>
                      </a:lnTo>
                      <a:lnTo>
                        <a:pt x="174" y="257"/>
                      </a:lnTo>
                      <a:lnTo>
                        <a:pt x="177" y="255"/>
                      </a:lnTo>
                      <a:lnTo>
                        <a:pt x="186" y="252"/>
                      </a:lnTo>
                      <a:lnTo>
                        <a:pt x="194" y="249"/>
                      </a:lnTo>
                      <a:lnTo>
                        <a:pt x="201" y="246"/>
                      </a:lnTo>
                      <a:lnTo>
                        <a:pt x="208" y="246"/>
                      </a:lnTo>
                      <a:close/>
                      <a:moveTo>
                        <a:pt x="404" y="204"/>
                      </a:moveTo>
                      <a:lnTo>
                        <a:pt x="409" y="204"/>
                      </a:lnTo>
                      <a:lnTo>
                        <a:pt x="413" y="205"/>
                      </a:lnTo>
                      <a:lnTo>
                        <a:pt x="416" y="207"/>
                      </a:lnTo>
                      <a:lnTo>
                        <a:pt x="417" y="208"/>
                      </a:lnTo>
                      <a:lnTo>
                        <a:pt x="418" y="209"/>
                      </a:lnTo>
                      <a:lnTo>
                        <a:pt x="419" y="211"/>
                      </a:lnTo>
                      <a:lnTo>
                        <a:pt x="422" y="213"/>
                      </a:lnTo>
                      <a:lnTo>
                        <a:pt x="423" y="214"/>
                      </a:lnTo>
                      <a:lnTo>
                        <a:pt x="425" y="215"/>
                      </a:lnTo>
                      <a:lnTo>
                        <a:pt x="427" y="216"/>
                      </a:lnTo>
                      <a:lnTo>
                        <a:pt x="430" y="215"/>
                      </a:lnTo>
                      <a:lnTo>
                        <a:pt x="433" y="215"/>
                      </a:lnTo>
                      <a:lnTo>
                        <a:pt x="435" y="215"/>
                      </a:lnTo>
                      <a:lnTo>
                        <a:pt x="437" y="216"/>
                      </a:lnTo>
                      <a:lnTo>
                        <a:pt x="439" y="218"/>
                      </a:lnTo>
                      <a:lnTo>
                        <a:pt x="440" y="219"/>
                      </a:lnTo>
                      <a:lnTo>
                        <a:pt x="440" y="220"/>
                      </a:lnTo>
                      <a:lnTo>
                        <a:pt x="441" y="222"/>
                      </a:lnTo>
                      <a:lnTo>
                        <a:pt x="441" y="225"/>
                      </a:lnTo>
                      <a:lnTo>
                        <a:pt x="441" y="226"/>
                      </a:lnTo>
                      <a:lnTo>
                        <a:pt x="441" y="228"/>
                      </a:lnTo>
                      <a:lnTo>
                        <a:pt x="444" y="229"/>
                      </a:lnTo>
                      <a:lnTo>
                        <a:pt x="445" y="229"/>
                      </a:lnTo>
                      <a:lnTo>
                        <a:pt x="446" y="230"/>
                      </a:lnTo>
                      <a:lnTo>
                        <a:pt x="448" y="230"/>
                      </a:lnTo>
                      <a:lnTo>
                        <a:pt x="449" y="232"/>
                      </a:lnTo>
                      <a:lnTo>
                        <a:pt x="449" y="233"/>
                      </a:lnTo>
                      <a:lnTo>
                        <a:pt x="449" y="235"/>
                      </a:lnTo>
                      <a:lnTo>
                        <a:pt x="448" y="236"/>
                      </a:lnTo>
                      <a:lnTo>
                        <a:pt x="446" y="237"/>
                      </a:lnTo>
                      <a:lnTo>
                        <a:pt x="444" y="238"/>
                      </a:lnTo>
                      <a:lnTo>
                        <a:pt x="441" y="240"/>
                      </a:lnTo>
                      <a:lnTo>
                        <a:pt x="441" y="240"/>
                      </a:lnTo>
                      <a:lnTo>
                        <a:pt x="443" y="241"/>
                      </a:lnTo>
                      <a:lnTo>
                        <a:pt x="443" y="242"/>
                      </a:lnTo>
                      <a:lnTo>
                        <a:pt x="444" y="244"/>
                      </a:lnTo>
                      <a:lnTo>
                        <a:pt x="441" y="247"/>
                      </a:lnTo>
                      <a:lnTo>
                        <a:pt x="439" y="248"/>
                      </a:lnTo>
                      <a:lnTo>
                        <a:pt x="436" y="249"/>
                      </a:lnTo>
                      <a:lnTo>
                        <a:pt x="433" y="250"/>
                      </a:lnTo>
                      <a:lnTo>
                        <a:pt x="429" y="251"/>
                      </a:lnTo>
                      <a:lnTo>
                        <a:pt x="423" y="252"/>
                      </a:lnTo>
                      <a:lnTo>
                        <a:pt x="417" y="255"/>
                      </a:lnTo>
                      <a:lnTo>
                        <a:pt x="411" y="258"/>
                      </a:lnTo>
                      <a:lnTo>
                        <a:pt x="407" y="258"/>
                      </a:lnTo>
                      <a:lnTo>
                        <a:pt x="404" y="257"/>
                      </a:lnTo>
                      <a:lnTo>
                        <a:pt x="403" y="255"/>
                      </a:lnTo>
                      <a:lnTo>
                        <a:pt x="401" y="254"/>
                      </a:lnTo>
                      <a:lnTo>
                        <a:pt x="400" y="253"/>
                      </a:lnTo>
                      <a:lnTo>
                        <a:pt x="398" y="252"/>
                      </a:lnTo>
                      <a:lnTo>
                        <a:pt x="396" y="251"/>
                      </a:lnTo>
                      <a:lnTo>
                        <a:pt x="394" y="250"/>
                      </a:lnTo>
                      <a:lnTo>
                        <a:pt x="393" y="248"/>
                      </a:lnTo>
                      <a:lnTo>
                        <a:pt x="391" y="247"/>
                      </a:lnTo>
                      <a:lnTo>
                        <a:pt x="391" y="246"/>
                      </a:lnTo>
                      <a:lnTo>
                        <a:pt x="392" y="244"/>
                      </a:lnTo>
                      <a:lnTo>
                        <a:pt x="395" y="243"/>
                      </a:lnTo>
                      <a:lnTo>
                        <a:pt x="397" y="243"/>
                      </a:lnTo>
                      <a:lnTo>
                        <a:pt x="401" y="243"/>
                      </a:lnTo>
                      <a:lnTo>
                        <a:pt x="402" y="243"/>
                      </a:lnTo>
                      <a:lnTo>
                        <a:pt x="404" y="242"/>
                      </a:lnTo>
                      <a:lnTo>
                        <a:pt x="407" y="242"/>
                      </a:lnTo>
                      <a:lnTo>
                        <a:pt x="408" y="241"/>
                      </a:lnTo>
                      <a:lnTo>
                        <a:pt x="409" y="240"/>
                      </a:lnTo>
                      <a:lnTo>
                        <a:pt x="409" y="238"/>
                      </a:lnTo>
                      <a:lnTo>
                        <a:pt x="408" y="237"/>
                      </a:lnTo>
                      <a:lnTo>
                        <a:pt x="406" y="236"/>
                      </a:lnTo>
                      <a:lnTo>
                        <a:pt x="404" y="236"/>
                      </a:lnTo>
                      <a:lnTo>
                        <a:pt x="402" y="236"/>
                      </a:lnTo>
                      <a:lnTo>
                        <a:pt x="400" y="235"/>
                      </a:lnTo>
                      <a:lnTo>
                        <a:pt x="397" y="235"/>
                      </a:lnTo>
                      <a:lnTo>
                        <a:pt x="397" y="233"/>
                      </a:lnTo>
                      <a:lnTo>
                        <a:pt x="396" y="231"/>
                      </a:lnTo>
                      <a:lnTo>
                        <a:pt x="396" y="230"/>
                      </a:lnTo>
                      <a:lnTo>
                        <a:pt x="396" y="228"/>
                      </a:lnTo>
                      <a:lnTo>
                        <a:pt x="397" y="227"/>
                      </a:lnTo>
                      <a:lnTo>
                        <a:pt x="396" y="226"/>
                      </a:lnTo>
                      <a:lnTo>
                        <a:pt x="395" y="226"/>
                      </a:lnTo>
                      <a:lnTo>
                        <a:pt x="394" y="225"/>
                      </a:lnTo>
                      <a:lnTo>
                        <a:pt x="392" y="225"/>
                      </a:lnTo>
                      <a:lnTo>
                        <a:pt x="391" y="222"/>
                      </a:lnTo>
                      <a:lnTo>
                        <a:pt x="391" y="221"/>
                      </a:lnTo>
                      <a:lnTo>
                        <a:pt x="392" y="219"/>
                      </a:lnTo>
                      <a:lnTo>
                        <a:pt x="392" y="218"/>
                      </a:lnTo>
                      <a:lnTo>
                        <a:pt x="393" y="217"/>
                      </a:lnTo>
                      <a:lnTo>
                        <a:pt x="394" y="215"/>
                      </a:lnTo>
                      <a:lnTo>
                        <a:pt x="395" y="214"/>
                      </a:lnTo>
                      <a:lnTo>
                        <a:pt x="394" y="211"/>
                      </a:lnTo>
                      <a:lnTo>
                        <a:pt x="394" y="210"/>
                      </a:lnTo>
                      <a:lnTo>
                        <a:pt x="394" y="209"/>
                      </a:lnTo>
                      <a:lnTo>
                        <a:pt x="395" y="207"/>
                      </a:lnTo>
                      <a:lnTo>
                        <a:pt x="396" y="206"/>
                      </a:lnTo>
                      <a:lnTo>
                        <a:pt x="400" y="205"/>
                      </a:lnTo>
                      <a:lnTo>
                        <a:pt x="404" y="204"/>
                      </a:lnTo>
                      <a:close/>
                      <a:moveTo>
                        <a:pt x="310" y="194"/>
                      </a:moveTo>
                      <a:lnTo>
                        <a:pt x="313" y="195"/>
                      </a:lnTo>
                      <a:lnTo>
                        <a:pt x="315" y="196"/>
                      </a:lnTo>
                      <a:lnTo>
                        <a:pt x="317" y="197"/>
                      </a:lnTo>
                      <a:lnTo>
                        <a:pt x="319" y="197"/>
                      </a:lnTo>
                      <a:lnTo>
                        <a:pt x="321" y="199"/>
                      </a:lnTo>
                      <a:lnTo>
                        <a:pt x="323" y="202"/>
                      </a:lnTo>
                      <a:lnTo>
                        <a:pt x="323" y="205"/>
                      </a:lnTo>
                      <a:lnTo>
                        <a:pt x="324" y="207"/>
                      </a:lnTo>
                      <a:lnTo>
                        <a:pt x="324" y="210"/>
                      </a:lnTo>
                      <a:lnTo>
                        <a:pt x="325" y="211"/>
                      </a:lnTo>
                      <a:lnTo>
                        <a:pt x="327" y="213"/>
                      </a:lnTo>
                      <a:lnTo>
                        <a:pt x="328" y="213"/>
                      </a:lnTo>
                      <a:lnTo>
                        <a:pt x="330" y="213"/>
                      </a:lnTo>
                      <a:lnTo>
                        <a:pt x="331" y="210"/>
                      </a:lnTo>
                      <a:lnTo>
                        <a:pt x="332" y="210"/>
                      </a:lnTo>
                      <a:lnTo>
                        <a:pt x="335" y="209"/>
                      </a:lnTo>
                      <a:lnTo>
                        <a:pt x="336" y="208"/>
                      </a:lnTo>
                      <a:lnTo>
                        <a:pt x="337" y="207"/>
                      </a:lnTo>
                      <a:lnTo>
                        <a:pt x="338" y="208"/>
                      </a:lnTo>
                      <a:lnTo>
                        <a:pt x="340" y="209"/>
                      </a:lnTo>
                      <a:lnTo>
                        <a:pt x="342" y="210"/>
                      </a:lnTo>
                      <a:lnTo>
                        <a:pt x="342" y="213"/>
                      </a:lnTo>
                      <a:lnTo>
                        <a:pt x="342" y="214"/>
                      </a:lnTo>
                      <a:lnTo>
                        <a:pt x="343" y="216"/>
                      </a:lnTo>
                      <a:lnTo>
                        <a:pt x="343" y="218"/>
                      </a:lnTo>
                      <a:lnTo>
                        <a:pt x="345" y="219"/>
                      </a:lnTo>
                      <a:lnTo>
                        <a:pt x="347" y="221"/>
                      </a:lnTo>
                      <a:lnTo>
                        <a:pt x="349" y="224"/>
                      </a:lnTo>
                      <a:lnTo>
                        <a:pt x="352" y="225"/>
                      </a:lnTo>
                      <a:lnTo>
                        <a:pt x="354" y="227"/>
                      </a:lnTo>
                      <a:lnTo>
                        <a:pt x="357" y="229"/>
                      </a:lnTo>
                      <a:lnTo>
                        <a:pt x="358" y="231"/>
                      </a:lnTo>
                      <a:lnTo>
                        <a:pt x="359" y="235"/>
                      </a:lnTo>
                      <a:lnTo>
                        <a:pt x="359" y="237"/>
                      </a:lnTo>
                      <a:lnTo>
                        <a:pt x="359" y="239"/>
                      </a:lnTo>
                      <a:lnTo>
                        <a:pt x="359" y="242"/>
                      </a:lnTo>
                      <a:lnTo>
                        <a:pt x="359" y="244"/>
                      </a:lnTo>
                      <a:lnTo>
                        <a:pt x="361" y="248"/>
                      </a:lnTo>
                      <a:lnTo>
                        <a:pt x="362" y="248"/>
                      </a:lnTo>
                      <a:lnTo>
                        <a:pt x="363" y="249"/>
                      </a:lnTo>
                      <a:lnTo>
                        <a:pt x="363" y="250"/>
                      </a:lnTo>
                      <a:lnTo>
                        <a:pt x="365" y="252"/>
                      </a:lnTo>
                      <a:lnTo>
                        <a:pt x="367" y="254"/>
                      </a:lnTo>
                      <a:lnTo>
                        <a:pt x="368" y="257"/>
                      </a:lnTo>
                      <a:lnTo>
                        <a:pt x="368" y="260"/>
                      </a:lnTo>
                      <a:lnTo>
                        <a:pt x="368" y="262"/>
                      </a:lnTo>
                      <a:lnTo>
                        <a:pt x="365" y="264"/>
                      </a:lnTo>
                      <a:lnTo>
                        <a:pt x="364" y="265"/>
                      </a:lnTo>
                      <a:lnTo>
                        <a:pt x="361" y="266"/>
                      </a:lnTo>
                      <a:lnTo>
                        <a:pt x="357" y="266"/>
                      </a:lnTo>
                      <a:lnTo>
                        <a:pt x="353" y="266"/>
                      </a:lnTo>
                      <a:lnTo>
                        <a:pt x="351" y="265"/>
                      </a:lnTo>
                      <a:lnTo>
                        <a:pt x="349" y="264"/>
                      </a:lnTo>
                      <a:lnTo>
                        <a:pt x="348" y="262"/>
                      </a:lnTo>
                      <a:lnTo>
                        <a:pt x="347" y="260"/>
                      </a:lnTo>
                      <a:lnTo>
                        <a:pt x="347" y="257"/>
                      </a:lnTo>
                      <a:lnTo>
                        <a:pt x="347" y="254"/>
                      </a:lnTo>
                      <a:lnTo>
                        <a:pt x="347" y="252"/>
                      </a:lnTo>
                      <a:lnTo>
                        <a:pt x="346" y="251"/>
                      </a:lnTo>
                      <a:lnTo>
                        <a:pt x="345" y="250"/>
                      </a:lnTo>
                      <a:lnTo>
                        <a:pt x="342" y="250"/>
                      </a:lnTo>
                      <a:lnTo>
                        <a:pt x="340" y="250"/>
                      </a:lnTo>
                      <a:lnTo>
                        <a:pt x="338" y="250"/>
                      </a:lnTo>
                      <a:lnTo>
                        <a:pt x="335" y="249"/>
                      </a:lnTo>
                      <a:lnTo>
                        <a:pt x="331" y="249"/>
                      </a:lnTo>
                      <a:lnTo>
                        <a:pt x="329" y="248"/>
                      </a:lnTo>
                      <a:lnTo>
                        <a:pt x="328" y="246"/>
                      </a:lnTo>
                      <a:lnTo>
                        <a:pt x="326" y="246"/>
                      </a:lnTo>
                      <a:lnTo>
                        <a:pt x="324" y="246"/>
                      </a:lnTo>
                      <a:lnTo>
                        <a:pt x="321" y="248"/>
                      </a:lnTo>
                      <a:lnTo>
                        <a:pt x="320" y="249"/>
                      </a:lnTo>
                      <a:lnTo>
                        <a:pt x="319" y="251"/>
                      </a:lnTo>
                      <a:lnTo>
                        <a:pt x="319" y="252"/>
                      </a:lnTo>
                      <a:lnTo>
                        <a:pt x="318" y="253"/>
                      </a:lnTo>
                      <a:lnTo>
                        <a:pt x="317" y="254"/>
                      </a:lnTo>
                      <a:lnTo>
                        <a:pt x="310" y="255"/>
                      </a:lnTo>
                      <a:lnTo>
                        <a:pt x="303" y="254"/>
                      </a:lnTo>
                      <a:lnTo>
                        <a:pt x="296" y="251"/>
                      </a:lnTo>
                      <a:lnTo>
                        <a:pt x="291" y="248"/>
                      </a:lnTo>
                      <a:lnTo>
                        <a:pt x="288" y="243"/>
                      </a:lnTo>
                      <a:lnTo>
                        <a:pt x="288" y="241"/>
                      </a:lnTo>
                      <a:lnTo>
                        <a:pt x="291" y="240"/>
                      </a:lnTo>
                      <a:lnTo>
                        <a:pt x="293" y="238"/>
                      </a:lnTo>
                      <a:lnTo>
                        <a:pt x="296" y="237"/>
                      </a:lnTo>
                      <a:lnTo>
                        <a:pt x="298" y="237"/>
                      </a:lnTo>
                      <a:lnTo>
                        <a:pt x="300" y="236"/>
                      </a:lnTo>
                      <a:lnTo>
                        <a:pt x="303" y="236"/>
                      </a:lnTo>
                      <a:lnTo>
                        <a:pt x="305" y="235"/>
                      </a:lnTo>
                      <a:lnTo>
                        <a:pt x="307" y="232"/>
                      </a:lnTo>
                      <a:lnTo>
                        <a:pt x="308" y="231"/>
                      </a:lnTo>
                      <a:lnTo>
                        <a:pt x="308" y="229"/>
                      </a:lnTo>
                      <a:lnTo>
                        <a:pt x="307" y="227"/>
                      </a:lnTo>
                      <a:lnTo>
                        <a:pt x="305" y="225"/>
                      </a:lnTo>
                      <a:lnTo>
                        <a:pt x="303" y="222"/>
                      </a:lnTo>
                      <a:lnTo>
                        <a:pt x="300" y="221"/>
                      </a:lnTo>
                      <a:lnTo>
                        <a:pt x="298" y="220"/>
                      </a:lnTo>
                      <a:lnTo>
                        <a:pt x="296" y="219"/>
                      </a:lnTo>
                      <a:lnTo>
                        <a:pt x="295" y="218"/>
                      </a:lnTo>
                      <a:lnTo>
                        <a:pt x="293" y="218"/>
                      </a:lnTo>
                      <a:lnTo>
                        <a:pt x="291" y="218"/>
                      </a:lnTo>
                      <a:lnTo>
                        <a:pt x="289" y="218"/>
                      </a:lnTo>
                      <a:lnTo>
                        <a:pt x="288" y="218"/>
                      </a:lnTo>
                      <a:lnTo>
                        <a:pt x="287" y="217"/>
                      </a:lnTo>
                      <a:lnTo>
                        <a:pt x="286" y="215"/>
                      </a:lnTo>
                      <a:lnTo>
                        <a:pt x="286" y="213"/>
                      </a:lnTo>
                      <a:lnTo>
                        <a:pt x="287" y="209"/>
                      </a:lnTo>
                      <a:lnTo>
                        <a:pt x="288" y="206"/>
                      </a:lnTo>
                      <a:lnTo>
                        <a:pt x="291" y="203"/>
                      </a:lnTo>
                      <a:lnTo>
                        <a:pt x="294" y="199"/>
                      </a:lnTo>
                      <a:lnTo>
                        <a:pt x="298" y="197"/>
                      </a:lnTo>
                      <a:lnTo>
                        <a:pt x="300" y="196"/>
                      </a:lnTo>
                      <a:lnTo>
                        <a:pt x="304" y="195"/>
                      </a:lnTo>
                      <a:lnTo>
                        <a:pt x="307" y="194"/>
                      </a:lnTo>
                      <a:lnTo>
                        <a:pt x="310" y="194"/>
                      </a:lnTo>
                      <a:close/>
                      <a:moveTo>
                        <a:pt x="401" y="148"/>
                      </a:moveTo>
                      <a:lnTo>
                        <a:pt x="405" y="149"/>
                      </a:lnTo>
                      <a:lnTo>
                        <a:pt x="408" y="151"/>
                      </a:lnTo>
                      <a:lnTo>
                        <a:pt x="411" y="153"/>
                      </a:lnTo>
                      <a:lnTo>
                        <a:pt x="412" y="155"/>
                      </a:lnTo>
                      <a:lnTo>
                        <a:pt x="412" y="158"/>
                      </a:lnTo>
                      <a:lnTo>
                        <a:pt x="411" y="160"/>
                      </a:lnTo>
                      <a:lnTo>
                        <a:pt x="408" y="162"/>
                      </a:lnTo>
                      <a:lnTo>
                        <a:pt x="405" y="163"/>
                      </a:lnTo>
                      <a:lnTo>
                        <a:pt x="401" y="163"/>
                      </a:lnTo>
                      <a:lnTo>
                        <a:pt x="398" y="163"/>
                      </a:lnTo>
                      <a:lnTo>
                        <a:pt x="395" y="162"/>
                      </a:lnTo>
                      <a:lnTo>
                        <a:pt x="394" y="162"/>
                      </a:lnTo>
                      <a:lnTo>
                        <a:pt x="392" y="160"/>
                      </a:lnTo>
                      <a:lnTo>
                        <a:pt x="391" y="159"/>
                      </a:lnTo>
                      <a:lnTo>
                        <a:pt x="389" y="156"/>
                      </a:lnTo>
                      <a:lnTo>
                        <a:pt x="381" y="156"/>
                      </a:lnTo>
                      <a:lnTo>
                        <a:pt x="379" y="156"/>
                      </a:lnTo>
                      <a:lnTo>
                        <a:pt x="378" y="155"/>
                      </a:lnTo>
                      <a:lnTo>
                        <a:pt x="378" y="154"/>
                      </a:lnTo>
                      <a:lnTo>
                        <a:pt x="379" y="153"/>
                      </a:lnTo>
                      <a:lnTo>
                        <a:pt x="380" y="152"/>
                      </a:lnTo>
                      <a:lnTo>
                        <a:pt x="383" y="151"/>
                      </a:lnTo>
                      <a:lnTo>
                        <a:pt x="385" y="150"/>
                      </a:lnTo>
                      <a:lnTo>
                        <a:pt x="389" y="150"/>
                      </a:lnTo>
                      <a:lnTo>
                        <a:pt x="391" y="149"/>
                      </a:lnTo>
                      <a:lnTo>
                        <a:pt x="394" y="149"/>
                      </a:lnTo>
                      <a:lnTo>
                        <a:pt x="396" y="149"/>
                      </a:lnTo>
                      <a:lnTo>
                        <a:pt x="401" y="148"/>
                      </a:lnTo>
                      <a:close/>
                      <a:moveTo>
                        <a:pt x="1203" y="0"/>
                      </a:moveTo>
                      <a:lnTo>
                        <a:pt x="1204" y="0"/>
                      </a:lnTo>
                      <a:lnTo>
                        <a:pt x="1207" y="1"/>
                      </a:lnTo>
                      <a:lnTo>
                        <a:pt x="1210" y="2"/>
                      </a:lnTo>
                      <a:lnTo>
                        <a:pt x="1212" y="4"/>
                      </a:lnTo>
                      <a:lnTo>
                        <a:pt x="1212" y="6"/>
                      </a:lnTo>
                      <a:lnTo>
                        <a:pt x="1213" y="6"/>
                      </a:lnTo>
                      <a:lnTo>
                        <a:pt x="1215" y="8"/>
                      </a:lnTo>
                      <a:lnTo>
                        <a:pt x="1216" y="9"/>
                      </a:lnTo>
                      <a:lnTo>
                        <a:pt x="1219" y="10"/>
                      </a:lnTo>
                      <a:lnTo>
                        <a:pt x="1220" y="10"/>
                      </a:lnTo>
                      <a:lnTo>
                        <a:pt x="1221" y="10"/>
                      </a:lnTo>
                      <a:lnTo>
                        <a:pt x="1221" y="9"/>
                      </a:lnTo>
                      <a:lnTo>
                        <a:pt x="1221" y="8"/>
                      </a:lnTo>
                      <a:lnTo>
                        <a:pt x="1220" y="6"/>
                      </a:lnTo>
                      <a:lnTo>
                        <a:pt x="1219" y="3"/>
                      </a:lnTo>
                      <a:lnTo>
                        <a:pt x="1218" y="2"/>
                      </a:lnTo>
                      <a:lnTo>
                        <a:pt x="1216" y="1"/>
                      </a:lnTo>
                      <a:lnTo>
                        <a:pt x="1216" y="0"/>
                      </a:lnTo>
                      <a:lnTo>
                        <a:pt x="1219" y="0"/>
                      </a:lnTo>
                      <a:lnTo>
                        <a:pt x="1221" y="1"/>
                      </a:lnTo>
                      <a:lnTo>
                        <a:pt x="1223" y="2"/>
                      </a:lnTo>
                      <a:lnTo>
                        <a:pt x="1225" y="2"/>
                      </a:lnTo>
                      <a:lnTo>
                        <a:pt x="1227" y="2"/>
                      </a:lnTo>
                      <a:lnTo>
                        <a:pt x="1230" y="2"/>
                      </a:lnTo>
                      <a:lnTo>
                        <a:pt x="1231" y="2"/>
                      </a:lnTo>
                      <a:lnTo>
                        <a:pt x="1233" y="1"/>
                      </a:lnTo>
                      <a:lnTo>
                        <a:pt x="1234" y="0"/>
                      </a:lnTo>
                      <a:lnTo>
                        <a:pt x="1236" y="0"/>
                      </a:lnTo>
                      <a:lnTo>
                        <a:pt x="1240" y="2"/>
                      </a:lnTo>
                      <a:lnTo>
                        <a:pt x="1243" y="3"/>
                      </a:lnTo>
                      <a:lnTo>
                        <a:pt x="1246" y="6"/>
                      </a:lnTo>
                      <a:lnTo>
                        <a:pt x="1251" y="7"/>
                      </a:lnTo>
                      <a:lnTo>
                        <a:pt x="1254" y="7"/>
                      </a:lnTo>
                      <a:lnTo>
                        <a:pt x="1255" y="6"/>
                      </a:lnTo>
                      <a:lnTo>
                        <a:pt x="1257" y="6"/>
                      </a:lnTo>
                      <a:lnTo>
                        <a:pt x="1259" y="6"/>
                      </a:lnTo>
                      <a:lnTo>
                        <a:pt x="1263" y="7"/>
                      </a:lnTo>
                      <a:lnTo>
                        <a:pt x="1266" y="8"/>
                      </a:lnTo>
                      <a:lnTo>
                        <a:pt x="1270" y="9"/>
                      </a:lnTo>
                      <a:lnTo>
                        <a:pt x="1275" y="10"/>
                      </a:lnTo>
                      <a:lnTo>
                        <a:pt x="1278" y="11"/>
                      </a:lnTo>
                      <a:lnTo>
                        <a:pt x="1291" y="14"/>
                      </a:lnTo>
                      <a:lnTo>
                        <a:pt x="1304" y="20"/>
                      </a:lnTo>
                      <a:lnTo>
                        <a:pt x="1307" y="22"/>
                      </a:lnTo>
                      <a:lnTo>
                        <a:pt x="1308" y="23"/>
                      </a:lnTo>
                      <a:lnTo>
                        <a:pt x="1309" y="25"/>
                      </a:lnTo>
                      <a:lnTo>
                        <a:pt x="1311" y="28"/>
                      </a:lnTo>
                      <a:lnTo>
                        <a:pt x="1313" y="29"/>
                      </a:lnTo>
                      <a:lnTo>
                        <a:pt x="1322" y="29"/>
                      </a:lnTo>
                      <a:lnTo>
                        <a:pt x="1329" y="32"/>
                      </a:lnTo>
                      <a:lnTo>
                        <a:pt x="1335" y="35"/>
                      </a:lnTo>
                      <a:lnTo>
                        <a:pt x="1342" y="38"/>
                      </a:lnTo>
                      <a:lnTo>
                        <a:pt x="1345" y="40"/>
                      </a:lnTo>
                      <a:lnTo>
                        <a:pt x="1349" y="43"/>
                      </a:lnTo>
                      <a:lnTo>
                        <a:pt x="1349" y="45"/>
                      </a:lnTo>
                      <a:lnTo>
                        <a:pt x="1349" y="47"/>
                      </a:lnTo>
                      <a:lnTo>
                        <a:pt x="1346" y="49"/>
                      </a:lnTo>
                      <a:lnTo>
                        <a:pt x="1340" y="49"/>
                      </a:lnTo>
                      <a:lnTo>
                        <a:pt x="1338" y="49"/>
                      </a:lnTo>
                      <a:lnTo>
                        <a:pt x="1336" y="50"/>
                      </a:lnTo>
                      <a:lnTo>
                        <a:pt x="1335" y="50"/>
                      </a:lnTo>
                      <a:lnTo>
                        <a:pt x="1333" y="50"/>
                      </a:lnTo>
                      <a:lnTo>
                        <a:pt x="1331" y="49"/>
                      </a:lnTo>
                      <a:lnTo>
                        <a:pt x="1298" y="42"/>
                      </a:lnTo>
                      <a:lnTo>
                        <a:pt x="1296" y="41"/>
                      </a:lnTo>
                      <a:lnTo>
                        <a:pt x="1295" y="41"/>
                      </a:lnTo>
                      <a:lnTo>
                        <a:pt x="1293" y="41"/>
                      </a:lnTo>
                      <a:lnTo>
                        <a:pt x="1292" y="42"/>
                      </a:lnTo>
                      <a:lnTo>
                        <a:pt x="1291" y="42"/>
                      </a:lnTo>
                      <a:lnTo>
                        <a:pt x="1288" y="43"/>
                      </a:lnTo>
                      <a:lnTo>
                        <a:pt x="1285" y="43"/>
                      </a:lnTo>
                      <a:lnTo>
                        <a:pt x="1282" y="42"/>
                      </a:lnTo>
                      <a:lnTo>
                        <a:pt x="1280" y="42"/>
                      </a:lnTo>
                      <a:lnTo>
                        <a:pt x="1278" y="42"/>
                      </a:lnTo>
                      <a:lnTo>
                        <a:pt x="1276" y="43"/>
                      </a:lnTo>
                      <a:lnTo>
                        <a:pt x="1274" y="43"/>
                      </a:lnTo>
                      <a:lnTo>
                        <a:pt x="1270" y="43"/>
                      </a:lnTo>
                      <a:lnTo>
                        <a:pt x="1267" y="42"/>
                      </a:lnTo>
                      <a:lnTo>
                        <a:pt x="1258" y="42"/>
                      </a:lnTo>
                      <a:lnTo>
                        <a:pt x="1256" y="42"/>
                      </a:lnTo>
                      <a:lnTo>
                        <a:pt x="1253" y="42"/>
                      </a:lnTo>
                      <a:lnTo>
                        <a:pt x="1251" y="42"/>
                      </a:lnTo>
                      <a:lnTo>
                        <a:pt x="1248" y="43"/>
                      </a:lnTo>
                      <a:lnTo>
                        <a:pt x="1247" y="43"/>
                      </a:lnTo>
                      <a:lnTo>
                        <a:pt x="1247" y="44"/>
                      </a:lnTo>
                      <a:lnTo>
                        <a:pt x="1251" y="45"/>
                      </a:lnTo>
                      <a:lnTo>
                        <a:pt x="1254" y="45"/>
                      </a:lnTo>
                      <a:lnTo>
                        <a:pt x="1256" y="44"/>
                      </a:lnTo>
                      <a:lnTo>
                        <a:pt x="1258" y="44"/>
                      </a:lnTo>
                      <a:lnTo>
                        <a:pt x="1265" y="44"/>
                      </a:lnTo>
                      <a:lnTo>
                        <a:pt x="1273" y="45"/>
                      </a:lnTo>
                      <a:lnTo>
                        <a:pt x="1280" y="46"/>
                      </a:lnTo>
                      <a:lnTo>
                        <a:pt x="1298" y="46"/>
                      </a:lnTo>
                      <a:lnTo>
                        <a:pt x="1304" y="45"/>
                      </a:lnTo>
                      <a:lnTo>
                        <a:pt x="1313" y="47"/>
                      </a:lnTo>
                      <a:lnTo>
                        <a:pt x="1322" y="51"/>
                      </a:lnTo>
                      <a:lnTo>
                        <a:pt x="1328" y="53"/>
                      </a:lnTo>
                      <a:lnTo>
                        <a:pt x="1335" y="55"/>
                      </a:lnTo>
                      <a:lnTo>
                        <a:pt x="1342" y="57"/>
                      </a:lnTo>
                      <a:lnTo>
                        <a:pt x="1344" y="56"/>
                      </a:lnTo>
                      <a:lnTo>
                        <a:pt x="1346" y="55"/>
                      </a:lnTo>
                      <a:lnTo>
                        <a:pt x="1349" y="55"/>
                      </a:lnTo>
                      <a:lnTo>
                        <a:pt x="1351" y="55"/>
                      </a:lnTo>
                      <a:lnTo>
                        <a:pt x="1355" y="56"/>
                      </a:lnTo>
                      <a:lnTo>
                        <a:pt x="1360" y="57"/>
                      </a:lnTo>
                      <a:lnTo>
                        <a:pt x="1362" y="57"/>
                      </a:lnTo>
                      <a:lnTo>
                        <a:pt x="1363" y="58"/>
                      </a:lnTo>
                      <a:lnTo>
                        <a:pt x="1365" y="61"/>
                      </a:lnTo>
                      <a:lnTo>
                        <a:pt x="1366" y="63"/>
                      </a:lnTo>
                      <a:lnTo>
                        <a:pt x="1367" y="64"/>
                      </a:lnTo>
                      <a:lnTo>
                        <a:pt x="1368" y="66"/>
                      </a:lnTo>
                      <a:lnTo>
                        <a:pt x="1368" y="68"/>
                      </a:lnTo>
                      <a:lnTo>
                        <a:pt x="1367" y="71"/>
                      </a:lnTo>
                      <a:lnTo>
                        <a:pt x="1367" y="73"/>
                      </a:lnTo>
                      <a:lnTo>
                        <a:pt x="1367" y="75"/>
                      </a:lnTo>
                      <a:lnTo>
                        <a:pt x="1368" y="76"/>
                      </a:lnTo>
                      <a:lnTo>
                        <a:pt x="1371" y="78"/>
                      </a:lnTo>
                      <a:lnTo>
                        <a:pt x="1373" y="78"/>
                      </a:lnTo>
                      <a:lnTo>
                        <a:pt x="1375" y="78"/>
                      </a:lnTo>
                      <a:lnTo>
                        <a:pt x="1377" y="78"/>
                      </a:lnTo>
                      <a:lnTo>
                        <a:pt x="1378" y="77"/>
                      </a:lnTo>
                      <a:lnTo>
                        <a:pt x="1379" y="76"/>
                      </a:lnTo>
                      <a:lnTo>
                        <a:pt x="1380" y="76"/>
                      </a:lnTo>
                      <a:lnTo>
                        <a:pt x="1382" y="76"/>
                      </a:lnTo>
                      <a:lnTo>
                        <a:pt x="1383" y="76"/>
                      </a:lnTo>
                      <a:lnTo>
                        <a:pt x="1385" y="77"/>
                      </a:lnTo>
                      <a:lnTo>
                        <a:pt x="1387" y="79"/>
                      </a:lnTo>
                      <a:lnTo>
                        <a:pt x="1389" y="82"/>
                      </a:lnTo>
                      <a:lnTo>
                        <a:pt x="1393" y="84"/>
                      </a:lnTo>
                      <a:lnTo>
                        <a:pt x="1395" y="85"/>
                      </a:lnTo>
                      <a:lnTo>
                        <a:pt x="1398" y="86"/>
                      </a:lnTo>
                      <a:lnTo>
                        <a:pt x="1401" y="88"/>
                      </a:lnTo>
                      <a:lnTo>
                        <a:pt x="1405" y="90"/>
                      </a:lnTo>
                      <a:lnTo>
                        <a:pt x="1408" y="93"/>
                      </a:lnTo>
                      <a:lnTo>
                        <a:pt x="1409" y="95"/>
                      </a:lnTo>
                      <a:lnTo>
                        <a:pt x="1411" y="97"/>
                      </a:lnTo>
                      <a:lnTo>
                        <a:pt x="1413" y="99"/>
                      </a:lnTo>
                      <a:lnTo>
                        <a:pt x="1416" y="101"/>
                      </a:lnTo>
                      <a:lnTo>
                        <a:pt x="1418" y="104"/>
                      </a:lnTo>
                      <a:lnTo>
                        <a:pt x="1418" y="106"/>
                      </a:lnTo>
                      <a:lnTo>
                        <a:pt x="1418" y="107"/>
                      </a:lnTo>
                      <a:lnTo>
                        <a:pt x="1417" y="108"/>
                      </a:lnTo>
                      <a:lnTo>
                        <a:pt x="1417" y="108"/>
                      </a:lnTo>
                      <a:lnTo>
                        <a:pt x="1416" y="110"/>
                      </a:lnTo>
                      <a:lnTo>
                        <a:pt x="1413" y="110"/>
                      </a:lnTo>
                      <a:lnTo>
                        <a:pt x="1412" y="112"/>
                      </a:lnTo>
                      <a:lnTo>
                        <a:pt x="1411" y="115"/>
                      </a:lnTo>
                      <a:lnTo>
                        <a:pt x="1410" y="116"/>
                      </a:lnTo>
                      <a:lnTo>
                        <a:pt x="1409" y="116"/>
                      </a:lnTo>
                      <a:lnTo>
                        <a:pt x="1409" y="117"/>
                      </a:lnTo>
                      <a:lnTo>
                        <a:pt x="1407" y="117"/>
                      </a:lnTo>
                      <a:lnTo>
                        <a:pt x="1400" y="117"/>
                      </a:lnTo>
                      <a:lnTo>
                        <a:pt x="1398" y="117"/>
                      </a:lnTo>
                      <a:lnTo>
                        <a:pt x="1396" y="118"/>
                      </a:lnTo>
                      <a:lnTo>
                        <a:pt x="1395" y="119"/>
                      </a:lnTo>
                      <a:lnTo>
                        <a:pt x="1393" y="119"/>
                      </a:lnTo>
                      <a:lnTo>
                        <a:pt x="1389" y="119"/>
                      </a:lnTo>
                      <a:lnTo>
                        <a:pt x="1382" y="118"/>
                      </a:lnTo>
                      <a:lnTo>
                        <a:pt x="1375" y="117"/>
                      </a:lnTo>
                      <a:lnTo>
                        <a:pt x="1366" y="115"/>
                      </a:lnTo>
                      <a:lnTo>
                        <a:pt x="1362" y="112"/>
                      </a:lnTo>
                      <a:lnTo>
                        <a:pt x="1358" y="112"/>
                      </a:lnTo>
                      <a:lnTo>
                        <a:pt x="1354" y="111"/>
                      </a:lnTo>
                      <a:lnTo>
                        <a:pt x="1351" y="110"/>
                      </a:lnTo>
                      <a:lnTo>
                        <a:pt x="1340" y="110"/>
                      </a:lnTo>
                      <a:lnTo>
                        <a:pt x="1333" y="108"/>
                      </a:lnTo>
                      <a:lnTo>
                        <a:pt x="1329" y="109"/>
                      </a:lnTo>
                      <a:lnTo>
                        <a:pt x="1324" y="110"/>
                      </a:lnTo>
                      <a:lnTo>
                        <a:pt x="1320" y="110"/>
                      </a:lnTo>
                      <a:lnTo>
                        <a:pt x="1309" y="110"/>
                      </a:lnTo>
                      <a:lnTo>
                        <a:pt x="1306" y="110"/>
                      </a:lnTo>
                      <a:lnTo>
                        <a:pt x="1303" y="110"/>
                      </a:lnTo>
                      <a:lnTo>
                        <a:pt x="1301" y="110"/>
                      </a:lnTo>
                      <a:lnTo>
                        <a:pt x="1300" y="111"/>
                      </a:lnTo>
                      <a:lnTo>
                        <a:pt x="1300" y="112"/>
                      </a:lnTo>
                      <a:lnTo>
                        <a:pt x="1300" y="112"/>
                      </a:lnTo>
                      <a:lnTo>
                        <a:pt x="1300" y="115"/>
                      </a:lnTo>
                      <a:lnTo>
                        <a:pt x="1300" y="117"/>
                      </a:lnTo>
                      <a:lnTo>
                        <a:pt x="1301" y="119"/>
                      </a:lnTo>
                      <a:lnTo>
                        <a:pt x="1302" y="121"/>
                      </a:lnTo>
                      <a:lnTo>
                        <a:pt x="1304" y="123"/>
                      </a:lnTo>
                      <a:lnTo>
                        <a:pt x="1307" y="124"/>
                      </a:lnTo>
                      <a:lnTo>
                        <a:pt x="1309" y="124"/>
                      </a:lnTo>
                      <a:lnTo>
                        <a:pt x="1310" y="123"/>
                      </a:lnTo>
                      <a:lnTo>
                        <a:pt x="1311" y="122"/>
                      </a:lnTo>
                      <a:lnTo>
                        <a:pt x="1312" y="121"/>
                      </a:lnTo>
                      <a:lnTo>
                        <a:pt x="1313" y="120"/>
                      </a:lnTo>
                      <a:lnTo>
                        <a:pt x="1313" y="119"/>
                      </a:lnTo>
                      <a:lnTo>
                        <a:pt x="1314" y="118"/>
                      </a:lnTo>
                      <a:lnTo>
                        <a:pt x="1318" y="118"/>
                      </a:lnTo>
                      <a:lnTo>
                        <a:pt x="1320" y="118"/>
                      </a:lnTo>
                      <a:lnTo>
                        <a:pt x="1323" y="118"/>
                      </a:lnTo>
                      <a:lnTo>
                        <a:pt x="1327" y="119"/>
                      </a:lnTo>
                      <a:lnTo>
                        <a:pt x="1330" y="120"/>
                      </a:lnTo>
                      <a:lnTo>
                        <a:pt x="1332" y="120"/>
                      </a:lnTo>
                      <a:lnTo>
                        <a:pt x="1335" y="120"/>
                      </a:lnTo>
                      <a:lnTo>
                        <a:pt x="1338" y="119"/>
                      </a:lnTo>
                      <a:lnTo>
                        <a:pt x="1343" y="117"/>
                      </a:lnTo>
                      <a:lnTo>
                        <a:pt x="1350" y="117"/>
                      </a:lnTo>
                      <a:lnTo>
                        <a:pt x="1360" y="119"/>
                      </a:lnTo>
                      <a:lnTo>
                        <a:pt x="1371" y="123"/>
                      </a:lnTo>
                      <a:lnTo>
                        <a:pt x="1383" y="128"/>
                      </a:lnTo>
                      <a:lnTo>
                        <a:pt x="1387" y="129"/>
                      </a:lnTo>
                      <a:lnTo>
                        <a:pt x="1390" y="131"/>
                      </a:lnTo>
                      <a:lnTo>
                        <a:pt x="1393" y="134"/>
                      </a:lnTo>
                      <a:lnTo>
                        <a:pt x="1394" y="138"/>
                      </a:lnTo>
                      <a:lnTo>
                        <a:pt x="1395" y="141"/>
                      </a:lnTo>
                      <a:lnTo>
                        <a:pt x="1394" y="142"/>
                      </a:lnTo>
                      <a:lnTo>
                        <a:pt x="1393" y="143"/>
                      </a:lnTo>
                      <a:lnTo>
                        <a:pt x="1391" y="143"/>
                      </a:lnTo>
                      <a:lnTo>
                        <a:pt x="1388" y="143"/>
                      </a:lnTo>
                      <a:lnTo>
                        <a:pt x="1386" y="144"/>
                      </a:lnTo>
                      <a:lnTo>
                        <a:pt x="1383" y="144"/>
                      </a:lnTo>
                      <a:lnTo>
                        <a:pt x="1382" y="145"/>
                      </a:lnTo>
                      <a:lnTo>
                        <a:pt x="1379" y="147"/>
                      </a:lnTo>
                      <a:lnTo>
                        <a:pt x="1377" y="149"/>
                      </a:lnTo>
                      <a:lnTo>
                        <a:pt x="1376" y="151"/>
                      </a:lnTo>
                      <a:lnTo>
                        <a:pt x="1376" y="153"/>
                      </a:lnTo>
                      <a:lnTo>
                        <a:pt x="1378" y="155"/>
                      </a:lnTo>
                      <a:lnTo>
                        <a:pt x="1382" y="155"/>
                      </a:lnTo>
                      <a:lnTo>
                        <a:pt x="1384" y="154"/>
                      </a:lnTo>
                      <a:lnTo>
                        <a:pt x="1386" y="153"/>
                      </a:lnTo>
                      <a:lnTo>
                        <a:pt x="1388" y="152"/>
                      </a:lnTo>
                      <a:lnTo>
                        <a:pt x="1389" y="152"/>
                      </a:lnTo>
                      <a:lnTo>
                        <a:pt x="1389" y="151"/>
                      </a:lnTo>
                      <a:lnTo>
                        <a:pt x="1393" y="151"/>
                      </a:lnTo>
                      <a:lnTo>
                        <a:pt x="1397" y="150"/>
                      </a:lnTo>
                      <a:lnTo>
                        <a:pt x="1400" y="150"/>
                      </a:lnTo>
                      <a:lnTo>
                        <a:pt x="1405" y="150"/>
                      </a:lnTo>
                      <a:lnTo>
                        <a:pt x="1407" y="149"/>
                      </a:lnTo>
                      <a:lnTo>
                        <a:pt x="1409" y="148"/>
                      </a:lnTo>
                      <a:lnTo>
                        <a:pt x="1410" y="147"/>
                      </a:lnTo>
                      <a:lnTo>
                        <a:pt x="1410" y="144"/>
                      </a:lnTo>
                      <a:lnTo>
                        <a:pt x="1410" y="142"/>
                      </a:lnTo>
                      <a:lnTo>
                        <a:pt x="1409" y="140"/>
                      </a:lnTo>
                      <a:lnTo>
                        <a:pt x="1409" y="138"/>
                      </a:lnTo>
                      <a:lnTo>
                        <a:pt x="1409" y="135"/>
                      </a:lnTo>
                      <a:lnTo>
                        <a:pt x="1410" y="134"/>
                      </a:lnTo>
                      <a:lnTo>
                        <a:pt x="1412" y="133"/>
                      </a:lnTo>
                      <a:lnTo>
                        <a:pt x="1415" y="132"/>
                      </a:lnTo>
                      <a:lnTo>
                        <a:pt x="1418" y="133"/>
                      </a:lnTo>
                      <a:lnTo>
                        <a:pt x="1421" y="134"/>
                      </a:lnTo>
                      <a:lnTo>
                        <a:pt x="1424" y="135"/>
                      </a:lnTo>
                      <a:lnTo>
                        <a:pt x="1427" y="139"/>
                      </a:lnTo>
                      <a:lnTo>
                        <a:pt x="1429" y="142"/>
                      </a:lnTo>
                      <a:lnTo>
                        <a:pt x="1430" y="144"/>
                      </a:lnTo>
                      <a:lnTo>
                        <a:pt x="1431" y="148"/>
                      </a:lnTo>
                      <a:lnTo>
                        <a:pt x="1431" y="149"/>
                      </a:lnTo>
                      <a:lnTo>
                        <a:pt x="1434" y="160"/>
                      </a:lnTo>
                      <a:lnTo>
                        <a:pt x="1440" y="171"/>
                      </a:lnTo>
                      <a:lnTo>
                        <a:pt x="1440" y="180"/>
                      </a:lnTo>
                      <a:lnTo>
                        <a:pt x="1439" y="182"/>
                      </a:lnTo>
                      <a:lnTo>
                        <a:pt x="1439" y="183"/>
                      </a:lnTo>
                      <a:lnTo>
                        <a:pt x="1440" y="185"/>
                      </a:lnTo>
                      <a:lnTo>
                        <a:pt x="1440" y="186"/>
                      </a:lnTo>
                      <a:lnTo>
                        <a:pt x="1440" y="191"/>
                      </a:lnTo>
                      <a:lnTo>
                        <a:pt x="1440" y="193"/>
                      </a:lnTo>
                      <a:lnTo>
                        <a:pt x="1438" y="195"/>
                      </a:lnTo>
                      <a:lnTo>
                        <a:pt x="1437" y="197"/>
                      </a:lnTo>
                      <a:lnTo>
                        <a:pt x="1436" y="199"/>
                      </a:lnTo>
                      <a:lnTo>
                        <a:pt x="1436" y="202"/>
                      </a:lnTo>
                      <a:lnTo>
                        <a:pt x="1436" y="204"/>
                      </a:lnTo>
                      <a:lnTo>
                        <a:pt x="1438" y="208"/>
                      </a:lnTo>
                      <a:lnTo>
                        <a:pt x="1440" y="207"/>
                      </a:lnTo>
                      <a:lnTo>
                        <a:pt x="1441" y="206"/>
                      </a:lnTo>
                      <a:lnTo>
                        <a:pt x="1443" y="205"/>
                      </a:lnTo>
                      <a:lnTo>
                        <a:pt x="1444" y="204"/>
                      </a:lnTo>
                      <a:lnTo>
                        <a:pt x="1444" y="203"/>
                      </a:lnTo>
                      <a:lnTo>
                        <a:pt x="1444" y="200"/>
                      </a:lnTo>
                      <a:lnTo>
                        <a:pt x="1445" y="199"/>
                      </a:lnTo>
                      <a:lnTo>
                        <a:pt x="1445" y="198"/>
                      </a:lnTo>
                      <a:lnTo>
                        <a:pt x="1447" y="197"/>
                      </a:lnTo>
                      <a:lnTo>
                        <a:pt x="1449" y="196"/>
                      </a:lnTo>
                      <a:lnTo>
                        <a:pt x="1450" y="195"/>
                      </a:lnTo>
                      <a:lnTo>
                        <a:pt x="1451" y="194"/>
                      </a:lnTo>
                      <a:lnTo>
                        <a:pt x="1451" y="193"/>
                      </a:lnTo>
                      <a:lnTo>
                        <a:pt x="1451" y="184"/>
                      </a:lnTo>
                      <a:lnTo>
                        <a:pt x="1451" y="182"/>
                      </a:lnTo>
                      <a:lnTo>
                        <a:pt x="1452" y="181"/>
                      </a:lnTo>
                      <a:lnTo>
                        <a:pt x="1452" y="180"/>
                      </a:lnTo>
                      <a:lnTo>
                        <a:pt x="1453" y="177"/>
                      </a:lnTo>
                      <a:lnTo>
                        <a:pt x="1453" y="175"/>
                      </a:lnTo>
                      <a:lnTo>
                        <a:pt x="1454" y="173"/>
                      </a:lnTo>
                      <a:lnTo>
                        <a:pt x="1455" y="172"/>
                      </a:lnTo>
                      <a:lnTo>
                        <a:pt x="1455" y="170"/>
                      </a:lnTo>
                      <a:lnTo>
                        <a:pt x="1455" y="167"/>
                      </a:lnTo>
                      <a:lnTo>
                        <a:pt x="1454" y="165"/>
                      </a:lnTo>
                      <a:lnTo>
                        <a:pt x="1451" y="162"/>
                      </a:lnTo>
                      <a:lnTo>
                        <a:pt x="1450" y="161"/>
                      </a:lnTo>
                      <a:lnTo>
                        <a:pt x="1450" y="160"/>
                      </a:lnTo>
                      <a:lnTo>
                        <a:pt x="1450" y="160"/>
                      </a:lnTo>
                      <a:lnTo>
                        <a:pt x="1452" y="160"/>
                      </a:lnTo>
                      <a:lnTo>
                        <a:pt x="1453" y="161"/>
                      </a:lnTo>
                      <a:lnTo>
                        <a:pt x="1454" y="161"/>
                      </a:lnTo>
                      <a:lnTo>
                        <a:pt x="1455" y="162"/>
                      </a:lnTo>
                      <a:lnTo>
                        <a:pt x="1462" y="169"/>
                      </a:lnTo>
                      <a:lnTo>
                        <a:pt x="1464" y="171"/>
                      </a:lnTo>
                      <a:lnTo>
                        <a:pt x="1466" y="172"/>
                      </a:lnTo>
                      <a:lnTo>
                        <a:pt x="1467" y="173"/>
                      </a:lnTo>
                      <a:lnTo>
                        <a:pt x="1469" y="173"/>
                      </a:lnTo>
                      <a:lnTo>
                        <a:pt x="1471" y="173"/>
                      </a:lnTo>
                      <a:lnTo>
                        <a:pt x="1472" y="174"/>
                      </a:lnTo>
                      <a:lnTo>
                        <a:pt x="1473" y="175"/>
                      </a:lnTo>
                      <a:lnTo>
                        <a:pt x="1474" y="176"/>
                      </a:lnTo>
                      <a:lnTo>
                        <a:pt x="1476" y="178"/>
                      </a:lnTo>
                      <a:lnTo>
                        <a:pt x="1477" y="180"/>
                      </a:lnTo>
                      <a:lnTo>
                        <a:pt x="1481" y="182"/>
                      </a:lnTo>
                      <a:lnTo>
                        <a:pt x="1483" y="183"/>
                      </a:lnTo>
                      <a:lnTo>
                        <a:pt x="1485" y="183"/>
                      </a:lnTo>
                      <a:lnTo>
                        <a:pt x="1486" y="183"/>
                      </a:lnTo>
                      <a:lnTo>
                        <a:pt x="1487" y="182"/>
                      </a:lnTo>
                      <a:lnTo>
                        <a:pt x="1487" y="180"/>
                      </a:lnTo>
                      <a:lnTo>
                        <a:pt x="1486" y="177"/>
                      </a:lnTo>
                      <a:lnTo>
                        <a:pt x="1484" y="175"/>
                      </a:lnTo>
                      <a:lnTo>
                        <a:pt x="1481" y="173"/>
                      </a:lnTo>
                      <a:lnTo>
                        <a:pt x="1477" y="171"/>
                      </a:lnTo>
                      <a:lnTo>
                        <a:pt x="1474" y="169"/>
                      </a:lnTo>
                      <a:lnTo>
                        <a:pt x="1472" y="166"/>
                      </a:lnTo>
                      <a:lnTo>
                        <a:pt x="1471" y="164"/>
                      </a:lnTo>
                      <a:lnTo>
                        <a:pt x="1469" y="162"/>
                      </a:lnTo>
                      <a:lnTo>
                        <a:pt x="1467" y="161"/>
                      </a:lnTo>
                      <a:lnTo>
                        <a:pt x="1465" y="160"/>
                      </a:lnTo>
                      <a:lnTo>
                        <a:pt x="1464" y="160"/>
                      </a:lnTo>
                      <a:lnTo>
                        <a:pt x="1463" y="159"/>
                      </a:lnTo>
                      <a:lnTo>
                        <a:pt x="1463" y="158"/>
                      </a:lnTo>
                      <a:lnTo>
                        <a:pt x="1464" y="158"/>
                      </a:lnTo>
                      <a:lnTo>
                        <a:pt x="1465" y="158"/>
                      </a:lnTo>
                      <a:lnTo>
                        <a:pt x="1466" y="158"/>
                      </a:lnTo>
                      <a:lnTo>
                        <a:pt x="1467" y="158"/>
                      </a:lnTo>
                      <a:lnTo>
                        <a:pt x="1470" y="159"/>
                      </a:lnTo>
                      <a:lnTo>
                        <a:pt x="1471" y="160"/>
                      </a:lnTo>
                      <a:lnTo>
                        <a:pt x="1472" y="161"/>
                      </a:lnTo>
                      <a:lnTo>
                        <a:pt x="1474" y="163"/>
                      </a:lnTo>
                      <a:lnTo>
                        <a:pt x="1476" y="165"/>
                      </a:lnTo>
                      <a:lnTo>
                        <a:pt x="1478" y="167"/>
                      </a:lnTo>
                      <a:lnTo>
                        <a:pt x="1481" y="170"/>
                      </a:lnTo>
                      <a:lnTo>
                        <a:pt x="1483" y="171"/>
                      </a:lnTo>
                      <a:lnTo>
                        <a:pt x="1485" y="173"/>
                      </a:lnTo>
                      <a:lnTo>
                        <a:pt x="1486" y="173"/>
                      </a:lnTo>
                      <a:lnTo>
                        <a:pt x="1486" y="173"/>
                      </a:lnTo>
                      <a:lnTo>
                        <a:pt x="1486" y="171"/>
                      </a:lnTo>
                      <a:lnTo>
                        <a:pt x="1485" y="169"/>
                      </a:lnTo>
                      <a:lnTo>
                        <a:pt x="1484" y="166"/>
                      </a:lnTo>
                      <a:lnTo>
                        <a:pt x="1484" y="165"/>
                      </a:lnTo>
                      <a:lnTo>
                        <a:pt x="1485" y="165"/>
                      </a:lnTo>
                      <a:lnTo>
                        <a:pt x="1487" y="164"/>
                      </a:lnTo>
                      <a:lnTo>
                        <a:pt x="1488" y="164"/>
                      </a:lnTo>
                      <a:lnTo>
                        <a:pt x="1489" y="163"/>
                      </a:lnTo>
                      <a:lnTo>
                        <a:pt x="1492" y="164"/>
                      </a:lnTo>
                      <a:lnTo>
                        <a:pt x="1493" y="164"/>
                      </a:lnTo>
                      <a:lnTo>
                        <a:pt x="1493" y="164"/>
                      </a:lnTo>
                      <a:lnTo>
                        <a:pt x="1494" y="164"/>
                      </a:lnTo>
                      <a:lnTo>
                        <a:pt x="1495" y="163"/>
                      </a:lnTo>
                      <a:lnTo>
                        <a:pt x="1496" y="163"/>
                      </a:lnTo>
                      <a:lnTo>
                        <a:pt x="1497" y="162"/>
                      </a:lnTo>
                      <a:lnTo>
                        <a:pt x="1499" y="162"/>
                      </a:lnTo>
                      <a:lnTo>
                        <a:pt x="1500" y="163"/>
                      </a:lnTo>
                      <a:lnTo>
                        <a:pt x="1503" y="163"/>
                      </a:lnTo>
                      <a:lnTo>
                        <a:pt x="1506" y="164"/>
                      </a:lnTo>
                      <a:lnTo>
                        <a:pt x="1509" y="166"/>
                      </a:lnTo>
                      <a:lnTo>
                        <a:pt x="1513" y="169"/>
                      </a:lnTo>
                      <a:lnTo>
                        <a:pt x="1515" y="171"/>
                      </a:lnTo>
                      <a:lnTo>
                        <a:pt x="1517" y="173"/>
                      </a:lnTo>
                      <a:lnTo>
                        <a:pt x="1521" y="177"/>
                      </a:lnTo>
                      <a:lnTo>
                        <a:pt x="1526" y="181"/>
                      </a:lnTo>
                      <a:lnTo>
                        <a:pt x="1530" y="184"/>
                      </a:lnTo>
                      <a:lnTo>
                        <a:pt x="1532" y="186"/>
                      </a:lnTo>
                      <a:lnTo>
                        <a:pt x="1536" y="188"/>
                      </a:lnTo>
                      <a:lnTo>
                        <a:pt x="1539" y="191"/>
                      </a:lnTo>
                      <a:lnTo>
                        <a:pt x="1542" y="193"/>
                      </a:lnTo>
                      <a:lnTo>
                        <a:pt x="1544" y="195"/>
                      </a:lnTo>
                      <a:lnTo>
                        <a:pt x="1546" y="197"/>
                      </a:lnTo>
                      <a:lnTo>
                        <a:pt x="1547" y="199"/>
                      </a:lnTo>
                      <a:lnTo>
                        <a:pt x="1546" y="202"/>
                      </a:lnTo>
                      <a:lnTo>
                        <a:pt x="1544" y="204"/>
                      </a:lnTo>
                      <a:lnTo>
                        <a:pt x="1543" y="206"/>
                      </a:lnTo>
                      <a:lnTo>
                        <a:pt x="1542" y="207"/>
                      </a:lnTo>
                      <a:lnTo>
                        <a:pt x="1540" y="209"/>
                      </a:lnTo>
                      <a:lnTo>
                        <a:pt x="1539" y="211"/>
                      </a:lnTo>
                      <a:lnTo>
                        <a:pt x="1539" y="215"/>
                      </a:lnTo>
                      <a:lnTo>
                        <a:pt x="1539" y="216"/>
                      </a:lnTo>
                      <a:lnTo>
                        <a:pt x="1538" y="216"/>
                      </a:lnTo>
                      <a:lnTo>
                        <a:pt x="1536" y="216"/>
                      </a:lnTo>
                      <a:lnTo>
                        <a:pt x="1535" y="215"/>
                      </a:lnTo>
                      <a:lnTo>
                        <a:pt x="1532" y="215"/>
                      </a:lnTo>
                      <a:lnTo>
                        <a:pt x="1531" y="215"/>
                      </a:lnTo>
                      <a:lnTo>
                        <a:pt x="1530" y="216"/>
                      </a:lnTo>
                      <a:lnTo>
                        <a:pt x="1530" y="217"/>
                      </a:lnTo>
                      <a:lnTo>
                        <a:pt x="1530" y="219"/>
                      </a:lnTo>
                      <a:lnTo>
                        <a:pt x="1531" y="220"/>
                      </a:lnTo>
                      <a:lnTo>
                        <a:pt x="1533" y="222"/>
                      </a:lnTo>
                      <a:lnTo>
                        <a:pt x="1535" y="224"/>
                      </a:lnTo>
                      <a:lnTo>
                        <a:pt x="1535" y="226"/>
                      </a:lnTo>
                      <a:lnTo>
                        <a:pt x="1535" y="228"/>
                      </a:lnTo>
                      <a:lnTo>
                        <a:pt x="1530" y="228"/>
                      </a:lnTo>
                      <a:lnTo>
                        <a:pt x="1529" y="228"/>
                      </a:lnTo>
                      <a:lnTo>
                        <a:pt x="1529" y="229"/>
                      </a:lnTo>
                      <a:lnTo>
                        <a:pt x="1529" y="230"/>
                      </a:lnTo>
                      <a:lnTo>
                        <a:pt x="1529" y="231"/>
                      </a:lnTo>
                      <a:lnTo>
                        <a:pt x="1528" y="232"/>
                      </a:lnTo>
                      <a:lnTo>
                        <a:pt x="1526" y="232"/>
                      </a:lnTo>
                      <a:lnTo>
                        <a:pt x="1525" y="232"/>
                      </a:lnTo>
                      <a:lnTo>
                        <a:pt x="1522" y="231"/>
                      </a:lnTo>
                      <a:lnTo>
                        <a:pt x="1520" y="230"/>
                      </a:lnTo>
                      <a:lnTo>
                        <a:pt x="1519" y="230"/>
                      </a:lnTo>
                      <a:lnTo>
                        <a:pt x="1517" y="229"/>
                      </a:lnTo>
                      <a:lnTo>
                        <a:pt x="1515" y="228"/>
                      </a:lnTo>
                      <a:lnTo>
                        <a:pt x="1513" y="227"/>
                      </a:lnTo>
                      <a:lnTo>
                        <a:pt x="1510" y="226"/>
                      </a:lnTo>
                      <a:lnTo>
                        <a:pt x="1507" y="224"/>
                      </a:lnTo>
                      <a:lnTo>
                        <a:pt x="1503" y="221"/>
                      </a:lnTo>
                      <a:lnTo>
                        <a:pt x="1499" y="219"/>
                      </a:lnTo>
                      <a:lnTo>
                        <a:pt x="1499" y="219"/>
                      </a:lnTo>
                      <a:lnTo>
                        <a:pt x="1499" y="220"/>
                      </a:lnTo>
                      <a:lnTo>
                        <a:pt x="1499" y="221"/>
                      </a:lnTo>
                      <a:lnTo>
                        <a:pt x="1500" y="224"/>
                      </a:lnTo>
                      <a:lnTo>
                        <a:pt x="1500" y="225"/>
                      </a:lnTo>
                      <a:lnTo>
                        <a:pt x="1500" y="227"/>
                      </a:lnTo>
                      <a:lnTo>
                        <a:pt x="1500" y="228"/>
                      </a:lnTo>
                      <a:lnTo>
                        <a:pt x="1499" y="228"/>
                      </a:lnTo>
                      <a:lnTo>
                        <a:pt x="1498" y="228"/>
                      </a:lnTo>
                      <a:lnTo>
                        <a:pt x="1497" y="227"/>
                      </a:lnTo>
                      <a:lnTo>
                        <a:pt x="1495" y="227"/>
                      </a:lnTo>
                      <a:lnTo>
                        <a:pt x="1494" y="226"/>
                      </a:lnTo>
                      <a:lnTo>
                        <a:pt x="1492" y="225"/>
                      </a:lnTo>
                      <a:lnTo>
                        <a:pt x="1491" y="225"/>
                      </a:lnTo>
                      <a:lnTo>
                        <a:pt x="1489" y="225"/>
                      </a:lnTo>
                      <a:lnTo>
                        <a:pt x="1489" y="226"/>
                      </a:lnTo>
                      <a:lnTo>
                        <a:pt x="1491" y="228"/>
                      </a:lnTo>
                      <a:lnTo>
                        <a:pt x="1493" y="230"/>
                      </a:lnTo>
                      <a:lnTo>
                        <a:pt x="1495" y="231"/>
                      </a:lnTo>
                      <a:lnTo>
                        <a:pt x="1496" y="232"/>
                      </a:lnTo>
                      <a:lnTo>
                        <a:pt x="1498" y="233"/>
                      </a:lnTo>
                      <a:lnTo>
                        <a:pt x="1499" y="235"/>
                      </a:lnTo>
                      <a:lnTo>
                        <a:pt x="1502" y="233"/>
                      </a:lnTo>
                      <a:lnTo>
                        <a:pt x="1503" y="233"/>
                      </a:lnTo>
                      <a:lnTo>
                        <a:pt x="1504" y="232"/>
                      </a:lnTo>
                      <a:lnTo>
                        <a:pt x="1505" y="231"/>
                      </a:lnTo>
                      <a:lnTo>
                        <a:pt x="1506" y="232"/>
                      </a:lnTo>
                      <a:lnTo>
                        <a:pt x="1514" y="236"/>
                      </a:lnTo>
                      <a:lnTo>
                        <a:pt x="1524" y="240"/>
                      </a:lnTo>
                      <a:lnTo>
                        <a:pt x="1530" y="248"/>
                      </a:lnTo>
                      <a:lnTo>
                        <a:pt x="1531" y="251"/>
                      </a:lnTo>
                      <a:lnTo>
                        <a:pt x="1530" y="254"/>
                      </a:lnTo>
                      <a:lnTo>
                        <a:pt x="1528" y="257"/>
                      </a:lnTo>
                      <a:lnTo>
                        <a:pt x="1526" y="259"/>
                      </a:lnTo>
                      <a:lnTo>
                        <a:pt x="1522" y="259"/>
                      </a:lnTo>
                      <a:lnTo>
                        <a:pt x="1517" y="257"/>
                      </a:lnTo>
                      <a:lnTo>
                        <a:pt x="1511" y="253"/>
                      </a:lnTo>
                      <a:lnTo>
                        <a:pt x="1506" y="250"/>
                      </a:lnTo>
                      <a:lnTo>
                        <a:pt x="1502" y="248"/>
                      </a:lnTo>
                      <a:lnTo>
                        <a:pt x="1498" y="247"/>
                      </a:lnTo>
                      <a:lnTo>
                        <a:pt x="1496" y="246"/>
                      </a:lnTo>
                      <a:lnTo>
                        <a:pt x="1494" y="246"/>
                      </a:lnTo>
                      <a:lnTo>
                        <a:pt x="1493" y="247"/>
                      </a:lnTo>
                      <a:lnTo>
                        <a:pt x="1492" y="249"/>
                      </a:lnTo>
                      <a:lnTo>
                        <a:pt x="1492" y="250"/>
                      </a:lnTo>
                      <a:lnTo>
                        <a:pt x="1493" y="252"/>
                      </a:lnTo>
                      <a:lnTo>
                        <a:pt x="1493" y="254"/>
                      </a:lnTo>
                      <a:lnTo>
                        <a:pt x="1494" y="258"/>
                      </a:lnTo>
                      <a:lnTo>
                        <a:pt x="1495" y="261"/>
                      </a:lnTo>
                      <a:lnTo>
                        <a:pt x="1496" y="265"/>
                      </a:lnTo>
                      <a:lnTo>
                        <a:pt x="1498" y="268"/>
                      </a:lnTo>
                      <a:lnTo>
                        <a:pt x="1502" y="270"/>
                      </a:lnTo>
                      <a:lnTo>
                        <a:pt x="1504" y="270"/>
                      </a:lnTo>
                      <a:lnTo>
                        <a:pt x="1505" y="270"/>
                      </a:lnTo>
                      <a:lnTo>
                        <a:pt x="1505" y="269"/>
                      </a:lnTo>
                      <a:lnTo>
                        <a:pt x="1505" y="268"/>
                      </a:lnTo>
                      <a:lnTo>
                        <a:pt x="1505" y="265"/>
                      </a:lnTo>
                      <a:lnTo>
                        <a:pt x="1505" y="263"/>
                      </a:lnTo>
                      <a:lnTo>
                        <a:pt x="1504" y="261"/>
                      </a:lnTo>
                      <a:lnTo>
                        <a:pt x="1504" y="260"/>
                      </a:lnTo>
                      <a:lnTo>
                        <a:pt x="1504" y="259"/>
                      </a:lnTo>
                      <a:lnTo>
                        <a:pt x="1504" y="258"/>
                      </a:lnTo>
                      <a:lnTo>
                        <a:pt x="1506" y="258"/>
                      </a:lnTo>
                      <a:lnTo>
                        <a:pt x="1507" y="259"/>
                      </a:lnTo>
                      <a:lnTo>
                        <a:pt x="1509" y="260"/>
                      </a:lnTo>
                      <a:lnTo>
                        <a:pt x="1510" y="261"/>
                      </a:lnTo>
                      <a:lnTo>
                        <a:pt x="1514" y="261"/>
                      </a:lnTo>
                      <a:lnTo>
                        <a:pt x="1517" y="261"/>
                      </a:lnTo>
                      <a:lnTo>
                        <a:pt x="1521" y="261"/>
                      </a:lnTo>
                      <a:lnTo>
                        <a:pt x="1525" y="263"/>
                      </a:lnTo>
                      <a:lnTo>
                        <a:pt x="1526" y="265"/>
                      </a:lnTo>
                      <a:lnTo>
                        <a:pt x="1527" y="268"/>
                      </a:lnTo>
                      <a:lnTo>
                        <a:pt x="1527" y="270"/>
                      </a:lnTo>
                      <a:lnTo>
                        <a:pt x="1527" y="272"/>
                      </a:lnTo>
                      <a:lnTo>
                        <a:pt x="1526" y="274"/>
                      </a:lnTo>
                      <a:lnTo>
                        <a:pt x="1526" y="276"/>
                      </a:lnTo>
                      <a:lnTo>
                        <a:pt x="1526" y="276"/>
                      </a:lnTo>
                      <a:lnTo>
                        <a:pt x="1526" y="278"/>
                      </a:lnTo>
                      <a:lnTo>
                        <a:pt x="1526" y="279"/>
                      </a:lnTo>
                      <a:lnTo>
                        <a:pt x="1525" y="280"/>
                      </a:lnTo>
                      <a:lnTo>
                        <a:pt x="1525" y="281"/>
                      </a:lnTo>
                      <a:lnTo>
                        <a:pt x="1524" y="281"/>
                      </a:lnTo>
                      <a:lnTo>
                        <a:pt x="1520" y="280"/>
                      </a:lnTo>
                      <a:lnTo>
                        <a:pt x="1518" y="280"/>
                      </a:lnTo>
                      <a:lnTo>
                        <a:pt x="1516" y="279"/>
                      </a:lnTo>
                      <a:lnTo>
                        <a:pt x="1515" y="279"/>
                      </a:lnTo>
                      <a:lnTo>
                        <a:pt x="1513" y="278"/>
                      </a:lnTo>
                      <a:lnTo>
                        <a:pt x="1511" y="279"/>
                      </a:lnTo>
                      <a:lnTo>
                        <a:pt x="1511" y="280"/>
                      </a:lnTo>
                      <a:lnTo>
                        <a:pt x="1511" y="282"/>
                      </a:lnTo>
                      <a:lnTo>
                        <a:pt x="1511" y="284"/>
                      </a:lnTo>
                      <a:lnTo>
                        <a:pt x="1513" y="287"/>
                      </a:lnTo>
                      <a:lnTo>
                        <a:pt x="1513" y="290"/>
                      </a:lnTo>
                      <a:lnTo>
                        <a:pt x="1514" y="292"/>
                      </a:lnTo>
                      <a:lnTo>
                        <a:pt x="1515" y="294"/>
                      </a:lnTo>
                      <a:lnTo>
                        <a:pt x="1517" y="295"/>
                      </a:lnTo>
                      <a:lnTo>
                        <a:pt x="1519" y="297"/>
                      </a:lnTo>
                      <a:lnTo>
                        <a:pt x="1521" y="297"/>
                      </a:lnTo>
                      <a:lnTo>
                        <a:pt x="1521" y="300"/>
                      </a:lnTo>
                      <a:lnTo>
                        <a:pt x="1522" y="300"/>
                      </a:lnTo>
                      <a:lnTo>
                        <a:pt x="1524" y="301"/>
                      </a:lnTo>
                      <a:lnTo>
                        <a:pt x="1526" y="302"/>
                      </a:lnTo>
                      <a:lnTo>
                        <a:pt x="1527" y="304"/>
                      </a:lnTo>
                      <a:lnTo>
                        <a:pt x="1527" y="306"/>
                      </a:lnTo>
                      <a:lnTo>
                        <a:pt x="1526" y="307"/>
                      </a:lnTo>
                      <a:lnTo>
                        <a:pt x="1525" y="307"/>
                      </a:lnTo>
                      <a:lnTo>
                        <a:pt x="1524" y="308"/>
                      </a:lnTo>
                      <a:lnTo>
                        <a:pt x="1521" y="308"/>
                      </a:lnTo>
                      <a:lnTo>
                        <a:pt x="1520" y="309"/>
                      </a:lnTo>
                      <a:lnTo>
                        <a:pt x="1519" y="309"/>
                      </a:lnTo>
                      <a:lnTo>
                        <a:pt x="1519" y="311"/>
                      </a:lnTo>
                      <a:lnTo>
                        <a:pt x="1519" y="313"/>
                      </a:lnTo>
                      <a:lnTo>
                        <a:pt x="1520" y="315"/>
                      </a:lnTo>
                      <a:lnTo>
                        <a:pt x="1521" y="318"/>
                      </a:lnTo>
                      <a:lnTo>
                        <a:pt x="1521" y="319"/>
                      </a:lnTo>
                      <a:lnTo>
                        <a:pt x="1522" y="320"/>
                      </a:lnTo>
                      <a:lnTo>
                        <a:pt x="1522" y="322"/>
                      </a:lnTo>
                      <a:lnTo>
                        <a:pt x="1521" y="322"/>
                      </a:lnTo>
                      <a:lnTo>
                        <a:pt x="1519" y="322"/>
                      </a:lnTo>
                      <a:lnTo>
                        <a:pt x="1517" y="322"/>
                      </a:lnTo>
                      <a:lnTo>
                        <a:pt x="1515" y="323"/>
                      </a:lnTo>
                      <a:lnTo>
                        <a:pt x="1514" y="323"/>
                      </a:lnTo>
                      <a:lnTo>
                        <a:pt x="1513" y="325"/>
                      </a:lnTo>
                      <a:lnTo>
                        <a:pt x="1513" y="326"/>
                      </a:lnTo>
                      <a:lnTo>
                        <a:pt x="1513" y="328"/>
                      </a:lnTo>
                      <a:lnTo>
                        <a:pt x="1515" y="339"/>
                      </a:lnTo>
                      <a:lnTo>
                        <a:pt x="1519" y="350"/>
                      </a:lnTo>
                      <a:lnTo>
                        <a:pt x="1520" y="352"/>
                      </a:lnTo>
                      <a:lnTo>
                        <a:pt x="1520" y="355"/>
                      </a:lnTo>
                      <a:lnTo>
                        <a:pt x="1520" y="357"/>
                      </a:lnTo>
                      <a:lnTo>
                        <a:pt x="1519" y="359"/>
                      </a:lnTo>
                      <a:lnTo>
                        <a:pt x="1519" y="361"/>
                      </a:lnTo>
                      <a:lnTo>
                        <a:pt x="1519" y="363"/>
                      </a:lnTo>
                      <a:lnTo>
                        <a:pt x="1519" y="366"/>
                      </a:lnTo>
                      <a:lnTo>
                        <a:pt x="1520" y="368"/>
                      </a:lnTo>
                      <a:lnTo>
                        <a:pt x="1521" y="370"/>
                      </a:lnTo>
                      <a:lnTo>
                        <a:pt x="1522" y="372"/>
                      </a:lnTo>
                      <a:lnTo>
                        <a:pt x="1525" y="373"/>
                      </a:lnTo>
                      <a:lnTo>
                        <a:pt x="1526" y="372"/>
                      </a:lnTo>
                      <a:lnTo>
                        <a:pt x="1526" y="372"/>
                      </a:lnTo>
                      <a:lnTo>
                        <a:pt x="1527" y="370"/>
                      </a:lnTo>
                      <a:lnTo>
                        <a:pt x="1527" y="369"/>
                      </a:lnTo>
                      <a:lnTo>
                        <a:pt x="1528" y="368"/>
                      </a:lnTo>
                      <a:lnTo>
                        <a:pt x="1528" y="367"/>
                      </a:lnTo>
                      <a:lnTo>
                        <a:pt x="1529" y="366"/>
                      </a:lnTo>
                      <a:lnTo>
                        <a:pt x="1530" y="366"/>
                      </a:lnTo>
                      <a:lnTo>
                        <a:pt x="1532" y="368"/>
                      </a:lnTo>
                      <a:lnTo>
                        <a:pt x="1535" y="370"/>
                      </a:lnTo>
                      <a:lnTo>
                        <a:pt x="1537" y="372"/>
                      </a:lnTo>
                      <a:lnTo>
                        <a:pt x="1539" y="374"/>
                      </a:lnTo>
                      <a:lnTo>
                        <a:pt x="1541" y="377"/>
                      </a:lnTo>
                      <a:lnTo>
                        <a:pt x="1548" y="383"/>
                      </a:lnTo>
                      <a:lnTo>
                        <a:pt x="1549" y="385"/>
                      </a:lnTo>
                      <a:lnTo>
                        <a:pt x="1549" y="386"/>
                      </a:lnTo>
                      <a:lnTo>
                        <a:pt x="1549" y="388"/>
                      </a:lnTo>
                      <a:lnTo>
                        <a:pt x="1548" y="388"/>
                      </a:lnTo>
                      <a:lnTo>
                        <a:pt x="1547" y="388"/>
                      </a:lnTo>
                      <a:lnTo>
                        <a:pt x="1544" y="388"/>
                      </a:lnTo>
                      <a:lnTo>
                        <a:pt x="1542" y="388"/>
                      </a:lnTo>
                      <a:lnTo>
                        <a:pt x="1541" y="388"/>
                      </a:lnTo>
                      <a:lnTo>
                        <a:pt x="1539" y="389"/>
                      </a:lnTo>
                      <a:lnTo>
                        <a:pt x="1538" y="389"/>
                      </a:lnTo>
                      <a:lnTo>
                        <a:pt x="1537" y="390"/>
                      </a:lnTo>
                      <a:lnTo>
                        <a:pt x="1537" y="391"/>
                      </a:lnTo>
                      <a:lnTo>
                        <a:pt x="1539" y="393"/>
                      </a:lnTo>
                      <a:lnTo>
                        <a:pt x="1541" y="395"/>
                      </a:lnTo>
                      <a:lnTo>
                        <a:pt x="1543" y="396"/>
                      </a:lnTo>
                      <a:lnTo>
                        <a:pt x="1546" y="399"/>
                      </a:lnTo>
                      <a:lnTo>
                        <a:pt x="1548" y="399"/>
                      </a:lnTo>
                      <a:lnTo>
                        <a:pt x="1550" y="400"/>
                      </a:lnTo>
                      <a:lnTo>
                        <a:pt x="1552" y="401"/>
                      </a:lnTo>
                      <a:lnTo>
                        <a:pt x="1553" y="402"/>
                      </a:lnTo>
                      <a:lnTo>
                        <a:pt x="1554" y="404"/>
                      </a:lnTo>
                      <a:lnTo>
                        <a:pt x="1555" y="405"/>
                      </a:lnTo>
                      <a:lnTo>
                        <a:pt x="1557" y="405"/>
                      </a:lnTo>
                      <a:lnTo>
                        <a:pt x="1558" y="406"/>
                      </a:lnTo>
                      <a:lnTo>
                        <a:pt x="1560" y="406"/>
                      </a:lnTo>
                      <a:lnTo>
                        <a:pt x="1561" y="406"/>
                      </a:lnTo>
                      <a:lnTo>
                        <a:pt x="1562" y="406"/>
                      </a:lnTo>
                      <a:lnTo>
                        <a:pt x="1563" y="407"/>
                      </a:lnTo>
                      <a:lnTo>
                        <a:pt x="1565" y="410"/>
                      </a:lnTo>
                      <a:lnTo>
                        <a:pt x="1568" y="412"/>
                      </a:lnTo>
                      <a:lnTo>
                        <a:pt x="1570" y="414"/>
                      </a:lnTo>
                      <a:lnTo>
                        <a:pt x="1572" y="417"/>
                      </a:lnTo>
                      <a:lnTo>
                        <a:pt x="1574" y="421"/>
                      </a:lnTo>
                      <a:lnTo>
                        <a:pt x="1574" y="422"/>
                      </a:lnTo>
                      <a:lnTo>
                        <a:pt x="1574" y="425"/>
                      </a:lnTo>
                      <a:lnTo>
                        <a:pt x="1575" y="427"/>
                      </a:lnTo>
                      <a:lnTo>
                        <a:pt x="1575" y="429"/>
                      </a:lnTo>
                      <a:lnTo>
                        <a:pt x="1574" y="432"/>
                      </a:lnTo>
                      <a:lnTo>
                        <a:pt x="1573" y="432"/>
                      </a:lnTo>
                      <a:lnTo>
                        <a:pt x="1572" y="432"/>
                      </a:lnTo>
                      <a:lnTo>
                        <a:pt x="1571" y="432"/>
                      </a:lnTo>
                      <a:lnTo>
                        <a:pt x="1569" y="431"/>
                      </a:lnTo>
                      <a:lnTo>
                        <a:pt x="1568" y="429"/>
                      </a:lnTo>
                      <a:lnTo>
                        <a:pt x="1564" y="428"/>
                      </a:lnTo>
                      <a:lnTo>
                        <a:pt x="1561" y="427"/>
                      </a:lnTo>
                      <a:lnTo>
                        <a:pt x="1559" y="425"/>
                      </a:lnTo>
                      <a:lnTo>
                        <a:pt x="1557" y="423"/>
                      </a:lnTo>
                      <a:lnTo>
                        <a:pt x="1553" y="420"/>
                      </a:lnTo>
                      <a:lnTo>
                        <a:pt x="1550" y="418"/>
                      </a:lnTo>
                      <a:lnTo>
                        <a:pt x="1548" y="418"/>
                      </a:lnTo>
                      <a:lnTo>
                        <a:pt x="1546" y="418"/>
                      </a:lnTo>
                      <a:lnTo>
                        <a:pt x="1544" y="420"/>
                      </a:lnTo>
                      <a:lnTo>
                        <a:pt x="1546" y="422"/>
                      </a:lnTo>
                      <a:lnTo>
                        <a:pt x="1546" y="424"/>
                      </a:lnTo>
                      <a:lnTo>
                        <a:pt x="1546" y="425"/>
                      </a:lnTo>
                      <a:lnTo>
                        <a:pt x="1546" y="427"/>
                      </a:lnTo>
                      <a:lnTo>
                        <a:pt x="1543" y="428"/>
                      </a:lnTo>
                      <a:lnTo>
                        <a:pt x="1542" y="427"/>
                      </a:lnTo>
                      <a:lnTo>
                        <a:pt x="1540" y="426"/>
                      </a:lnTo>
                      <a:lnTo>
                        <a:pt x="1537" y="425"/>
                      </a:lnTo>
                      <a:lnTo>
                        <a:pt x="1535" y="423"/>
                      </a:lnTo>
                      <a:lnTo>
                        <a:pt x="1532" y="423"/>
                      </a:lnTo>
                      <a:lnTo>
                        <a:pt x="1531" y="423"/>
                      </a:lnTo>
                      <a:lnTo>
                        <a:pt x="1531" y="424"/>
                      </a:lnTo>
                      <a:lnTo>
                        <a:pt x="1531" y="425"/>
                      </a:lnTo>
                      <a:lnTo>
                        <a:pt x="1532" y="427"/>
                      </a:lnTo>
                      <a:lnTo>
                        <a:pt x="1535" y="429"/>
                      </a:lnTo>
                      <a:lnTo>
                        <a:pt x="1535" y="432"/>
                      </a:lnTo>
                      <a:lnTo>
                        <a:pt x="1536" y="433"/>
                      </a:lnTo>
                      <a:lnTo>
                        <a:pt x="1537" y="434"/>
                      </a:lnTo>
                      <a:lnTo>
                        <a:pt x="1539" y="435"/>
                      </a:lnTo>
                      <a:lnTo>
                        <a:pt x="1541" y="436"/>
                      </a:lnTo>
                      <a:lnTo>
                        <a:pt x="1542" y="436"/>
                      </a:lnTo>
                      <a:lnTo>
                        <a:pt x="1543" y="437"/>
                      </a:lnTo>
                      <a:lnTo>
                        <a:pt x="1544" y="438"/>
                      </a:lnTo>
                      <a:lnTo>
                        <a:pt x="1544" y="439"/>
                      </a:lnTo>
                      <a:lnTo>
                        <a:pt x="1544" y="442"/>
                      </a:lnTo>
                      <a:lnTo>
                        <a:pt x="1546" y="443"/>
                      </a:lnTo>
                      <a:lnTo>
                        <a:pt x="1548" y="445"/>
                      </a:lnTo>
                      <a:lnTo>
                        <a:pt x="1551" y="446"/>
                      </a:lnTo>
                      <a:lnTo>
                        <a:pt x="1553" y="447"/>
                      </a:lnTo>
                      <a:lnTo>
                        <a:pt x="1555" y="447"/>
                      </a:lnTo>
                      <a:lnTo>
                        <a:pt x="1558" y="448"/>
                      </a:lnTo>
                      <a:lnTo>
                        <a:pt x="1560" y="450"/>
                      </a:lnTo>
                      <a:lnTo>
                        <a:pt x="1563" y="454"/>
                      </a:lnTo>
                      <a:lnTo>
                        <a:pt x="1564" y="456"/>
                      </a:lnTo>
                      <a:lnTo>
                        <a:pt x="1565" y="457"/>
                      </a:lnTo>
                      <a:lnTo>
                        <a:pt x="1567" y="459"/>
                      </a:lnTo>
                      <a:lnTo>
                        <a:pt x="1568" y="460"/>
                      </a:lnTo>
                      <a:lnTo>
                        <a:pt x="1568" y="461"/>
                      </a:lnTo>
                      <a:lnTo>
                        <a:pt x="1568" y="462"/>
                      </a:lnTo>
                      <a:lnTo>
                        <a:pt x="1567" y="464"/>
                      </a:lnTo>
                      <a:lnTo>
                        <a:pt x="1565" y="464"/>
                      </a:lnTo>
                      <a:lnTo>
                        <a:pt x="1564" y="465"/>
                      </a:lnTo>
                      <a:lnTo>
                        <a:pt x="1563" y="466"/>
                      </a:lnTo>
                      <a:lnTo>
                        <a:pt x="1563" y="466"/>
                      </a:lnTo>
                      <a:lnTo>
                        <a:pt x="1563" y="468"/>
                      </a:lnTo>
                      <a:lnTo>
                        <a:pt x="1565" y="470"/>
                      </a:lnTo>
                      <a:lnTo>
                        <a:pt x="1568" y="471"/>
                      </a:lnTo>
                      <a:lnTo>
                        <a:pt x="1571" y="473"/>
                      </a:lnTo>
                      <a:lnTo>
                        <a:pt x="1573" y="476"/>
                      </a:lnTo>
                      <a:lnTo>
                        <a:pt x="1576" y="477"/>
                      </a:lnTo>
                      <a:lnTo>
                        <a:pt x="1578" y="482"/>
                      </a:lnTo>
                      <a:lnTo>
                        <a:pt x="1579" y="487"/>
                      </a:lnTo>
                      <a:lnTo>
                        <a:pt x="1580" y="491"/>
                      </a:lnTo>
                      <a:lnTo>
                        <a:pt x="1581" y="494"/>
                      </a:lnTo>
                      <a:lnTo>
                        <a:pt x="1581" y="497"/>
                      </a:lnTo>
                      <a:lnTo>
                        <a:pt x="1581" y="499"/>
                      </a:lnTo>
                      <a:lnTo>
                        <a:pt x="1582" y="500"/>
                      </a:lnTo>
                      <a:lnTo>
                        <a:pt x="1582" y="502"/>
                      </a:lnTo>
                      <a:lnTo>
                        <a:pt x="1582" y="504"/>
                      </a:lnTo>
                      <a:lnTo>
                        <a:pt x="1582" y="505"/>
                      </a:lnTo>
                      <a:lnTo>
                        <a:pt x="1581" y="505"/>
                      </a:lnTo>
                      <a:lnTo>
                        <a:pt x="1580" y="505"/>
                      </a:lnTo>
                      <a:lnTo>
                        <a:pt x="1579" y="503"/>
                      </a:lnTo>
                      <a:lnTo>
                        <a:pt x="1574" y="501"/>
                      </a:lnTo>
                      <a:lnTo>
                        <a:pt x="1570" y="497"/>
                      </a:lnTo>
                      <a:lnTo>
                        <a:pt x="1568" y="492"/>
                      </a:lnTo>
                      <a:lnTo>
                        <a:pt x="1567" y="492"/>
                      </a:lnTo>
                      <a:lnTo>
                        <a:pt x="1564" y="492"/>
                      </a:lnTo>
                      <a:lnTo>
                        <a:pt x="1563" y="491"/>
                      </a:lnTo>
                      <a:lnTo>
                        <a:pt x="1562" y="491"/>
                      </a:lnTo>
                      <a:lnTo>
                        <a:pt x="1561" y="491"/>
                      </a:lnTo>
                      <a:lnTo>
                        <a:pt x="1560" y="491"/>
                      </a:lnTo>
                      <a:lnTo>
                        <a:pt x="1561" y="492"/>
                      </a:lnTo>
                      <a:lnTo>
                        <a:pt x="1564" y="495"/>
                      </a:lnTo>
                      <a:lnTo>
                        <a:pt x="1568" y="498"/>
                      </a:lnTo>
                      <a:lnTo>
                        <a:pt x="1571" y="500"/>
                      </a:lnTo>
                      <a:lnTo>
                        <a:pt x="1573" y="502"/>
                      </a:lnTo>
                      <a:lnTo>
                        <a:pt x="1576" y="505"/>
                      </a:lnTo>
                      <a:lnTo>
                        <a:pt x="1578" y="508"/>
                      </a:lnTo>
                      <a:lnTo>
                        <a:pt x="1578" y="509"/>
                      </a:lnTo>
                      <a:lnTo>
                        <a:pt x="1578" y="509"/>
                      </a:lnTo>
                      <a:lnTo>
                        <a:pt x="1576" y="510"/>
                      </a:lnTo>
                      <a:lnTo>
                        <a:pt x="1575" y="510"/>
                      </a:lnTo>
                      <a:lnTo>
                        <a:pt x="1574" y="509"/>
                      </a:lnTo>
                      <a:lnTo>
                        <a:pt x="1572" y="509"/>
                      </a:lnTo>
                      <a:lnTo>
                        <a:pt x="1571" y="509"/>
                      </a:lnTo>
                      <a:lnTo>
                        <a:pt x="1571" y="510"/>
                      </a:lnTo>
                      <a:lnTo>
                        <a:pt x="1570" y="511"/>
                      </a:lnTo>
                      <a:lnTo>
                        <a:pt x="1571" y="512"/>
                      </a:lnTo>
                      <a:lnTo>
                        <a:pt x="1572" y="514"/>
                      </a:lnTo>
                      <a:lnTo>
                        <a:pt x="1573" y="518"/>
                      </a:lnTo>
                      <a:lnTo>
                        <a:pt x="1574" y="520"/>
                      </a:lnTo>
                      <a:lnTo>
                        <a:pt x="1575" y="522"/>
                      </a:lnTo>
                      <a:lnTo>
                        <a:pt x="1576" y="525"/>
                      </a:lnTo>
                      <a:lnTo>
                        <a:pt x="1579" y="527"/>
                      </a:lnTo>
                      <a:lnTo>
                        <a:pt x="1581" y="529"/>
                      </a:lnTo>
                      <a:lnTo>
                        <a:pt x="1583" y="530"/>
                      </a:lnTo>
                      <a:lnTo>
                        <a:pt x="1584" y="530"/>
                      </a:lnTo>
                      <a:lnTo>
                        <a:pt x="1587" y="530"/>
                      </a:lnTo>
                      <a:lnTo>
                        <a:pt x="1589" y="531"/>
                      </a:lnTo>
                      <a:lnTo>
                        <a:pt x="1591" y="533"/>
                      </a:lnTo>
                      <a:lnTo>
                        <a:pt x="1593" y="536"/>
                      </a:lnTo>
                      <a:lnTo>
                        <a:pt x="1595" y="540"/>
                      </a:lnTo>
                      <a:lnTo>
                        <a:pt x="1596" y="542"/>
                      </a:lnTo>
                      <a:lnTo>
                        <a:pt x="1596" y="545"/>
                      </a:lnTo>
                      <a:lnTo>
                        <a:pt x="1596" y="547"/>
                      </a:lnTo>
                      <a:lnTo>
                        <a:pt x="1595" y="548"/>
                      </a:lnTo>
                      <a:lnTo>
                        <a:pt x="1594" y="548"/>
                      </a:lnTo>
                      <a:lnTo>
                        <a:pt x="1592" y="547"/>
                      </a:lnTo>
                      <a:lnTo>
                        <a:pt x="1590" y="546"/>
                      </a:lnTo>
                      <a:lnTo>
                        <a:pt x="1587" y="545"/>
                      </a:lnTo>
                      <a:lnTo>
                        <a:pt x="1583" y="543"/>
                      </a:lnTo>
                      <a:lnTo>
                        <a:pt x="1580" y="541"/>
                      </a:lnTo>
                      <a:lnTo>
                        <a:pt x="1576" y="538"/>
                      </a:lnTo>
                      <a:lnTo>
                        <a:pt x="1573" y="538"/>
                      </a:lnTo>
                      <a:lnTo>
                        <a:pt x="1571" y="538"/>
                      </a:lnTo>
                      <a:lnTo>
                        <a:pt x="1569" y="540"/>
                      </a:lnTo>
                      <a:lnTo>
                        <a:pt x="1568" y="541"/>
                      </a:lnTo>
                      <a:lnTo>
                        <a:pt x="1568" y="543"/>
                      </a:lnTo>
                      <a:lnTo>
                        <a:pt x="1568" y="545"/>
                      </a:lnTo>
                      <a:lnTo>
                        <a:pt x="1568" y="547"/>
                      </a:lnTo>
                      <a:lnTo>
                        <a:pt x="1569" y="549"/>
                      </a:lnTo>
                      <a:lnTo>
                        <a:pt x="1570" y="552"/>
                      </a:lnTo>
                      <a:lnTo>
                        <a:pt x="1571" y="554"/>
                      </a:lnTo>
                      <a:lnTo>
                        <a:pt x="1574" y="556"/>
                      </a:lnTo>
                      <a:lnTo>
                        <a:pt x="1576" y="557"/>
                      </a:lnTo>
                      <a:lnTo>
                        <a:pt x="1580" y="559"/>
                      </a:lnTo>
                      <a:lnTo>
                        <a:pt x="1583" y="560"/>
                      </a:lnTo>
                      <a:lnTo>
                        <a:pt x="1584" y="563"/>
                      </a:lnTo>
                      <a:lnTo>
                        <a:pt x="1587" y="565"/>
                      </a:lnTo>
                      <a:lnTo>
                        <a:pt x="1590" y="567"/>
                      </a:lnTo>
                      <a:lnTo>
                        <a:pt x="1592" y="569"/>
                      </a:lnTo>
                      <a:lnTo>
                        <a:pt x="1592" y="573"/>
                      </a:lnTo>
                      <a:lnTo>
                        <a:pt x="1592" y="575"/>
                      </a:lnTo>
                      <a:lnTo>
                        <a:pt x="1592" y="577"/>
                      </a:lnTo>
                      <a:lnTo>
                        <a:pt x="1591" y="579"/>
                      </a:lnTo>
                      <a:lnTo>
                        <a:pt x="1590" y="580"/>
                      </a:lnTo>
                      <a:lnTo>
                        <a:pt x="1587" y="582"/>
                      </a:lnTo>
                      <a:lnTo>
                        <a:pt x="1587" y="585"/>
                      </a:lnTo>
                      <a:lnTo>
                        <a:pt x="1586" y="587"/>
                      </a:lnTo>
                      <a:lnTo>
                        <a:pt x="1585" y="589"/>
                      </a:lnTo>
                      <a:lnTo>
                        <a:pt x="1579" y="589"/>
                      </a:lnTo>
                      <a:lnTo>
                        <a:pt x="1571" y="586"/>
                      </a:lnTo>
                      <a:lnTo>
                        <a:pt x="1563" y="580"/>
                      </a:lnTo>
                      <a:lnTo>
                        <a:pt x="1558" y="576"/>
                      </a:lnTo>
                      <a:lnTo>
                        <a:pt x="1552" y="571"/>
                      </a:lnTo>
                      <a:lnTo>
                        <a:pt x="1548" y="567"/>
                      </a:lnTo>
                      <a:lnTo>
                        <a:pt x="1546" y="566"/>
                      </a:lnTo>
                      <a:lnTo>
                        <a:pt x="1546" y="566"/>
                      </a:lnTo>
                      <a:lnTo>
                        <a:pt x="1544" y="567"/>
                      </a:lnTo>
                      <a:lnTo>
                        <a:pt x="1544" y="568"/>
                      </a:lnTo>
                      <a:lnTo>
                        <a:pt x="1546" y="569"/>
                      </a:lnTo>
                      <a:lnTo>
                        <a:pt x="1546" y="570"/>
                      </a:lnTo>
                      <a:lnTo>
                        <a:pt x="1546" y="571"/>
                      </a:lnTo>
                      <a:lnTo>
                        <a:pt x="1544" y="573"/>
                      </a:lnTo>
                      <a:lnTo>
                        <a:pt x="1542" y="573"/>
                      </a:lnTo>
                      <a:lnTo>
                        <a:pt x="1540" y="574"/>
                      </a:lnTo>
                      <a:lnTo>
                        <a:pt x="1539" y="575"/>
                      </a:lnTo>
                      <a:lnTo>
                        <a:pt x="1537" y="576"/>
                      </a:lnTo>
                      <a:lnTo>
                        <a:pt x="1537" y="578"/>
                      </a:lnTo>
                      <a:lnTo>
                        <a:pt x="1537" y="580"/>
                      </a:lnTo>
                      <a:lnTo>
                        <a:pt x="1538" y="581"/>
                      </a:lnTo>
                      <a:lnTo>
                        <a:pt x="1540" y="584"/>
                      </a:lnTo>
                      <a:lnTo>
                        <a:pt x="1542" y="585"/>
                      </a:lnTo>
                      <a:lnTo>
                        <a:pt x="1546" y="587"/>
                      </a:lnTo>
                      <a:lnTo>
                        <a:pt x="1548" y="588"/>
                      </a:lnTo>
                      <a:lnTo>
                        <a:pt x="1549" y="590"/>
                      </a:lnTo>
                      <a:lnTo>
                        <a:pt x="1549" y="591"/>
                      </a:lnTo>
                      <a:lnTo>
                        <a:pt x="1548" y="593"/>
                      </a:lnTo>
                      <a:lnTo>
                        <a:pt x="1547" y="595"/>
                      </a:lnTo>
                      <a:lnTo>
                        <a:pt x="1546" y="595"/>
                      </a:lnTo>
                      <a:lnTo>
                        <a:pt x="1544" y="596"/>
                      </a:lnTo>
                      <a:lnTo>
                        <a:pt x="1542" y="596"/>
                      </a:lnTo>
                      <a:lnTo>
                        <a:pt x="1541" y="596"/>
                      </a:lnTo>
                      <a:lnTo>
                        <a:pt x="1540" y="597"/>
                      </a:lnTo>
                      <a:lnTo>
                        <a:pt x="1540" y="599"/>
                      </a:lnTo>
                      <a:lnTo>
                        <a:pt x="1540" y="600"/>
                      </a:lnTo>
                      <a:lnTo>
                        <a:pt x="1541" y="601"/>
                      </a:lnTo>
                      <a:lnTo>
                        <a:pt x="1543" y="602"/>
                      </a:lnTo>
                      <a:lnTo>
                        <a:pt x="1546" y="603"/>
                      </a:lnTo>
                      <a:lnTo>
                        <a:pt x="1549" y="603"/>
                      </a:lnTo>
                      <a:lnTo>
                        <a:pt x="1551" y="604"/>
                      </a:lnTo>
                      <a:lnTo>
                        <a:pt x="1552" y="607"/>
                      </a:lnTo>
                      <a:lnTo>
                        <a:pt x="1554" y="609"/>
                      </a:lnTo>
                      <a:lnTo>
                        <a:pt x="1554" y="613"/>
                      </a:lnTo>
                      <a:lnTo>
                        <a:pt x="1557" y="617"/>
                      </a:lnTo>
                      <a:lnTo>
                        <a:pt x="1559" y="620"/>
                      </a:lnTo>
                      <a:lnTo>
                        <a:pt x="1562" y="622"/>
                      </a:lnTo>
                      <a:lnTo>
                        <a:pt x="1564" y="625"/>
                      </a:lnTo>
                      <a:lnTo>
                        <a:pt x="1568" y="628"/>
                      </a:lnTo>
                      <a:lnTo>
                        <a:pt x="1570" y="631"/>
                      </a:lnTo>
                      <a:lnTo>
                        <a:pt x="1583" y="643"/>
                      </a:lnTo>
                      <a:lnTo>
                        <a:pt x="1591" y="651"/>
                      </a:lnTo>
                      <a:lnTo>
                        <a:pt x="1596" y="660"/>
                      </a:lnTo>
                      <a:lnTo>
                        <a:pt x="1601" y="669"/>
                      </a:lnTo>
                      <a:lnTo>
                        <a:pt x="1601" y="673"/>
                      </a:lnTo>
                      <a:lnTo>
                        <a:pt x="1603" y="676"/>
                      </a:lnTo>
                      <a:lnTo>
                        <a:pt x="1604" y="679"/>
                      </a:lnTo>
                      <a:lnTo>
                        <a:pt x="1605" y="683"/>
                      </a:lnTo>
                      <a:lnTo>
                        <a:pt x="1606" y="687"/>
                      </a:lnTo>
                      <a:lnTo>
                        <a:pt x="1606" y="691"/>
                      </a:lnTo>
                      <a:lnTo>
                        <a:pt x="1607" y="695"/>
                      </a:lnTo>
                      <a:lnTo>
                        <a:pt x="1607" y="698"/>
                      </a:lnTo>
                      <a:lnTo>
                        <a:pt x="1612" y="718"/>
                      </a:lnTo>
                      <a:lnTo>
                        <a:pt x="1611" y="718"/>
                      </a:lnTo>
                      <a:lnTo>
                        <a:pt x="1611" y="718"/>
                      </a:lnTo>
                      <a:lnTo>
                        <a:pt x="1609" y="717"/>
                      </a:lnTo>
                      <a:lnTo>
                        <a:pt x="1608" y="715"/>
                      </a:lnTo>
                      <a:lnTo>
                        <a:pt x="1607" y="713"/>
                      </a:lnTo>
                      <a:lnTo>
                        <a:pt x="1607" y="713"/>
                      </a:lnTo>
                      <a:lnTo>
                        <a:pt x="1605" y="711"/>
                      </a:lnTo>
                      <a:lnTo>
                        <a:pt x="1604" y="709"/>
                      </a:lnTo>
                      <a:lnTo>
                        <a:pt x="1603" y="707"/>
                      </a:lnTo>
                      <a:lnTo>
                        <a:pt x="1601" y="705"/>
                      </a:lnTo>
                      <a:lnTo>
                        <a:pt x="1600" y="704"/>
                      </a:lnTo>
                      <a:lnTo>
                        <a:pt x="1598" y="704"/>
                      </a:lnTo>
                      <a:lnTo>
                        <a:pt x="1598" y="705"/>
                      </a:lnTo>
                      <a:lnTo>
                        <a:pt x="1597" y="706"/>
                      </a:lnTo>
                      <a:lnTo>
                        <a:pt x="1596" y="707"/>
                      </a:lnTo>
                      <a:lnTo>
                        <a:pt x="1596" y="709"/>
                      </a:lnTo>
                      <a:lnTo>
                        <a:pt x="1594" y="711"/>
                      </a:lnTo>
                      <a:lnTo>
                        <a:pt x="1590" y="709"/>
                      </a:lnTo>
                      <a:lnTo>
                        <a:pt x="1585" y="704"/>
                      </a:lnTo>
                      <a:lnTo>
                        <a:pt x="1580" y="698"/>
                      </a:lnTo>
                      <a:lnTo>
                        <a:pt x="1576" y="691"/>
                      </a:lnTo>
                      <a:lnTo>
                        <a:pt x="1574" y="687"/>
                      </a:lnTo>
                      <a:lnTo>
                        <a:pt x="1572" y="680"/>
                      </a:lnTo>
                      <a:lnTo>
                        <a:pt x="1570" y="674"/>
                      </a:lnTo>
                      <a:lnTo>
                        <a:pt x="1567" y="666"/>
                      </a:lnTo>
                      <a:lnTo>
                        <a:pt x="1561" y="661"/>
                      </a:lnTo>
                      <a:lnTo>
                        <a:pt x="1558" y="660"/>
                      </a:lnTo>
                      <a:lnTo>
                        <a:pt x="1554" y="658"/>
                      </a:lnTo>
                      <a:lnTo>
                        <a:pt x="1551" y="657"/>
                      </a:lnTo>
                      <a:lnTo>
                        <a:pt x="1548" y="654"/>
                      </a:lnTo>
                      <a:lnTo>
                        <a:pt x="1546" y="653"/>
                      </a:lnTo>
                      <a:lnTo>
                        <a:pt x="1543" y="650"/>
                      </a:lnTo>
                      <a:lnTo>
                        <a:pt x="1540" y="646"/>
                      </a:lnTo>
                      <a:lnTo>
                        <a:pt x="1537" y="643"/>
                      </a:lnTo>
                      <a:lnTo>
                        <a:pt x="1532" y="640"/>
                      </a:lnTo>
                      <a:lnTo>
                        <a:pt x="1528" y="638"/>
                      </a:lnTo>
                      <a:lnTo>
                        <a:pt x="1524" y="635"/>
                      </a:lnTo>
                      <a:lnTo>
                        <a:pt x="1521" y="633"/>
                      </a:lnTo>
                      <a:lnTo>
                        <a:pt x="1520" y="633"/>
                      </a:lnTo>
                      <a:lnTo>
                        <a:pt x="1519" y="632"/>
                      </a:lnTo>
                      <a:lnTo>
                        <a:pt x="1519" y="631"/>
                      </a:lnTo>
                      <a:lnTo>
                        <a:pt x="1517" y="629"/>
                      </a:lnTo>
                      <a:lnTo>
                        <a:pt x="1515" y="626"/>
                      </a:lnTo>
                      <a:lnTo>
                        <a:pt x="1513" y="626"/>
                      </a:lnTo>
                      <a:lnTo>
                        <a:pt x="1514" y="630"/>
                      </a:lnTo>
                      <a:lnTo>
                        <a:pt x="1516" y="633"/>
                      </a:lnTo>
                      <a:lnTo>
                        <a:pt x="1519" y="636"/>
                      </a:lnTo>
                      <a:lnTo>
                        <a:pt x="1524" y="640"/>
                      </a:lnTo>
                      <a:lnTo>
                        <a:pt x="1528" y="641"/>
                      </a:lnTo>
                      <a:lnTo>
                        <a:pt x="1531" y="645"/>
                      </a:lnTo>
                      <a:lnTo>
                        <a:pt x="1535" y="649"/>
                      </a:lnTo>
                      <a:lnTo>
                        <a:pt x="1539" y="653"/>
                      </a:lnTo>
                      <a:lnTo>
                        <a:pt x="1543" y="656"/>
                      </a:lnTo>
                      <a:lnTo>
                        <a:pt x="1546" y="657"/>
                      </a:lnTo>
                      <a:lnTo>
                        <a:pt x="1549" y="658"/>
                      </a:lnTo>
                      <a:lnTo>
                        <a:pt x="1552" y="661"/>
                      </a:lnTo>
                      <a:lnTo>
                        <a:pt x="1555" y="662"/>
                      </a:lnTo>
                      <a:lnTo>
                        <a:pt x="1559" y="665"/>
                      </a:lnTo>
                      <a:lnTo>
                        <a:pt x="1560" y="668"/>
                      </a:lnTo>
                      <a:lnTo>
                        <a:pt x="1560" y="669"/>
                      </a:lnTo>
                      <a:lnTo>
                        <a:pt x="1559" y="671"/>
                      </a:lnTo>
                      <a:lnTo>
                        <a:pt x="1558" y="672"/>
                      </a:lnTo>
                      <a:lnTo>
                        <a:pt x="1557" y="673"/>
                      </a:lnTo>
                      <a:lnTo>
                        <a:pt x="1555" y="673"/>
                      </a:lnTo>
                      <a:lnTo>
                        <a:pt x="1554" y="674"/>
                      </a:lnTo>
                      <a:lnTo>
                        <a:pt x="1553" y="675"/>
                      </a:lnTo>
                      <a:lnTo>
                        <a:pt x="1552" y="676"/>
                      </a:lnTo>
                      <a:lnTo>
                        <a:pt x="1550" y="676"/>
                      </a:lnTo>
                      <a:lnTo>
                        <a:pt x="1548" y="676"/>
                      </a:lnTo>
                      <a:lnTo>
                        <a:pt x="1547" y="676"/>
                      </a:lnTo>
                      <a:lnTo>
                        <a:pt x="1546" y="675"/>
                      </a:lnTo>
                      <a:lnTo>
                        <a:pt x="1544" y="674"/>
                      </a:lnTo>
                      <a:lnTo>
                        <a:pt x="1542" y="674"/>
                      </a:lnTo>
                      <a:lnTo>
                        <a:pt x="1541" y="674"/>
                      </a:lnTo>
                      <a:lnTo>
                        <a:pt x="1541" y="674"/>
                      </a:lnTo>
                      <a:lnTo>
                        <a:pt x="1543" y="677"/>
                      </a:lnTo>
                      <a:lnTo>
                        <a:pt x="1546" y="679"/>
                      </a:lnTo>
                      <a:lnTo>
                        <a:pt x="1549" y="682"/>
                      </a:lnTo>
                      <a:lnTo>
                        <a:pt x="1552" y="684"/>
                      </a:lnTo>
                      <a:lnTo>
                        <a:pt x="1554" y="685"/>
                      </a:lnTo>
                      <a:lnTo>
                        <a:pt x="1557" y="687"/>
                      </a:lnTo>
                      <a:lnTo>
                        <a:pt x="1558" y="688"/>
                      </a:lnTo>
                      <a:lnTo>
                        <a:pt x="1558" y="689"/>
                      </a:lnTo>
                      <a:lnTo>
                        <a:pt x="1557" y="689"/>
                      </a:lnTo>
                      <a:lnTo>
                        <a:pt x="1555" y="689"/>
                      </a:lnTo>
                      <a:lnTo>
                        <a:pt x="1554" y="689"/>
                      </a:lnTo>
                      <a:lnTo>
                        <a:pt x="1552" y="689"/>
                      </a:lnTo>
                      <a:lnTo>
                        <a:pt x="1551" y="689"/>
                      </a:lnTo>
                      <a:lnTo>
                        <a:pt x="1550" y="689"/>
                      </a:lnTo>
                      <a:lnTo>
                        <a:pt x="1549" y="690"/>
                      </a:lnTo>
                      <a:lnTo>
                        <a:pt x="1550" y="693"/>
                      </a:lnTo>
                      <a:lnTo>
                        <a:pt x="1551" y="694"/>
                      </a:lnTo>
                      <a:lnTo>
                        <a:pt x="1552" y="695"/>
                      </a:lnTo>
                      <a:lnTo>
                        <a:pt x="1553" y="696"/>
                      </a:lnTo>
                      <a:lnTo>
                        <a:pt x="1554" y="696"/>
                      </a:lnTo>
                      <a:lnTo>
                        <a:pt x="1555" y="698"/>
                      </a:lnTo>
                      <a:lnTo>
                        <a:pt x="1557" y="700"/>
                      </a:lnTo>
                      <a:lnTo>
                        <a:pt x="1559" y="702"/>
                      </a:lnTo>
                      <a:lnTo>
                        <a:pt x="1561" y="705"/>
                      </a:lnTo>
                      <a:lnTo>
                        <a:pt x="1563" y="706"/>
                      </a:lnTo>
                      <a:lnTo>
                        <a:pt x="1565" y="706"/>
                      </a:lnTo>
                      <a:lnTo>
                        <a:pt x="1568" y="705"/>
                      </a:lnTo>
                      <a:lnTo>
                        <a:pt x="1570" y="705"/>
                      </a:lnTo>
                      <a:lnTo>
                        <a:pt x="1572" y="705"/>
                      </a:lnTo>
                      <a:lnTo>
                        <a:pt x="1574" y="705"/>
                      </a:lnTo>
                      <a:lnTo>
                        <a:pt x="1579" y="708"/>
                      </a:lnTo>
                      <a:lnTo>
                        <a:pt x="1583" y="711"/>
                      </a:lnTo>
                      <a:lnTo>
                        <a:pt x="1587" y="713"/>
                      </a:lnTo>
                      <a:lnTo>
                        <a:pt x="1590" y="715"/>
                      </a:lnTo>
                      <a:lnTo>
                        <a:pt x="1592" y="716"/>
                      </a:lnTo>
                      <a:lnTo>
                        <a:pt x="1596" y="718"/>
                      </a:lnTo>
                      <a:lnTo>
                        <a:pt x="1598" y="720"/>
                      </a:lnTo>
                      <a:lnTo>
                        <a:pt x="1601" y="722"/>
                      </a:lnTo>
                      <a:lnTo>
                        <a:pt x="1603" y="723"/>
                      </a:lnTo>
                      <a:lnTo>
                        <a:pt x="1605" y="726"/>
                      </a:lnTo>
                      <a:lnTo>
                        <a:pt x="1606" y="728"/>
                      </a:lnTo>
                      <a:lnTo>
                        <a:pt x="1607" y="731"/>
                      </a:lnTo>
                      <a:lnTo>
                        <a:pt x="1606" y="733"/>
                      </a:lnTo>
                      <a:lnTo>
                        <a:pt x="1605" y="735"/>
                      </a:lnTo>
                      <a:lnTo>
                        <a:pt x="1603" y="737"/>
                      </a:lnTo>
                      <a:lnTo>
                        <a:pt x="1601" y="739"/>
                      </a:lnTo>
                      <a:lnTo>
                        <a:pt x="1598" y="740"/>
                      </a:lnTo>
                      <a:lnTo>
                        <a:pt x="1596" y="741"/>
                      </a:lnTo>
                      <a:lnTo>
                        <a:pt x="1594" y="742"/>
                      </a:lnTo>
                      <a:lnTo>
                        <a:pt x="1593" y="744"/>
                      </a:lnTo>
                      <a:lnTo>
                        <a:pt x="1593" y="748"/>
                      </a:lnTo>
                      <a:lnTo>
                        <a:pt x="1592" y="751"/>
                      </a:lnTo>
                      <a:lnTo>
                        <a:pt x="1590" y="752"/>
                      </a:lnTo>
                      <a:lnTo>
                        <a:pt x="1589" y="753"/>
                      </a:lnTo>
                      <a:lnTo>
                        <a:pt x="1586" y="754"/>
                      </a:lnTo>
                      <a:lnTo>
                        <a:pt x="1584" y="754"/>
                      </a:lnTo>
                      <a:lnTo>
                        <a:pt x="1582" y="754"/>
                      </a:lnTo>
                      <a:lnTo>
                        <a:pt x="1581" y="755"/>
                      </a:lnTo>
                      <a:lnTo>
                        <a:pt x="1578" y="760"/>
                      </a:lnTo>
                      <a:lnTo>
                        <a:pt x="1574" y="766"/>
                      </a:lnTo>
                      <a:lnTo>
                        <a:pt x="1571" y="772"/>
                      </a:lnTo>
                      <a:lnTo>
                        <a:pt x="1567" y="776"/>
                      </a:lnTo>
                      <a:lnTo>
                        <a:pt x="1561" y="777"/>
                      </a:lnTo>
                      <a:lnTo>
                        <a:pt x="1553" y="776"/>
                      </a:lnTo>
                      <a:lnTo>
                        <a:pt x="1546" y="777"/>
                      </a:lnTo>
                      <a:lnTo>
                        <a:pt x="1539" y="780"/>
                      </a:lnTo>
                      <a:lnTo>
                        <a:pt x="1537" y="780"/>
                      </a:lnTo>
                      <a:lnTo>
                        <a:pt x="1535" y="780"/>
                      </a:lnTo>
                      <a:lnTo>
                        <a:pt x="1532" y="780"/>
                      </a:lnTo>
                      <a:lnTo>
                        <a:pt x="1530" y="782"/>
                      </a:lnTo>
                      <a:lnTo>
                        <a:pt x="1528" y="782"/>
                      </a:lnTo>
                      <a:lnTo>
                        <a:pt x="1526" y="784"/>
                      </a:lnTo>
                      <a:lnTo>
                        <a:pt x="1524" y="786"/>
                      </a:lnTo>
                      <a:lnTo>
                        <a:pt x="1520" y="787"/>
                      </a:lnTo>
                      <a:lnTo>
                        <a:pt x="1517" y="787"/>
                      </a:lnTo>
                      <a:lnTo>
                        <a:pt x="1514" y="786"/>
                      </a:lnTo>
                      <a:lnTo>
                        <a:pt x="1511" y="785"/>
                      </a:lnTo>
                      <a:lnTo>
                        <a:pt x="1508" y="782"/>
                      </a:lnTo>
                      <a:lnTo>
                        <a:pt x="1505" y="778"/>
                      </a:lnTo>
                      <a:lnTo>
                        <a:pt x="1503" y="775"/>
                      </a:lnTo>
                      <a:lnTo>
                        <a:pt x="1500" y="773"/>
                      </a:lnTo>
                      <a:lnTo>
                        <a:pt x="1497" y="771"/>
                      </a:lnTo>
                      <a:lnTo>
                        <a:pt x="1496" y="774"/>
                      </a:lnTo>
                      <a:lnTo>
                        <a:pt x="1496" y="776"/>
                      </a:lnTo>
                      <a:lnTo>
                        <a:pt x="1497" y="778"/>
                      </a:lnTo>
                      <a:lnTo>
                        <a:pt x="1498" y="781"/>
                      </a:lnTo>
                      <a:lnTo>
                        <a:pt x="1499" y="784"/>
                      </a:lnTo>
                      <a:lnTo>
                        <a:pt x="1502" y="786"/>
                      </a:lnTo>
                      <a:lnTo>
                        <a:pt x="1503" y="788"/>
                      </a:lnTo>
                      <a:lnTo>
                        <a:pt x="1503" y="789"/>
                      </a:lnTo>
                      <a:lnTo>
                        <a:pt x="1502" y="792"/>
                      </a:lnTo>
                      <a:lnTo>
                        <a:pt x="1499" y="793"/>
                      </a:lnTo>
                      <a:lnTo>
                        <a:pt x="1497" y="795"/>
                      </a:lnTo>
                      <a:lnTo>
                        <a:pt x="1494" y="796"/>
                      </a:lnTo>
                      <a:lnTo>
                        <a:pt x="1491" y="798"/>
                      </a:lnTo>
                      <a:lnTo>
                        <a:pt x="1486" y="799"/>
                      </a:lnTo>
                      <a:lnTo>
                        <a:pt x="1483" y="800"/>
                      </a:lnTo>
                      <a:lnTo>
                        <a:pt x="1482" y="802"/>
                      </a:lnTo>
                      <a:lnTo>
                        <a:pt x="1482" y="804"/>
                      </a:lnTo>
                      <a:lnTo>
                        <a:pt x="1482" y="806"/>
                      </a:lnTo>
                      <a:lnTo>
                        <a:pt x="1482" y="809"/>
                      </a:lnTo>
                      <a:lnTo>
                        <a:pt x="1482" y="818"/>
                      </a:lnTo>
                      <a:lnTo>
                        <a:pt x="1481" y="827"/>
                      </a:lnTo>
                      <a:lnTo>
                        <a:pt x="1480" y="833"/>
                      </a:lnTo>
                      <a:lnTo>
                        <a:pt x="1480" y="837"/>
                      </a:lnTo>
                      <a:lnTo>
                        <a:pt x="1478" y="839"/>
                      </a:lnTo>
                      <a:lnTo>
                        <a:pt x="1477" y="840"/>
                      </a:lnTo>
                      <a:lnTo>
                        <a:pt x="1476" y="841"/>
                      </a:lnTo>
                      <a:lnTo>
                        <a:pt x="1474" y="841"/>
                      </a:lnTo>
                      <a:lnTo>
                        <a:pt x="1473" y="842"/>
                      </a:lnTo>
                      <a:lnTo>
                        <a:pt x="1471" y="843"/>
                      </a:lnTo>
                      <a:lnTo>
                        <a:pt x="1469" y="846"/>
                      </a:lnTo>
                      <a:lnTo>
                        <a:pt x="1467" y="848"/>
                      </a:lnTo>
                      <a:lnTo>
                        <a:pt x="1466" y="850"/>
                      </a:lnTo>
                      <a:lnTo>
                        <a:pt x="1466" y="853"/>
                      </a:lnTo>
                      <a:lnTo>
                        <a:pt x="1464" y="855"/>
                      </a:lnTo>
                      <a:lnTo>
                        <a:pt x="1462" y="858"/>
                      </a:lnTo>
                      <a:lnTo>
                        <a:pt x="1458" y="860"/>
                      </a:lnTo>
                      <a:lnTo>
                        <a:pt x="1456" y="861"/>
                      </a:lnTo>
                      <a:lnTo>
                        <a:pt x="1455" y="860"/>
                      </a:lnTo>
                      <a:lnTo>
                        <a:pt x="1453" y="859"/>
                      </a:lnTo>
                      <a:lnTo>
                        <a:pt x="1452" y="858"/>
                      </a:lnTo>
                      <a:lnTo>
                        <a:pt x="1450" y="858"/>
                      </a:lnTo>
                      <a:lnTo>
                        <a:pt x="1449" y="858"/>
                      </a:lnTo>
                      <a:lnTo>
                        <a:pt x="1448" y="859"/>
                      </a:lnTo>
                      <a:lnTo>
                        <a:pt x="1447" y="861"/>
                      </a:lnTo>
                      <a:lnTo>
                        <a:pt x="1445" y="862"/>
                      </a:lnTo>
                      <a:lnTo>
                        <a:pt x="1445" y="863"/>
                      </a:lnTo>
                      <a:lnTo>
                        <a:pt x="1444" y="864"/>
                      </a:lnTo>
                      <a:lnTo>
                        <a:pt x="1444" y="864"/>
                      </a:lnTo>
                      <a:lnTo>
                        <a:pt x="1442" y="864"/>
                      </a:lnTo>
                      <a:lnTo>
                        <a:pt x="1440" y="864"/>
                      </a:lnTo>
                      <a:lnTo>
                        <a:pt x="1437" y="862"/>
                      </a:lnTo>
                      <a:lnTo>
                        <a:pt x="1434" y="861"/>
                      </a:lnTo>
                      <a:lnTo>
                        <a:pt x="1433" y="859"/>
                      </a:lnTo>
                      <a:lnTo>
                        <a:pt x="1433" y="855"/>
                      </a:lnTo>
                      <a:lnTo>
                        <a:pt x="1434" y="854"/>
                      </a:lnTo>
                      <a:lnTo>
                        <a:pt x="1434" y="852"/>
                      </a:lnTo>
                      <a:lnTo>
                        <a:pt x="1436" y="850"/>
                      </a:lnTo>
                      <a:lnTo>
                        <a:pt x="1436" y="847"/>
                      </a:lnTo>
                      <a:lnTo>
                        <a:pt x="1436" y="846"/>
                      </a:lnTo>
                      <a:lnTo>
                        <a:pt x="1434" y="844"/>
                      </a:lnTo>
                      <a:lnTo>
                        <a:pt x="1432" y="844"/>
                      </a:lnTo>
                      <a:lnTo>
                        <a:pt x="1431" y="844"/>
                      </a:lnTo>
                      <a:lnTo>
                        <a:pt x="1430" y="846"/>
                      </a:lnTo>
                      <a:lnTo>
                        <a:pt x="1429" y="847"/>
                      </a:lnTo>
                      <a:lnTo>
                        <a:pt x="1429" y="850"/>
                      </a:lnTo>
                      <a:lnTo>
                        <a:pt x="1429" y="853"/>
                      </a:lnTo>
                      <a:lnTo>
                        <a:pt x="1429" y="855"/>
                      </a:lnTo>
                      <a:lnTo>
                        <a:pt x="1428" y="858"/>
                      </a:lnTo>
                      <a:lnTo>
                        <a:pt x="1428" y="860"/>
                      </a:lnTo>
                      <a:lnTo>
                        <a:pt x="1426" y="861"/>
                      </a:lnTo>
                      <a:lnTo>
                        <a:pt x="1422" y="862"/>
                      </a:lnTo>
                      <a:lnTo>
                        <a:pt x="1421" y="863"/>
                      </a:lnTo>
                      <a:lnTo>
                        <a:pt x="1419" y="864"/>
                      </a:lnTo>
                      <a:lnTo>
                        <a:pt x="1418" y="865"/>
                      </a:lnTo>
                      <a:lnTo>
                        <a:pt x="1416" y="866"/>
                      </a:lnTo>
                      <a:lnTo>
                        <a:pt x="1413" y="866"/>
                      </a:lnTo>
                      <a:lnTo>
                        <a:pt x="1411" y="866"/>
                      </a:lnTo>
                      <a:lnTo>
                        <a:pt x="1409" y="868"/>
                      </a:lnTo>
                      <a:lnTo>
                        <a:pt x="1407" y="869"/>
                      </a:lnTo>
                      <a:lnTo>
                        <a:pt x="1405" y="871"/>
                      </a:lnTo>
                      <a:lnTo>
                        <a:pt x="1405" y="872"/>
                      </a:lnTo>
                      <a:lnTo>
                        <a:pt x="1404" y="874"/>
                      </a:lnTo>
                      <a:lnTo>
                        <a:pt x="1404" y="876"/>
                      </a:lnTo>
                      <a:lnTo>
                        <a:pt x="1404" y="879"/>
                      </a:lnTo>
                      <a:lnTo>
                        <a:pt x="1402" y="880"/>
                      </a:lnTo>
                      <a:lnTo>
                        <a:pt x="1402" y="881"/>
                      </a:lnTo>
                      <a:lnTo>
                        <a:pt x="1401" y="881"/>
                      </a:lnTo>
                      <a:lnTo>
                        <a:pt x="1400" y="882"/>
                      </a:lnTo>
                      <a:lnTo>
                        <a:pt x="1399" y="883"/>
                      </a:lnTo>
                      <a:lnTo>
                        <a:pt x="1398" y="883"/>
                      </a:lnTo>
                      <a:lnTo>
                        <a:pt x="1398" y="884"/>
                      </a:lnTo>
                      <a:lnTo>
                        <a:pt x="1400" y="884"/>
                      </a:lnTo>
                      <a:lnTo>
                        <a:pt x="1401" y="886"/>
                      </a:lnTo>
                      <a:lnTo>
                        <a:pt x="1404" y="887"/>
                      </a:lnTo>
                      <a:lnTo>
                        <a:pt x="1405" y="890"/>
                      </a:lnTo>
                      <a:lnTo>
                        <a:pt x="1405" y="891"/>
                      </a:lnTo>
                      <a:lnTo>
                        <a:pt x="1404" y="892"/>
                      </a:lnTo>
                      <a:lnTo>
                        <a:pt x="1401" y="892"/>
                      </a:lnTo>
                      <a:lnTo>
                        <a:pt x="1399" y="892"/>
                      </a:lnTo>
                      <a:lnTo>
                        <a:pt x="1398" y="891"/>
                      </a:lnTo>
                      <a:lnTo>
                        <a:pt x="1396" y="891"/>
                      </a:lnTo>
                      <a:lnTo>
                        <a:pt x="1395" y="891"/>
                      </a:lnTo>
                      <a:lnTo>
                        <a:pt x="1393" y="892"/>
                      </a:lnTo>
                      <a:lnTo>
                        <a:pt x="1390" y="893"/>
                      </a:lnTo>
                      <a:lnTo>
                        <a:pt x="1389" y="894"/>
                      </a:lnTo>
                      <a:lnTo>
                        <a:pt x="1388" y="896"/>
                      </a:lnTo>
                      <a:lnTo>
                        <a:pt x="1388" y="898"/>
                      </a:lnTo>
                      <a:lnTo>
                        <a:pt x="1389" y="901"/>
                      </a:lnTo>
                      <a:lnTo>
                        <a:pt x="1391" y="904"/>
                      </a:lnTo>
                      <a:lnTo>
                        <a:pt x="1394" y="905"/>
                      </a:lnTo>
                      <a:lnTo>
                        <a:pt x="1396" y="906"/>
                      </a:lnTo>
                      <a:lnTo>
                        <a:pt x="1397" y="907"/>
                      </a:lnTo>
                      <a:lnTo>
                        <a:pt x="1399" y="908"/>
                      </a:lnTo>
                      <a:lnTo>
                        <a:pt x="1400" y="911"/>
                      </a:lnTo>
                      <a:lnTo>
                        <a:pt x="1401" y="912"/>
                      </a:lnTo>
                      <a:lnTo>
                        <a:pt x="1400" y="913"/>
                      </a:lnTo>
                      <a:lnTo>
                        <a:pt x="1399" y="914"/>
                      </a:lnTo>
                      <a:lnTo>
                        <a:pt x="1396" y="915"/>
                      </a:lnTo>
                      <a:lnTo>
                        <a:pt x="1395" y="916"/>
                      </a:lnTo>
                      <a:lnTo>
                        <a:pt x="1394" y="918"/>
                      </a:lnTo>
                      <a:lnTo>
                        <a:pt x="1394" y="920"/>
                      </a:lnTo>
                      <a:lnTo>
                        <a:pt x="1395" y="923"/>
                      </a:lnTo>
                      <a:lnTo>
                        <a:pt x="1395" y="926"/>
                      </a:lnTo>
                      <a:lnTo>
                        <a:pt x="1396" y="928"/>
                      </a:lnTo>
                      <a:lnTo>
                        <a:pt x="1399" y="930"/>
                      </a:lnTo>
                      <a:lnTo>
                        <a:pt x="1400" y="933"/>
                      </a:lnTo>
                      <a:lnTo>
                        <a:pt x="1401" y="936"/>
                      </a:lnTo>
                      <a:lnTo>
                        <a:pt x="1401" y="939"/>
                      </a:lnTo>
                      <a:lnTo>
                        <a:pt x="1401" y="942"/>
                      </a:lnTo>
                      <a:lnTo>
                        <a:pt x="1400" y="946"/>
                      </a:lnTo>
                      <a:lnTo>
                        <a:pt x="1399" y="950"/>
                      </a:lnTo>
                      <a:lnTo>
                        <a:pt x="1397" y="953"/>
                      </a:lnTo>
                      <a:lnTo>
                        <a:pt x="1395" y="957"/>
                      </a:lnTo>
                      <a:lnTo>
                        <a:pt x="1391" y="959"/>
                      </a:lnTo>
                      <a:lnTo>
                        <a:pt x="1390" y="960"/>
                      </a:lnTo>
                      <a:lnTo>
                        <a:pt x="1390" y="963"/>
                      </a:lnTo>
                      <a:lnTo>
                        <a:pt x="1390" y="967"/>
                      </a:lnTo>
                      <a:lnTo>
                        <a:pt x="1389" y="970"/>
                      </a:lnTo>
                      <a:lnTo>
                        <a:pt x="1389" y="973"/>
                      </a:lnTo>
                      <a:lnTo>
                        <a:pt x="1390" y="975"/>
                      </a:lnTo>
                      <a:lnTo>
                        <a:pt x="1389" y="978"/>
                      </a:lnTo>
                      <a:lnTo>
                        <a:pt x="1388" y="979"/>
                      </a:lnTo>
                      <a:lnTo>
                        <a:pt x="1387" y="979"/>
                      </a:lnTo>
                      <a:lnTo>
                        <a:pt x="1385" y="979"/>
                      </a:lnTo>
                      <a:lnTo>
                        <a:pt x="1383" y="979"/>
                      </a:lnTo>
                      <a:lnTo>
                        <a:pt x="1380" y="980"/>
                      </a:lnTo>
                      <a:lnTo>
                        <a:pt x="1379" y="980"/>
                      </a:lnTo>
                      <a:lnTo>
                        <a:pt x="1377" y="981"/>
                      </a:lnTo>
                      <a:lnTo>
                        <a:pt x="1376" y="982"/>
                      </a:lnTo>
                      <a:lnTo>
                        <a:pt x="1376" y="985"/>
                      </a:lnTo>
                      <a:lnTo>
                        <a:pt x="1377" y="989"/>
                      </a:lnTo>
                      <a:lnTo>
                        <a:pt x="1378" y="991"/>
                      </a:lnTo>
                      <a:lnTo>
                        <a:pt x="1379" y="994"/>
                      </a:lnTo>
                      <a:lnTo>
                        <a:pt x="1380" y="996"/>
                      </a:lnTo>
                      <a:lnTo>
                        <a:pt x="1380" y="1000"/>
                      </a:lnTo>
                      <a:lnTo>
                        <a:pt x="1383" y="1010"/>
                      </a:lnTo>
                      <a:lnTo>
                        <a:pt x="1385" y="1020"/>
                      </a:lnTo>
                      <a:lnTo>
                        <a:pt x="1386" y="1023"/>
                      </a:lnTo>
                      <a:lnTo>
                        <a:pt x="1386" y="1025"/>
                      </a:lnTo>
                      <a:lnTo>
                        <a:pt x="1385" y="1027"/>
                      </a:lnTo>
                      <a:lnTo>
                        <a:pt x="1384" y="1029"/>
                      </a:lnTo>
                      <a:lnTo>
                        <a:pt x="1383" y="1032"/>
                      </a:lnTo>
                      <a:lnTo>
                        <a:pt x="1380" y="1035"/>
                      </a:lnTo>
                      <a:lnTo>
                        <a:pt x="1379" y="1038"/>
                      </a:lnTo>
                      <a:lnTo>
                        <a:pt x="1377" y="1042"/>
                      </a:lnTo>
                      <a:lnTo>
                        <a:pt x="1377" y="1045"/>
                      </a:lnTo>
                      <a:lnTo>
                        <a:pt x="1376" y="1048"/>
                      </a:lnTo>
                      <a:lnTo>
                        <a:pt x="1376" y="1053"/>
                      </a:lnTo>
                      <a:lnTo>
                        <a:pt x="1377" y="1057"/>
                      </a:lnTo>
                      <a:lnTo>
                        <a:pt x="1377" y="1062"/>
                      </a:lnTo>
                      <a:lnTo>
                        <a:pt x="1377" y="1070"/>
                      </a:lnTo>
                      <a:lnTo>
                        <a:pt x="1377" y="1077"/>
                      </a:lnTo>
                      <a:lnTo>
                        <a:pt x="1376" y="1081"/>
                      </a:lnTo>
                      <a:lnTo>
                        <a:pt x="1374" y="1083"/>
                      </a:lnTo>
                      <a:lnTo>
                        <a:pt x="1369" y="1081"/>
                      </a:lnTo>
                      <a:lnTo>
                        <a:pt x="1367" y="1079"/>
                      </a:lnTo>
                      <a:lnTo>
                        <a:pt x="1365" y="1077"/>
                      </a:lnTo>
                      <a:lnTo>
                        <a:pt x="1362" y="1077"/>
                      </a:lnTo>
                      <a:lnTo>
                        <a:pt x="1360" y="1077"/>
                      </a:lnTo>
                      <a:lnTo>
                        <a:pt x="1357" y="1079"/>
                      </a:lnTo>
                      <a:lnTo>
                        <a:pt x="1356" y="1080"/>
                      </a:lnTo>
                      <a:lnTo>
                        <a:pt x="1355" y="1082"/>
                      </a:lnTo>
                      <a:lnTo>
                        <a:pt x="1354" y="1083"/>
                      </a:lnTo>
                      <a:lnTo>
                        <a:pt x="1353" y="1084"/>
                      </a:lnTo>
                      <a:lnTo>
                        <a:pt x="1352" y="1086"/>
                      </a:lnTo>
                      <a:lnTo>
                        <a:pt x="1350" y="1086"/>
                      </a:lnTo>
                      <a:lnTo>
                        <a:pt x="1349" y="1083"/>
                      </a:lnTo>
                      <a:lnTo>
                        <a:pt x="1345" y="1081"/>
                      </a:lnTo>
                      <a:lnTo>
                        <a:pt x="1344" y="1079"/>
                      </a:lnTo>
                      <a:lnTo>
                        <a:pt x="1344" y="1077"/>
                      </a:lnTo>
                      <a:lnTo>
                        <a:pt x="1344" y="1073"/>
                      </a:lnTo>
                      <a:lnTo>
                        <a:pt x="1344" y="1071"/>
                      </a:lnTo>
                      <a:lnTo>
                        <a:pt x="1344" y="1068"/>
                      </a:lnTo>
                      <a:lnTo>
                        <a:pt x="1343" y="1066"/>
                      </a:lnTo>
                      <a:lnTo>
                        <a:pt x="1341" y="1065"/>
                      </a:lnTo>
                      <a:lnTo>
                        <a:pt x="1339" y="1064"/>
                      </a:lnTo>
                      <a:lnTo>
                        <a:pt x="1336" y="1062"/>
                      </a:lnTo>
                      <a:lnTo>
                        <a:pt x="1334" y="1062"/>
                      </a:lnTo>
                      <a:lnTo>
                        <a:pt x="1333" y="1061"/>
                      </a:lnTo>
                      <a:lnTo>
                        <a:pt x="1331" y="1060"/>
                      </a:lnTo>
                      <a:lnTo>
                        <a:pt x="1329" y="1058"/>
                      </a:lnTo>
                      <a:lnTo>
                        <a:pt x="1328" y="1057"/>
                      </a:lnTo>
                      <a:lnTo>
                        <a:pt x="1328" y="1054"/>
                      </a:lnTo>
                      <a:lnTo>
                        <a:pt x="1327" y="1050"/>
                      </a:lnTo>
                      <a:lnTo>
                        <a:pt x="1324" y="1048"/>
                      </a:lnTo>
                      <a:lnTo>
                        <a:pt x="1322" y="1047"/>
                      </a:lnTo>
                      <a:lnTo>
                        <a:pt x="1319" y="1046"/>
                      </a:lnTo>
                      <a:lnTo>
                        <a:pt x="1316" y="1046"/>
                      </a:lnTo>
                      <a:lnTo>
                        <a:pt x="1313" y="1046"/>
                      </a:lnTo>
                      <a:lnTo>
                        <a:pt x="1310" y="1046"/>
                      </a:lnTo>
                      <a:lnTo>
                        <a:pt x="1308" y="1046"/>
                      </a:lnTo>
                      <a:lnTo>
                        <a:pt x="1307" y="1047"/>
                      </a:lnTo>
                      <a:lnTo>
                        <a:pt x="1306" y="1048"/>
                      </a:lnTo>
                      <a:lnTo>
                        <a:pt x="1306" y="1049"/>
                      </a:lnTo>
                      <a:lnTo>
                        <a:pt x="1304" y="1051"/>
                      </a:lnTo>
                      <a:lnTo>
                        <a:pt x="1303" y="1053"/>
                      </a:lnTo>
                      <a:lnTo>
                        <a:pt x="1302" y="1055"/>
                      </a:lnTo>
                      <a:lnTo>
                        <a:pt x="1301" y="1056"/>
                      </a:lnTo>
                      <a:lnTo>
                        <a:pt x="1301" y="1055"/>
                      </a:lnTo>
                      <a:lnTo>
                        <a:pt x="1300" y="1054"/>
                      </a:lnTo>
                      <a:lnTo>
                        <a:pt x="1300" y="1051"/>
                      </a:lnTo>
                      <a:lnTo>
                        <a:pt x="1300" y="1048"/>
                      </a:lnTo>
                      <a:lnTo>
                        <a:pt x="1300" y="1046"/>
                      </a:lnTo>
                      <a:lnTo>
                        <a:pt x="1300" y="1045"/>
                      </a:lnTo>
                      <a:lnTo>
                        <a:pt x="1300" y="1044"/>
                      </a:lnTo>
                      <a:lnTo>
                        <a:pt x="1299" y="1040"/>
                      </a:lnTo>
                      <a:lnTo>
                        <a:pt x="1298" y="1038"/>
                      </a:lnTo>
                      <a:lnTo>
                        <a:pt x="1296" y="1037"/>
                      </a:lnTo>
                      <a:lnTo>
                        <a:pt x="1293" y="1035"/>
                      </a:lnTo>
                      <a:lnTo>
                        <a:pt x="1291" y="1034"/>
                      </a:lnTo>
                      <a:lnTo>
                        <a:pt x="1289" y="1033"/>
                      </a:lnTo>
                      <a:lnTo>
                        <a:pt x="1285" y="1031"/>
                      </a:lnTo>
                      <a:lnTo>
                        <a:pt x="1280" y="1026"/>
                      </a:lnTo>
                      <a:lnTo>
                        <a:pt x="1278" y="1022"/>
                      </a:lnTo>
                      <a:lnTo>
                        <a:pt x="1274" y="1012"/>
                      </a:lnTo>
                      <a:lnTo>
                        <a:pt x="1268" y="1003"/>
                      </a:lnTo>
                      <a:lnTo>
                        <a:pt x="1263" y="993"/>
                      </a:lnTo>
                      <a:lnTo>
                        <a:pt x="1259" y="982"/>
                      </a:lnTo>
                      <a:lnTo>
                        <a:pt x="1256" y="971"/>
                      </a:lnTo>
                      <a:lnTo>
                        <a:pt x="1252" y="961"/>
                      </a:lnTo>
                      <a:lnTo>
                        <a:pt x="1246" y="950"/>
                      </a:lnTo>
                      <a:lnTo>
                        <a:pt x="1240" y="939"/>
                      </a:lnTo>
                      <a:lnTo>
                        <a:pt x="1235" y="929"/>
                      </a:lnTo>
                      <a:lnTo>
                        <a:pt x="1234" y="917"/>
                      </a:lnTo>
                      <a:lnTo>
                        <a:pt x="1235" y="913"/>
                      </a:lnTo>
                      <a:lnTo>
                        <a:pt x="1237" y="907"/>
                      </a:lnTo>
                      <a:lnTo>
                        <a:pt x="1241" y="901"/>
                      </a:lnTo>
                      <a:lnTo>
                        <a:pt x="1242" y="895"/>
                      </a:lnTo>
                      <a:lnTo>
                        <a:pt x="1242" y="891"/>
                      </a:lnTo>
                      <a:lnTo>
                        <a:pt x="1238" y="889"/>
                      </a:lnTo>
                      <a:lnTo>
                        <a:pt x="1235" y="889"/>
                      </a:lnTo>
                      <a:lnTo>
                        <a:pt x="1233" y="891"/>
                      </a:lnTo>
                      <a:lnTo>
                        <a:pt x="1232" y="892"/>
                      </a:lnTo>
                      <a:lnTo>
                        <a:pt x="1230" y="895"/>
                      </a:lnTo>
                      <a:lnTo>
                        <a:pt x="1229" y="897"/>
                      </a:lnTo>
                      <a:lnTo>
                        <a:pt x="1227" y="900"/>
                      </a:lnTo>
                      <a:lnTo>
                        <a:pt x="1226" y="901"/>
                      </a:lnTo>
                      <a:lnTo>
                        <a:pt x="1225" y="903"/>
                      </a:lnTo>
                      <a:lnTo>
                        <a:pt x="1224" y="904"/>
                      </a:lnTo>
                      <a:lnTo>
                        <a:pt x="1223" y="905"/>
                      </a:lnTo>
                      <a:lnTo>
                        <a:pt x="1221" y="905"/>
                      </a:lnTo>
                      <a:lnTo>
                        <a:pt x="1219" y="904"/>
                      </a:lnTo>
                      <a:lnTo>
                        <a:pt x="1218" y="894"/>
                      </a:lnTo>
                      <a:lnTo>
                        <a:pt x="1219" y="884"/>
                      </a:lnTo>
                      <a:lnTo>
                        <a:pt x="1215" y="871"/>
                      </a:lnTo>
                      <a:lnTo>
                        <a:pt x="1212" y="860"/>
                      </a:lnTo>
                      <a:lnTo>
                        <a:pt x="1210" y="852"/>
                      </a:lnTo>
                      <a:lnTo>
                        <a:pt x="1208" y="847"/>
                      </a:lnTo>
                      <a:lnTo>
                        <a:pt x="1203" y="840"/>
                      </a:lnTo>
                      <a:lnTo>
                        <a:pt x="1190" y="820"/>
                      </a:lnTo>
                      <a:lnTo>
                        <a:pt x="1188" y="817"/>
                      </a:lnTo>
                      <a:lnTo>
                        <a:pt x="1188" y="814"/>
                      </a:lnTo>
                      <a:lnTo>
                        <a:pt x="1188" y="810"/>
                      </a:lnTo>
                      <a:lnTo>
                        <a:pt x="1189" y="807"/>
                      </a:lnTo>
                      <a:lnTo>
                        <a:pt x="1190" y="803"/>
                      </a:lnTo>
                      <a:lnTo>
                        <a:pt x="1191" y="800"/>
                      </a:lnTo>
                      <a:lnTo>
                        <a:pt x="1192" y="798"/>
                      </a:lnTo>
                      <a:lnTo>
                        <a:pt x="1193" y="797"/>
                      </a:lnTo>
                      <a:lnTo>
                        <a:pt x="1194" y="795"/>
                      </a:lnTo>
                      <a:lnTo>
                        <a:pt x="1194" y="793"/>
                      </a:lnTo>
                      <a:lnTo>
                        <a:pt x="1190" y="792"/>
                      </a:lnTo>
                      <a:lnTo>
                        <a:pt x="1186" y="789"/>
                      </a:lnTo>
                      <a:lnTo>
                        <a:pt x="1181" y="787"/>
                      </a:lnTo>
                      <a:lnTo>
                        <a:pt x="1179" y="784"/>
                      </a:lnTo>
                      <a:lnTo>
                        <a:pt x="1178" y="782"/>
                      </a:lnTo>
                      <a:lnTo>
                        <a:pt x="1177" y="781"/>
                      </a:lnTo>
                      <a:lnTo>
                        <a:pt x="1177" y="780"/>
                      </a:lnTo>
                      <a:lnTo>
                        <a:pt x="1177" y="778"/>
                      </a:lnTo>
                      <a:lnTo>
                        <a:pt x="1178" y="778"/>
                      </a:lnTo>
                      <a:lnTo>
                        <a:pt x="1179" y="780"/>
                      </a:lnTo>
                      <a:lnTo>
                        <a:pt x="1181" y="778"/>
                      </a:lnTo>
                      <a:lnTo>
                        <a:pt x="1183" y="778"/>
                      </a:lnTo>
                      <a:lnTo>
                        <a:pt x="1184" y="776"/>
                      </a:lnTo>
                      <a:lnTo>
                        <a:pt x="1184" y="775"/>
                      </a:lnTo>
                      <a:lnTo>
                        <a:pt x="1183" y="773"/>
                      </a:lnTo>
                      <a:lnTo>
                        <a:pt x="1181" y="770"/>
                      </a:lnTo>
                      <a:lnTo>
                        <a:pt x="1181" y="767"/>
                      </a:lnTo>
                      <a:lnTo>
                        <a:pt x="1180" y="765"/>
                      </a:lnTo>
                      <a:lnTo>
                        <a:pt x="1180" y="762"/>
                      </a:lnTo>
                      <a:lnTo>
                        <a:pt x="1179" y="760"/>
                      </a:lnTo>
                      <a:lnTo>
                        <a:pt x="1177" y="758"/>
                      </a:lnTo>
                      <a:lnTo>
                        <a:pt x="1176" y="756"/>
                      </a:lnTo>
                      <a:lnTo>
                        <a:pt x="1173" y="754"/>
                      </a:lnTo>
                      <a:lnTo>
                        <a:pt x="1173" y="752"/>
                      </a:lnTo>
                      <a:lnTo>
                        <a:pt x="1173" y="750"/>
                      </a:lnTo>
                      <a:lnTo>
                        <a:pt x="1175" y="749"/>
                      </a:lnTo>
                      <a:lnTo>
                        <a:pt x="1178" y="745"/>
                      </a:lnTo>
                      <a:lnTo>
                        <a:pt x="1181" y="744"/>
                      </a:lnTo>
                      <a:lnTo>
                        <a:pt x="1183" y="743"/>
                      </a:lnTo>
                      <a:lnTo>
                        <a:pt x="1186" y="742"/>
                      </a:lnTo>
                      <a:lnTo>
                        <a:pt x="1188" y="740"/>
                      </a:lnTo>
                      <a:lnTo>
                        <a:pt x="1190" y="739"/>
                      </a:lnTo>
                      <a:lnTo>
                        <a:pt x="1193" y="739"/>
                      </a:lnTo>
                      <a:lnTo>
                        <a:pt x="1196" y="739"/>
                      </a:lnTo>
                      <a:lnTo>
                        <a:pt x="1199" y="740"/>
                      </a:lnTo>
                      <a:lnTo>
                        <a:pt x="1202" y="742"/>
                      </a:lnTo>
                      <a:lnTo>
                        <a:pt x="1205" y="742"/>
                      </a:lnTo>
                      <a:lnTo>
                        <a:pt x="1209" y="742"/>
                      </a:lnTo>
                      <a:lnTo>
                        <a:pt x="1213" y="742"/>
                      </a:lnTo>
                      <a:lnTo>
                        <a:pt x="1216" y="742"/>
                      </a:lnTo>
                      <a:lnTo>
                        <a:pt x="1219" y="743"/>
                      </a:lnTo>
                      <a:lnTo>
                        <a:pt x="1221" y="746"/>
                      </a:lnTo>
                      <a:lnTo>
                        <a:pt x="1223" y="749"/>
                      </a:lnTo>
                      <a:lnTo>
                        <a:pt x="1225" y="750"/>
                      </a:lnTo>
                      <a:lnTo>
                        <a:pt x="1227" y="751"/>
                      </a:lnTo>
                      <a:lnTo>
                        <a:pt x="1230" y="751"/>
                      </a:lnTo>
                      <a:lnTo>
                        <a:pt x="1230" y="750"/>
                      </a:lnTo>
                      <a:lnTo>
                        <a:pt x="1230" y="749"/>
                      </a:lnTo>
                      <a:lnTo>
                        <a:pt x="1229" y="746"/>
                      </a:lnTo>
                      <a:lnTo>
                        <a:pt x="1227" y="744"/>
                      </a:lnTo>
                      <a:lnTo>
                        <a:pt x="1225" y="742"/>
                      </a:lnTo>
                      <a:lnTo>
                        <a:pt x="1223" y="741"/>
                      </a:lnTo>
                      <a:lnTo>
                        <a:pt x="1221" y="740"/>
                      </a:lnTo>
                      <a:lnTo>
                        <a:pt x="1220" y="739"/>
                      </a:lnTo>
                      <a:lnTo>
                        <a:pt x="1219" y="737"/>
                      </a:lnTo>
                      <a:lnTo>
                        <a:pt x="1218" y="734"/>
                      </a:lnTo>
                      <a:lnTo>
                        <a:pt x="1218" y="732"/>
                      </a:lnTo>
                      <a:lnTo>
                        <a:pt x="1216" y="730"/>
                      </a:lnTo>
                      <a:lnTo>
                        <a:pt x="1214" y="729"/>
                      </a:lnTo>
                      <a:lnTo>
                        <a:pt x="1209" y="729"/>
                      </a:lnTo>
                      <a:lnTo>
                        <a:pt x="1202" y="731"/>
                      </a:lnTo>
                      <a:lnTo>
                        <a:pt x="1197" y="732"/>
                      </a:lnTo>
                      <a:lnTo>
                        <a:pt x="1192" y="731"/>
                      </a:lnTo>
                      <a:lnTo>
                        <a:pt x="1191" y="728"/>
                      </a:lnTo>
                      <a:lnTo>
                        <a:pt x="1191" y="726"/>
                      </a:lnTo>
                      <a:lnTo>
                        <a:pt x="1192" y="724"/>
                      </a:lnTo>
                      <a:lnTo>
                        <a:pt x="1193" y="722"/>
                      </a:lnTo>
                      <a:lnTo>
                        <a:pt x="1197" y="721"/>
                      </a:lnTo>
                      <a:lnTo>
                        <a:pt x="1199" y="721"/>
                      </a:lnTo>
                      <a:lnTo>
                        <a:pt x="1201" y="720"/>
                      </a:lnTo>
                      <a:lnTo>
                        <a:pt x="1203" y="720"/>
                      </a:lnTo>
                      <a:lnTo>
                        <a:pt x="1205" y="720"/>
                      </a:lnTo>
                      <a:lnTo>
                        <a:pt x="1209" y="720"/>
                      </a:lnTo>
                      <a:lnTo>
                        <a:pt x="1210" y="719"/>
                      </a:lnTo>
                      <a:lnTo>
                        <a:pt x="1211" y="717"/>
                      </a:lnTo>
                      <a:lnTo>
                        <a:pt x="1211" y="716"/>
                      </a:lnTo>
                      <a:lnTo>
                        <a:pt x="1211" y="713"/>
                      </a:lnTo>
                      <a:lnTo>
                        <a:pt x="1210" y="711"/>
                      </a:lnTo>
                      <a:lnTo>
                        <a:pt x="1210" y="709"/>
                      </a:lnTo>
                      <a:lnTo>
                        <a:pt x="1209" y="707"/>
                      </a:lnTo>
                      <a:lnTo>
                        <a:pt x="1210" y="705"/>
                      </a:lnTo>
                      <a:lnTo>
                        <a:pt x="1210" y="704"/>
                      </a:lnTo>
                      <a:lnTo>
                        <a:pt x="1212" y="702"/>
                      </a:lnTo>
                      <a:lnTo>
                        <a:pt x="1214" y="701"/>
                      </a:lnTo>
                      <a:lnTo>
                        <a:pt x="1215" y="698"/>
                      </a:lnTo>
                      <a:lnTo>
                        <a:pt x="1216" y="696"/>
                      </a:lnTo>
                      <a:lnTo>
                        <a:pt x="1216" y="693"/>
                      </a:lnTo>
                      <a:lnTo>
                        <a:pt x="1216" y="689"/>
                      </a:lnTo>
                      <a:lnTo>
                        <a:pt x="1216" y="687"/>
                      </a:lnTo>
                      <a:lnTo>
                        <a:pt x="1219" y="684"/>
                      </a:lnTo>
                      <a:lnTo>
                        <a:pt x="1220" y="679"/>
                      </a:lnTo>
                      <a:lnTo>
                        <a:pt x="1220" y="675"/>
                      </a:lnTo>
                      <a:lnTo>
                        <a:pt x="1219" y="669"/>
                      </a:lnTo>
                      <a:lnTo>
                        <a:pt x="1218" y="663"/>
                      </a:lnTo>
                      <a:lnTo>
                        <a:pt x="1213" y="657"/>
                      </a:lnTo>
                      <a:lnTo>
                        <a:pt x="1207" y="654"/>
                      </a:lnTo>
                      <a:lnTo>
                        <a:pt x="1199" y="654"/>
                      </a:lnTo>
                      <a:lnTo>
                        <a:pt x="1198" y="654"/>
                      </a:lnTo>
                      <a:lnTo>
                        <a:pt x="1196" y="654"/>
                      </a:lnTo>
                      <a:lnTo>
                        <a:pt x="1193" y="654"/>
                      </a:lnTo>
                      <a:lnTo>
                        <a:pt x="1191" y="654"/>
                      </a:lnTo>
                      <a:lnTo>
                        <a:pt x="1189" y="654"/>
                      </a:lnTo>
                      <a:lnTo>
                        <a:pt x="1187" y="655"/>
                      </a:lnTo>
                      <a:lnTo>
                        <a:pt x="1186" y="655"/>
                      </a:lnTo>
                      <a:lnTo>
                        <a:pt x="1184" y="656"/>
                      </a:lnTo>
                      <a:lnTo>
                        <a:pt x="1183" y="657"/>
                      </a:lnTo>
                      <a:lnTo>
                        <a:pt x="1184" y="658"/>
                      </a:lnTo>
                      <a:lnTo>
                        <a:pt x="1186" y="661"/>
                      </a:lnTo>
                      <a:lnTo>
                        <a:pt x="1188" y="663"/>
                      </a:lnTo>
                      <a:lnTo>
                        <a:pt x="1192" y="667"/>
                      </a:lnTo>
                      <a:lnTo>
                        <a:pt x="1196" y="673"/>
                      </a:lnTo>
                      <a:lnTo>
                        <a:pt x="1197" y="677"/>
                      </a:lnTo>
                      <a:lnTo>
                        <a:pt x="1196" y="680"/>
                      </a:lnTo>
                      <a:lnTo>
                        <a:pt x="1190" y="683"/>
                      </a:lnTo>
                      <a:lnTo>
                        <a:pt x="1175" y="683"/>
                      </a:lnTo>
                      <a:lnTo>
                        <a:pt x="1172" y="684"/>
                      </a:lnTo>
                      <a:lnTo>
                        <a:pt x="1169" y="685"/>
                      </a:lnTo>
                      <a:lnTo>
                        <a:pt x="1168" y="685"/>
                      </a:lnTo>
                      <a:lnTo>
                        <a:pt x="1166" y="685"/>
                      </a:lnTo>
                      <a:lnTo>
                        <a:pt x="1164" y="684"/>
                      </a:lnTo>
                      <a:lnTo>
                        <a:pt x="1161" y="680"/>
                      </a:lnTo>
                      <a:lnTo>
                        <a:pt x="1160" y="679"/>
                      </a:lnTo>
                      <a:lnTo>
                        <a:pt x="1160" y="677"/>
                      </a:lnTo>
                      <a:lnTo>
                        <a:pt x="1160" y="675"/>
                      </a:lnTo>
                      <a:lnTo>
                        <a:pt x="1160" y="674"/>
                      </a:lnTo>
                      <a:lnTo>
                        <a:pt x="1159" y="672"/>
                      </a:lnTo>
                      <a:lnTo>
                        <a:pt x="1158" y="671"/>
                      </a:lnTo>
                      <a:lnTo>
                        <a:pt x="1155" y="669"/>
                      </a:lnTo>
                      <a:lnTo>
                        <a:pt x="1153" y="669"/>
                      </a:lnTo>
                      <a:lnTo>
                        <a:pt x="1150" y="667"/>
                      </a:lnTo>
                      <a:lnTo>
                        <a:pt x="1148" y="665"/>
                      </a:lnTo>
                      <a:lnTo>
                        <a:pt x="1147" y="662"/>
                      </a:lnTo>
                      <a:lnTo>
                        <a:pt x="1146" y="660"/>
                      </a:lnTo>
                      <a:lnTo>
                        <a:pt x="1146" y="656"/>
                      </a:lnTo>
                      <a:lnTo>
                        <a:pt x="1146" y="653"/>
                      </a:lnTo>
                      <a:lnTo>
                        <a:pt x="1147" y="649"/>
                      </a:lnTo>
                      <a:lnTo>
                        <a:pt x="1147" y="645"/>
                      </a:lnTo>
                      <a:lnTo>
                        <a:pt x="1148" y="641"/>
                      </a:lnTo>
                      <a:lnTo>
                        <a:pt x="1150" y="640"/>
                      </a:lnTo>
                      <a:lnTo>
                        <a:pt x="1151" y="639"/>
                      </a:lnTo>
                      <a:lnTo>
                        <a:pt x="1154" y="636"/>
                      </a:lnTo>
                      <a:lnTo>
                        <a:pt x="1155" y="635"/>
                      </a:lnTo>
                      <a:lnTo>
                        <a:pt x="1155" y="633"/>
                      </a:lnTo>
                      <a:lnTo>
                        <a:pt x="1155" y="629"/>
                      </a:lnTo>
                      <a:lnTo>
                        <a:pt x="1153" y="623"/>
                      </a:lnTo>
                      <a:lnTo>
                        <a:pt x="1150" y="618"/>
                      </a:lnTo>
                      <a:lnTo>
                        <a:pt x="1149" y="612"/>
                      </a:lnTo>
                      <a:lnTo>
                        <a:pt x="1150" y="609"/>
                      </a:lnTo>
                      <a:lnTo>
                        <a:pt x="1155" y="609"/>
                      </a:lnTo>
                      <a:lnTo>
                        <a:pt x="1158" y="609"/>
                      </a:lnTo>
                      <a:lnTo>
                        <a:pt x="1161" y="611"/>
                      </a:lnTo>
                      <a:lnTo>
                        <a:pt x="1165" y="613"/>
                      </a:lnTo>
                      <a:lnTo>
                        <a:pt x="1168" y="615"/>
                      </a:lnTo>
                      <a:lnTo>
                        <a:pt x="1172" y="618"/>
                      </a:lnTo>
                      <a:lnTo>
                        <a:pt x="1176" y="619"/>
                      </a:lnTo>
                      <a:lnTo>
                        <a:pt x="1179" y="620"/>
                      </a:lnTo>
                      <a:lnTo>
                        <a:pt x="1182" y="621"/>
                      </a:lnTo>
                      <a:lnTo>
                        <a:pt x="1186" y="622"/>
                      </a:lnTo>
                      <a:lnTo>
                        <a:pt x="1188" y="622"/>
                      </a:lnTo>
                      <a:lnTo>
                        <a:pt x="1191" y="623"/>
                      </a:lnTo>
                      <a:lnTo>
                        <a:pt x="1193" y="624"/>
                      </a:lnTo>
                      <a:lnTo>
                        <a:pt x="1197" y="625"/>
                      </a:lnTo>
                      <a:lnTo>
                        <a:pt x="1199" y="626"/>
                      </a:lnTo>
                      <a:lnTo>
                        <a:pt x="1201" y="628"/>
                      </a:lnTo>
                      <a:lnTo>
                        <a:pt x="1202" y="628"/>
                      </a:lnTo>
                      <a:lnTo>
                        <a:pt x="1203" y="626"/>
                      </a:lnTo>
                      <a:lnTo>
                        <a:pt x="1204" y="625"/>
                      </a:lnTo>
                      <a:lnTo>
                        <a:pt x="1204" y="623"/>
                      </a:lnTo>
                      <a:lnTo>
                        <a:pt x="1203" y="620"/>
                      </a:lnTo>
                      <a:lnTo>
                        <a:pt x="1202" y="614"/>
                      </a:lnTo>
                      <a:lnTo>
                        <a:pt x="1200" y="611"/>
                      </a:lnTo>
                      <a:lnTo>
                        <a:pt x="1198" y="609"/>
                      </a:lnTo>
                      <a:lnTo>
                        <a:pt x="1194" y="607"/>
                      </a:lnTo>
                      <a:lnTo>
                        <a:pt x="1190" y="604"/>
                      </a:lnTo>
                      <a:lnTo>
                        <a:pt x="1188" y="602"/>
                      </a:lnTo>
                      <a:lnTo>
                        <a:pt x="1186" y="600"/>
                      </a:lnTo>
                      <a:lnTo>
                        <a:pt x="1183" y="598"/>
                      </a:lnTo>
                      <a:lnTo>
                        <a:pt x="1183" y="595"/>
                      </a:lnTo>
                      <a:lnTo>
                        <a:pt x="1183" y="592"/>
                      </a:lnTo>
                      <a:lnTo>
                        <a:pt x="1182" y="590"/>
                      </a:lnTo>
                      <a:lnTo>
                        <a:pt x="1180" y="588"/>
                      </a:lnTo>
                      <a:lnTo>
                        <a:pt x="1177" y="587"/>
                      </a:lnTo>
                      <a:lnTo>
                        <a:pt x="1176" y="587"/>
                      </a:lnTo>
                      <a:lnTo>
                        <a:pt x="1173" y="587"/>
                      </a:lnTo>
                      <a:lnTo>
                        <a:pt x="1171" y="587"/>
                      </a:lnTo>
                      <a:lnTo>
                        <a:pt x="1170" y="587"/>
                      </a:lnTo>
                      <a:lnTo>
                        <a:pt x="1168" y="587"/>
                      </a:lnTo>
                      <a:lnTo>
                        <a:pt x="1167" y="586"/>
                      </a:lnTo>
                      <a:lnTo>
                        <a:pt x="1166" y="585"/>
                      </a:lnTo>
                      <a:lnTo>
                        <a:pt x="1166" y="582"/>
                      </a:lnTo>
                      <a:lnTo>
                        <a:pt x="1166" y="580"/>
                      </a:lnTo>
                      <a:lnTo>
                        <a:pt x="1167" y="578"/>
                      </a:lnTo>
                      <a:lnTo>
                        <a:pt x="1167" y="576"/>
                      </a:lnTo>
                      <a:lnTo>
                        <a:pt x="1167" y="574"/>
                      </a:lnTo>
                      <a:lnTo>
                        <a:pt x="1166" y="573"/>
                      </a:lnTo>
                      <a:lnTo>
                        <a:pt x="1164" y="571"/>
                      </a:lnTo>
                      <a:lnTo>
                        <a:pt x="1161" y="570"/>
                      </a:lnTo>
                      <a:lnTo>
                        <a:pt x="1158" y="569"/>
                      </a:lnTo>
                      <a:lnTo>
                        <a:pt x="1155" y="569"/>
                      </a:lnTo>
                      <a:lnTo>
                        <a:pt x="1153" y="570"/>
                      </a:lnTo>
                      <a:lnTo>
                        <a:pt x="1150" y="571"/>
                      </a:lnTo>
                      <a:lnTo>
                        <a:pt x="1149" y="571"/>
                      </a:lnTo>
                      <a:lnTo>
                        <a:pt x="1148" y="573"/>
                      </a:lnTo>
                      <a:lnTo>
                        <a:pt x="1148" y="574"/>
                      </a:lnTo>
                      <a:lnTo>
                        <a:pt x="1148" y="576"/>
                      </a:lnTo>
                      <a:lnTo>
                        <a:pt x="1148" y="578"/>
                      </a:lnTo>
                      <a:lnTo>
                        <a:pt x="1148" y="580"/>
                      </a:lnTo>
                      <a:lnTo>
                        <a:pt x="1148" y="584"/>
                      </a:lnTo>
                      <a:lnTo>
                        <a:pt x="1147" y="586"/>
                      </a:lnTo>
                      <a:lnTo>
                        <a:pt x="1145" y="587"/>
                      </a:lnTo>
                      <a:lnTo>
                        <a:pt x="1142" y="587"/>
                      </a:lnTo>
                      <a:lnTo>
                        <a:pt x="1138" y="586"/>
                      </a:lnTo>
                      <a:lnTo>
                        <a:pt x="1135" y="584"/>
                      </a:lnTo>
                      <a:lnTo>
                        <a:pt x="1131" y="580"/>
                      </a:lnTo>
                      <a:lnTo>
                        <a:pt x="1128" y="578"/>
                      </a:lnTo>
                      <a:lnTo>
                        <a:pt x="1127" y="576"/>
                      </a:lnTo>
                      <a:lnTo>
                        <a:pt x="1127" y="574"/>
                      </a:lnTo>
                      <a:lnTo>
                        <a:pt x="1127" y="571"/>
                      </a:lnTo>
                      <a:lnTo>
                        <a:pt x="1127" y="569"/>
                      </a:lnTo>
                      <a:lnTo>
                        <a:pt x="1126" y="567"/>
                      </a:lnTo>
                      <a:lnTo>
                        <a:pt x="1126" y="564"/>
                      </a:lnTo>
                      <a:lnTo>
                        <a:pt x="1125" y="560"/>
                      </a:lnTo>
                      <a:lnTo>
                        <a:pt x="1124" y="558"/>
                      </a:lnTo>
                      <a:lnTo>
                        <a:pt x="1123" y="556"/>
                      </a:lnTo>
                      <a:lnTo>
                        <a:pt x="1122" y="554"/>
                      </a:lnTo>
                      <a:lnTo>
                        <a:pt x="1122" y="551"/>
                      </a:lnTo>
                      <a:lnTo>
                        <a:pt x="1122" y="548"/>
                      </a:lnTo>
                      <a:lnTo>
                        <a:pt x="1122" y="547"/>
                      </a:lnTo>
                      <a:lnTo>
                        <a:pt x="1123" y="545"/>
                      </a:lnTo>
                      <a:lnTo>
                        <a:pt x="1124" y="544"/>
                      </a:lnTo>
                      <a:lnTo>
                        <a:pt x="1126" y="543"/>
                      </a:lnTo>
                      <a:lnTo>
                        <a:pt x="1127" y="542"/>
                      </a:lnTo>
                      <a:lnTo>
                        <a:pt x="1127" y="541"/>
                      </a:lnTo>
                      <a:lnTo>
                        <a:pt x="1127" y="538"/>
                      </a:lnTo>
                      <a:lnTo>
                        <a:pt x="1126" y="536"/>
                      </a:lnTo>
                      <a:lnTo>
                        <a:pt x="1125" y="535"/>
                      </a:lnTo>
                      <a:lnTo>
                        <a:pt x="1123" y="533"/>
                      </a:lnTo>
                      <a:lnTo>
                        <a:pt x="1122" y="531"/>
                      </a:lnTo>
                      <a:lnTo>
                        <a:pt x="1120" y="529"/>
                      </a:lnTo>
                      <a:lnTo>
                        <a:pt x="1118" y="526"/>
                      </a:lnTo>
                      <a:lnTo>
                        <a:pt x="1117" y="525"/>
                      </a:lnTo>
                      <a:lnTo>
                        <a:pt x="1120" y="523"/>
                      </a:lnTo>
                      <a:lnTo>
                        <a:pt x="1122" y="522"/>
                      </a:lnTo>
                      <a:lnTo>
                        <a:pt x="1123" y="521"/>
                      </a:lnTo>
                      <a:lnTo>
                        <a:pt x="1125" y="520"/>
                      </a:lnTo>
                      <a:lnTo>
                        <a:pt x="1126" y="519"/>
                      </a:lnTo>
                      <a:lnTo>
                        <a:pt x="1128" y="516"/>
                      </a:lnTo>
                      <a:lnTo>
                        <a:pt x="1129" y="513"/>
                      </a:lnTo>
                      <a:lnTo>
                        <a:pt x="1128" y="512"/>
                      </a:lnTo>
                      <a:lnTo>
                        <a:pt x="1127" y="510"/>
                      </a:lnTo>
                      <a:lnTo>
                        <a:pt x="1125" y="509"/>
                      </a:lnTo>
                      <a:lnTo>
                        <a:pt x="1122" y="508"/>
                      </a:lnTo>
                      <a:lnTo>
                        <a:pt x="1118" y="506"/>
                      </a:lnTo>
                      <a:lnTo>
                        <a:pt x="1116" y="505"/>
                      </a:lnTo>
                      <a:lnTo>
                        <a:pt x="1115" y="504"/>
                      </a:lnTo>
                      <a:lnTo>
                        <a:pt x="1115" y="502"/>
                      </a:lnTo>
                      <a:lnTo>
                        <a:pt x="1115" y="500"/>
                      </a:lnTo>
                      <a:lnTo>
                        <a:pt x="1115" y="498"/>
                      </a:lnTo>
                      <a:lnTo>
                        <a:pt x="1116" y="495"/>
                      </a:lnTo>
                      <a:lnTo>
                        <a:pt x="1116" y="494"/>
                      </a:lnTo>
                      <a:lnTo>
                        <a:pt x="1115" y="492"/>
                      </a:lnTo>
                      <a:lnTo>
                        <a:pt x="1114" y="489"/>
                      </a:lnTo>
                      <a:lnTo>
                        <a:pt x="1112" y="486"/>
                      </a:lnTo>
                      <a:lnTo>
                        <a:pt x="1109" y="483"/>
                      </a:lnTo>
                      <a:lnTo>
                        <a:pt x="1105" y="481"/>
                      </a:lnTo>
                      <a:lnTo>
                        <a:pt x="1103" y="479"/>
                      </a:lnTo>
                      <a:lnTo>
                        <a:pt x="1099" y="478"/>
                      </a:lnTo>
                      <a:lnTo>
                        <a:pt x="1098" y="477"/>
                      </a:lnTo>
                      <a:lnTo>
                        <a:pt x="1098" y="476"/>
                      </a:lnTo>
                      <a:lnTo>
                        <a:pt x="1098" y="475"/>
                      </a:lnTo>
                      <a:lnTo>
                        <a:pt x="1098" y="472"/>
                      </a:lnTo>
                      <a:lnTo>
                        <a:pt x="1099" y="470"/>
                      </a:lnTo>
                      <a:lnTo>
                        <a:pt x="1099" y="466"/>
                      </a:lnTo>
                      <a:lnTo>
                        <a:pt x="1099" y="461"/>
                      </a:lnTo>
                      <a:lnTo>
                        <a:pt x="1098" y="457"/>
                      </a:lnTo>
                      <a:lnTo>
                        <a:pt x="1096" y="454"/>
                      </a:lnTo>
                      <a:lnTo>
                        <a:pt x="1094" y="448"/>
                      </a:lnTo>
                      <a:lnTo>
                        <a:pt x="1093" y="445"/>
                      </a:lnTo>
                      <a:lnTo>
                        <a:pt x="1092" y="442"/>
                      </a:lnTo>
                      <a:lnTo>
                        <a:pt x="1090" y="438"/>
                      </a:lnTo>
                      <a:lnTo>
                        <a:pt x="1089" y="435"/>
                      </a:lnTo>
                      <a:lnTo>
                        <a:pt x="1088" y="433"/>
                      </a:lnTo>
                      <a:lnTo>
                        <a:pt x="1084" y="431"/>
                      </a:lnTo>
                      <a:lnTo>
                        <a:pt x="1081" y="429"/>
                      </a:lnTo>
                      <a:lnTo>
                        <a:pt x="1079" y="427"/>
                      </a:lnTo>
                      <a:lnTo>
                        <a:pt x="1078" y="425"/>
                      </a:lnTo>
                      <a:lnTo>
                        <a:pt x="1076" y="423"/>
                      </a:lnTo>
                      <a:lnTo>
                        <a:pt x="1073" y="420"/>
                      </a:lnTo>
                      <a:lnTo>
                        <a:pt x="1072" y="418"/>
                      </a:lnTo>
                      <a:lnTo>
                        <a:pt x="1070" y="415"/>
                      </a:lnTo>
                      <a:lnTo>
                        <a:pt x="1066" y="412"/>
                      </a:lnTo>
                      <a:lnTo>
                        <a:pt x="1062" y="409"/>
                      </a:lnTo>
                      <a:lnTo>
                        <a:pt x="1059" y="405"/>
                      </a:lnTo>
                      <a:lnTo>
                        <a:pt x="1057" y="401"/>
                      </a:lnTo>
                      <a:lnTo>
                        <a:pt x="1055" y="396"/>
                      </a:lnTo>
                      <a:lnTo>
                        <a:pt x="1055" y="392"/>
                      </a:lnTo>
                      <a:lnTo>
                        <a:pt x="1049" y="382"/>
                      </a:lnTo>
                      <a:lnTo>
                        <a:pt x="1041" y="372"/>
                      </a:lnTo>
                      <a:lnTo>
                        <a:pt x="1033" y="366"/>
                      </a:lnTo>
                      <a:lnTo>
                        <a:pt x="1020" y="359"/>
                      </a:lnTo>
                      <a:lnTo>
                        <a:pt x="1008" y="355"/>
                      </a:lnTo>
                      <a:lnTo>
                        <a:pt x="1005" y="352"/>
                      </a:lnTo>
                      <a:lnTo>
                        <a:pt x="1002" y="351"/>
                      </a:lnTo>
                      <a:lnTo>
                        <a:pt x="997" y="350"/>
                      </a:lnTo>
                      <a:lnTo>
                        <a:pt x="994" y="349"/>
                      </a:lnTo>
                      <a:lnTo>
                        <a:pt x="991" y="348"/>
                      </a:lnTo>
                      <a:lnTo>
                        <a:pt x="987" y="346"/>
                      </a:lnTo>
                      <a:lnTo>
                        <a:pt x="983" y="344"/>
                      </a:lnTo>
                      <a:lnTo>
                        <a:pt x="979" y="341"/>
                      </a:lnTo>
                      <a:lnTo>
                        <a:pt x="975" y="339"/>
                      </a:lnTo>
                      <a:lnTo>
                        <a:pt x="973" y="339"/>
                      </a:lnTo>
                      <a:lnTo>
                        <a:pt x="970" y="338"/>
                      </a:lnTo>
                      <a:lnTo>
                        <a:pt x="967" y="337"/>
                      </a:lnTo>
                      <a:lnTo>
                        <a:pt x="964" y="336"/>
                      </a:lnTo>
                      <a:lnTo>
                        <a:pt x="962" y="336"/>
                      </a:lnTo>
                      <a:lnTo>
                        <a:pt x="960" y="335"/>
                      </a:lnTo>
                      <a:lnTo>
                        <a:pt x="959" y="337"/>
                      </a:lnTo>
                      <a:lnTo>
                        <a:pt x="960" y="338"/>
                      </a:lnTo>
                      <a:lnTo>
                        <a:pt x="961" y="340"/>
                      </a:lnTo>
                      <a:lnTo>
                        <a:pt x="963" y="342"/>
                      </a:lnTo>
                      <a:lnTo>
                        <a:pt x="964" y="344"/>
                      </a:lnTo>
                      <a:lnTo>
                        <a:pt x="964" y="345"/>
                      </a:lnTo>
                      <a:lnTo>
                        <a:pt x="962" y="346"/>
                      </a:lnTo>
                      <a:lnTo>
                        <a:pt x="961" y="346"/>
                      </a:lnTo>
                      <a:lnTo>
                        <a:pt x="959" y="346"/>
                      </a:lnTo>
                      <a:lnTo>
                        <a:pt x="957" y="345"/>
                      </a:lnTo>
                      <a:lnTo>
                        <a:pt x="954" y="345"/>
                      </a:lnTo>
                      <a:lnTo>
                        <a:pt x="952" y="344"/>
                      </a:lnTo>
                      <a:lnTo>
                        <a:pt x="951" y="344"/>
                      </a:lnTo>
                      <a:lnTo>
                        <a:pt x="943" y="341"/>
                      </a:lnTo>
                      <a:lnTo>
                        <a:pt x="937" y="340"/>
                      </a:lnTo>
                      <a:lnTo>
                        <a:pt x="933" y="341"/>
                      </a:lnTo>
                      <a:lnTo>
                        <a:pt x="931" y="346"/>
                      </a:lnTo>
                      <a:lnTo>
                        <a:pt x="928" y="346"/>
                      </a:lnTo>
                      <a:lnTo>
                        <a:pt x="925" y="344"/>
                      </a:lnTo>
                      <a:lnTo>
                        <a:pt x="921" y="341"/>
                      </a:lnTo>
                      <a:lnTo>
                        <a:pt x="918" y="339"/>
                      </a:lnTo>
                      <a:lnTo>
                        <a:pt x="916" y="339"/>
                      </a:lnTo>
                      <a:lnTo>
                        <a:pt x="915" y="340"/>
                      </a:lnTo>
                      <a:lnTo>
                        <a:pt x="914" y="341"/>
                      </a:lnTo>
                      <a:lnTo>
                        <a:pt x="914" y="344"/>
                      </a:lnTo>
                      <a:lnTo>
                        <a:pt x="914" y="346"/>
                      </a:lnTo>
                      <a:lnTo>
                        <a:pt x="914" y="348"/>
                      </a:lnTo>
                      <a:lnTo>
                        <a:pt x="914" y="349"/>
                      </a:lnTo>
                      <a:lnTo>
                        <a:pt x="914" y="350"/>
                      </a:lnTo>
                      <a:lnTo>
                        <a:pt x="910" y="350"/>
                      </a:lnTo>
                      <a:lnTo>
                        <a:pt x="907" y="349"/>
                      </a:lnTo>
                      <a:lnTo>
                        <a:pt x="904" y="348"/>
                      </a:lnTo>
                      <a:lnTo>
                        <a:pt x="900" y="347"/>
                      </a:lnTo>
                      <a:lnTo>
                        <a:pt x="896" y="346"/>
                      </a:lnTo>
                      <a:lnTo>
                        <a:pt x="893" y="345"/>
                      </a:lnTo>
                      <a:lnTo>
                        <a:pt x="888" y="344"/>
                      </a:lnTo>
                      <a:lnTo>
                        <a:pt x="885" y="342"/>
                      </a:lnTo>
                      <a:lnTo>
                        <a:pt x="881" y="341"/>
                      </a:lnTo>
                      <a:lnTo>
                        <a:pt x="877" y="340"/>
                      </a:lnTo>
                      <a:lnTo>
                        <a:pt x="875" y="338"/>
                      </a:lnTo>
                      <a:lnTo>
                        <a:pt x="874" y="336"/>
                      </a:lnTo>
                      <a:lnTo>
                        <a:pt x="872" y="335"/>
                      </a:lnTo>
                      <a:lnTo>
                        <a:pt x="870" y="333"/>
                      </a:lnTo>
                      <a:lnTo>
                        <a:pt x="866" y="331"/>
                      </a:lnTo>
                      <a:lnTo>
                        <a:pt x="862" y="330"/>
                      </a:lnTo>
                      <a:lnTo>
                        <a:pt x="859" y="329"/>
                      </a:lnTo>
                      <a:lnTo>
                        <a:pt x="854" y="328"/>
                      </a:lnTo>
                      <a:lnTo>
                        <a:pt x="852" y="328"/>
                      </a:lnTo>
                      <a:lnTo>
                        <a:pt x="851" y="327"/>
                      </a:lnTo>
                      <a:lnTo>
                        <a:pt x="851" y="326"/>
                      </a:lnTo>
                      <a:lnTo>
                        <a:pt x="852" y="325"/>
                      </a:lnTo>
                      <a:lnTo>
                        <a:pt x="854" y="324"/>
                      </a:lnTo>
                      <a:lnTo>
                        <a:pt x="856" y="323"/>
                      </a:lnTo>
                      <a:lnTo>
                        <a:pt x="860" y="322"/>
                      </a:lnTo>
                      <a:lnTo>
                        <a:pt x="862" y="320"/>
                      </a:lnTo>
                      <a:lnTo>
                        <a:pt x="863" y="319"/>
                      </a:lnTo>
                      <a:lnTo>
                        <a:pt x="866" y="319"/>
                      </a:lnTo>
                      <a:lnTo>
                        <a:pt x="869" y="319"/>
                      </a:lnTo>
                      <a:lnTo>
                        <a:pt x="872" y="319"/>
                      </a:lnTo>
                      <a:lnTo>
                        <a:pt x="875" y="319"/>
                      </a:lnTo>
                      <a:lnTo>
                        <a:pt x="877" y="318"/>
                      </a:lnTo>
                      <a:lnTo>
                        <a:pt x="880" y="318"/>
                      </a:lnTo>
                      <a:lnTo>
                        <a:pt x="882" y="317"/>
                      </a:lnTo>
                      <a:lnTo>
                        <a:pt x="882" y="315"/>
                      </a:lnTo>
                      <a:lnTo>
                        <a:pt x="881" y="313"/>
                      </a:lnTo>
                      <a:lnTo>
                        <a:pt x="880" y="312"/>
                      </a:lnTo>
                      <a:lnTo>
                        <a:pt x="876" y="311"/>
                      </a:lnTo>
                      <a:lnTo>
                        <a:pt x="873" y="309"/>
                      </a:lnTo>
                      <a:lnTo>
                        <a:pt x="870" y="309"/>
                      </a:lnTo>
                      <a:lnTo>
                        <a:pt x="867" y="311"/>
                      </a:lnTo>
                      <a:lnTo>
                        <a:pt x="865" y="311"/>
                      </a:lnTo>
                      <a:lnTo>
                        <a:pt x="862" y="311"/>
                      </a:lnTo>
                      <a:lnTo>
                        <a:pt x="859" y="309"/>
                      </a:lnTo>
                      <a:lnTo>
                        <a:pt x="855" y="307"/>
                      </a:lnTo>
                      <a:lnTo>
                        <a:pt x="853" y="306"/>
                      </a:lnTo>
                      <a:lnTo>
                        <a:pt x="850" y="304"/>
                      </a:lnTo>
                      <a:lnTo>
                        <a:pt x="843" y="302"/>
                      </a:lnTo>
                      <a:lnTo>
                        <a:pt x="836" y="301"/>
                      </a:lnTo>
                      <a:lnTo>
                        <a:pt x="829" y="297"/>
                      </a:lnTo>
                      <a:lnTo>
                        <a:pt x="827" y="296"/>
                      </a:lnTo>
                      <a:lnTo>
                        <a:pt x="826" y="293"/>
                      </a:lnTo>
                      <a:lnTo>
                        <a:pt x="826" y="291"/>
                      </a:lnTo>
                      <a:lnTo>
                        <a:pt x="827" y="289"/>
                      </a:lnTo>
                      <a:lnTo>
                        <a:pt x="829" y="286"/>
                      </a:lnTo>
                      <a:lnTo>
                        <a:pt x="831" y="284"/>
                      </a:lnTo>
                      <a:lnTo>
                        <a:pt x="836" y="283"/>
                      </a:lnTo>
                      <a:lnTo>
                        <a:pt x="839" y="282"/>
                      </a:lnTo>
                      <a:lnTo>
                        <a:pt x="842" y="282"/>
                      </a:lnTo>
                      <a:lnTo>
                        <a:pt x="845" y="281"/>
                      </a:lnTo>
                      <a:lnTo>
                        <a:pt x="848" y="281"/>
                      </a:lnTo>
                      <a:lnTo>
                        <a:pt x="850" y="280"/>
                      </a:lnTo>
                      <a:lnTo>
                        <a:pt x="852" y="280"/>
                      </a:lnTo>
                      <a:lnTo>
                        <a:pt x="853" y="281"/>
                      </a:lnTo>
                      <a:lnTo>
                        <a:pt x="855" y="282"/>
                      </a:lnTo>
                      <a:lnTo>
                        <a:pt x="858" y="283"/>
                      </a:lnTo>
                      <a:lnTo>
                        <a:pt x="859" y="285"/>
                      </a:lnTo>
                      <a:lnTo>
                        <a:pt x="863" y="285"/>
                      </a:lnTo>
                      <a:lnTo>
                        <a:pt x="865" y="284"/>
                      </a:lnTo>
                      <a:lnTo>
                        <a:pt x="867" y="283"/>
                      </a:lnTo>
                      <a:lnTo>
                        <a:pt x="870" y="282"/>
                      </a:lnTo>
                      <a:lnTo>
                        <a:pt x="872" y="280"/>
                      </a:lnTo>
                      <a:lnTo>
                        <a:pt x="874" y="279"/>
                      </a:lnTo>
                      <a:lnTo>
                        <a:pt x="876" y="279"/>
                      </a:lnTo>
                      <a:lnTo>
                        <a:pt x="881" y="278"/>
                      </a:lnTo>
                      <a:lnTo>
                        <a:pt x="885" y="279"/>
                      </a:lnTo>
                      <a:lnTo>
                        <a:pt x="892" y="281"/>
                      </a:lnTo>
                      <a:lnTo>
                        <a:pt x="896" y="282"/>
                      </a:lnTo>
                      <a:lnTo>
                        <a:pt x="900" y="281"/>
                      </a:lnTo>
                      <a:lnTo>
                        <a:pt x="900" y="279"/>
                      </a:lnTo>
                      <a:lnTo>
                        <a:pt x="902" y="276"/>
                      </a:lnTo>
                      <a:lnTo>
                        <a:pt x="903" y="276"/>
                      </a:lnTo>
                      <a:lnTo>
                        <a:pt x="904" y="275"/>
                      </a:lnTo>
                      <a:lnTo>
                        <a:pt x="906" y="275"/>
                      </a:lnTo>
                      <a:lnTo>
                        <a:pt x="908" y="275"/>
                      </a:lnTo>
                      <a:lnTo>
                        <a:pt x="909" y="275"/>
                      </a:lnTo>
                      <a:lnTo>
                        <a:pt x="911" y="275"/>
                      </a:lnTo>
                      <a:lnTo>
                        <a:pt x="913" y="274"/>
                      </a:lnTo>
                      <a:lnTo>
                        <a:pt x="914" y="273"/>
                      </a:lnTo>
                      <a:lnTo>
                        <a:pt x="913" y="272"/>
                      </a:lnTo>
                      <a:lnTo>
                        <a:pt x="911" y="270"/>
                      </a:lnTo>
                      <a:lnTo>
                        <a:pt x="908" y="265"/>
                      </a:lnTo>
                      <a:lnTo>
                        <a:pt x="903" y="262"/>
                      </a:lnTo>
                      <a:lnTo>
                        <a:pt x="897" y="260"/>
                      </a:lnTo>
                      <a:lnTo>
                        <a:pt x="892" y="261"/>
                      </a:lnTo>
                      <a:lnTo>
                        <a:pt x="892" y="262"/>
                      </a:lnTo>
                      <a:lnTo>
                        <a:pt x="891" y="263"/>
                      </a:lnTo>
                      <a:lnTo>
                        <a:pt x="889" y="265"/>
                      </a:lnTo>
                      <a:lnTo>
                        <a:pt x="888" y="266"/>
                      </a:lnTo>
                      <a:lnTo>
                        <a:pt x="887" y="268"/>
                      </a:lnTo>
                      <a:lnTo>
                        <a:pt x="886" y="268"/>
                      </a:lnTo>
                      <a:lnTo>
                        <a:pt x="883" y="268"/>
                      </a:lnTo>
                      <a:lnTo>
                        <a:pt x="882" y="265"/>
                      </a:lnTo>
                      <a:lnTo>
                        <a:pt x="878" y="264"/>
                      </a:lnTo>
                      <a:lnTo>
                        <a:pt x="875" y="264"/>
                      </a:lnTo>
                      <a:lnTo>
                        <a:pt x="872" y="265"/>
                      </a:lnTo>
                      <a:lnTo>
                        <a:pt x="870" y="265"/>
                      </a:lnTo>
                      <a:lnTo>
                        <a:pt x="869" y="268"/>
                      </a:lnTo>
                      <a:lnTo>
                        <a:pt x="867" y="270"/>
                      </a:lnTo>
                      <a:lnTo>
                        <a:pt x="866" y="271"/>
                      </a:lnTo>
                      <a:lnTo>
                        <a:pt x="863" y="271"/>
                      </a:lnTo>
                      <a:lnTo>
                        <a:pt x="860" y="272"/>
                      </a:lnTo>
                      <a:lnTo>
                        <a:pt x="856" y="272"/>
                      </a:lnTo>
                      <a:lnTo>
                        <a:pt x="854" y="271"/>
                      </a:lnTo>
                      <a:lnTo>
                        <a:pt x="852" y="270"/>
                      </a:lnTo>
                      <a:lnTo>
                        <a:pt x="849" y="269"/>
                      </a:lnTo>
                      <a:lnTo>
                        <a:pt x="847" y="269"/>
                      </a:lnTo>
                      <a:lnTo>
                        <a:pt x="844" y="266"/>
                      </a:lnTo>
                      <a:lnTo>
                        <a:pt x="844" y="265"/>
                      </a:lnTo>
                      <a:lnTo>
                        <a:pt x="844" y="263"/>
                      </a:lnTo>
                      <a:lnTo>
                        <a:pt x="845" y="261"/>
                      </a:lnTo>
                      <a:lnTo>
                        <a:pt x="845" y="259"/>
                      </a:lnTo>
                      <a:lnTo>
                        <a:pt x="841" y="253"/>
                      </a:lnTo>
                      <a:lnTo>
                        <a:pt x="833" y="252"/>
                      </a:lnTo>
                      <a:lnTo>
                        <a:pt x="825" y="251"/>
                      </a:lnTo>
                      <a:lnTo>
                        <a:pt x="818" y="250"/>
                      </a:lnTo>
                      <a:lnTo>
                        <a:pt x="812" y="247"/>
                      </a:lnTo>
                      <a:lnTo>
                        <a:pt x="808" y="244"/>
                      </a:lnTo>
                      <a:lnTo>
                        <a:pt x="805" y="241"/>
                      </a:lnTo>
                      <a:lnTo>
                        <a:pt x="802" y="238"/>
                      </a:lnTo>
                      <a:lnTo>
                        <a:pt x="800" y="235"/>
                      </a:lnTo>
                      <a:lnTo>
                        <a:pt x="798" y="231"/>
                      </a:lnTo>
                      <a:lnTo>
                        <a:pt x="797" y="229"/>
                      </a:lnTo>
                      <a:lnTo>
                        <a:pt x="796" y="227"/>
                      </a:lnTo>
                      <a:lnTo>
                        <a:pt x="796" y="224"/>
                      </a:lnTo>
                      <a:lnTo>
                        <a:pt x="796" y="221"/>
                      </a:lnTo>
                      <a:lnTo>
                        <a:pt x="796" y="219"/>
                      </a:lnTo>
                      <a:lnTo>
                        <a:pt x="796" y="217"/>
                      </a:lnTo>
                      <a:lnTo>
                        <a:pt x="797" y="216"/>
                      </a:lnTo>
                      <a:lnTo>
                        <a:pt x="798" y="215"/>
                      </a:lnTo>
                      <a:lnTo>
                        <a:pt x="807" y="210"/>
                      </a:lnTo>
                      <a:lnTo>
                        <a:pt x="817" y="207"/>
                      </a:lnTo>
                      <a:lnTo>
                        <a:pt x="827" y="204"/>
                      </a:lnTo>
                      <a:lnTo>
                        <a:pt x="830" y="204"/>
                      </a:lnTo>
                      <a:lnTo>
                        <a:pt x="834" y="203"/>
                      </a:lnTo>
                      <a:lnTo>
                        <a:pt x="838" y="202"/>
                      </a:lnTo>
                      <a:lnTo>
                        <a:pt x="842" y="199"/>
                      </a:lnTo>
                      <a:lnTo>
                        <a:pt x="844" y="198"/>
                      </a:lnTo>
                      <a:lnTo>
                        <a:pt x="847" y="197"/>
                      </a:lnTo>
                      <a:lnTo>
                        <a:pt x="850" y="195"/>
                      </a:lnTo>
                      <a:lnTo>
                        <a:pt x="852" y="194"/>
                      </a:lnTo>
                      <a:lnTo>
                        <a:pt x="853" y="193"/>
                      </a:lnTo>
                      <a:lnTo>
                        <a:pt x="854" y="191"/>
                      </a:lnTo>
                      <a:lnTo>
                        <a:pt x="855" y="189"/>
                      </a:lnTo>
                      <a:lnTo>
                        <a:pt x="856" y="188"/>
                      </a:lnTo>
                      <a:lnTo>
                        <a:pt x="859" y="188"/>
                      </a:lnTo>
                      <a:lnTo>
                        <a:pt x="862" y="188"/>
                      </a:lnTo>
                      <a:lnTo>
                        <a:pt x="865" y="189"/>
                      </a:lnTo>
                      <a:lnTo>
                        <a:pt x="867" y="189"/>
                      </a:lnTo>
                      <a:lnTo>
                        <a:pt x="871" y="189"/>
                      </a:lnTo>
                      <a:lnTo>
                        <a:pt x="872" y="188"/>
                      </a:lnTo>
                      <a:lnTo>
                        <a:pt x="874" y="188"/>
                      </a:lnTo>
                      <a:lnTo>
                        <a:pt x="876" y="187"/>
                      </a:lnTo>
                      <a:lnTo>
                        <a:pt x="878" y="186"/>
                      </a:lnTo>
                      <a:lnTo>
                        <a:pt x="881" y="186"/>
                      </a:lnTo>
                      <a:lnTo>
                        <a:pt x="881" y="186"/>
                      </a:lnTo>
                      <a:lnTo>
                        <a:pt x="882" y="187"/>
                      </a:lnTo>
                      <a:lnTo>
                        <a:pt x="883" y="188"/>
                      </a:lnTo>
                      <a:lnTo>
                        <a:pt x="889" y="188"/>
                      </a:lnTo>
                      <a:lnTo>
                        <a:pt x="893" y="188"/>
                      </a:lnTo>
                      <a:lnTo>
                        <a:pt x="896" y="187"/>
                      </a:lnTo>
                      <a:lnTo>
                        <a:pt x="897" y="185"/>
                      </a:lnTo>
                      <a:lnTo>
                        <a:pt x="899" y="183"/>
                      </a:lnTo>
                      <a:lnTo>
                        <a:pt x="902" y="181"/>
                      </a:lnTo>
                      <a:lnTo>
                        <a:pt x="904" y="178"/>
                      </a:lnTo>
                      <a:lnTo>
                        <a:pt x="907" y="177"/>
                      </a:lnTo>
                      <a:lnTo>
                        <a:pt x="910" y="176"/>
                      </a:lnTo>
                      <a:lnTo>
                        <a:pt x="913" y="174"/>
                      </a:lnTo>
                      <a:lnTo>
                        <a:pt x="915" y="172"/>
                      </a:lnTo>
                      <a:lnTo>
                        <a:pt x="915" y="170"/>
                      </a:lnTo>
                      <a:lnTo>
                        <a:pt x="914" y="166"/>
                      </a:lnTo>
                      <a:lnTo>
                        <a:pt x="911" y="164"/>
                      </a:lnTo>
                      <a:lnTo>
                        <a:pt x="910" y="163"/>
                      </a:lnTo>
                      <a:lnTo>
                        <a:pt x="909" y="162"/>
                      </a:lnTo>
                      <a:lnTo>
                        <a:pt x="907" y="160"/>
                      </a:lnTo>
                      <a:lnTo>
                        <a:pt x="905" y="159"/>
                      </a:lnTo>
                      <a:lnTo>
                        <a:pt x="904" y="158"/>
                      </a:lnTo>
                      <a:lnTo>
                        <a:pt x="903" y="156"/>
                      </a:lnTo>
                      <a:lnTo>
                        <a:pt x="904" y="155"/>
                      </a:lnTo>
                      <a:lnTo>
                        <a:pt x="905" y="154"/>
                      </a:lnTo>
                      <a:lnTo>
                        <a:pt x="907" y="153"/>
                      </a:lnTo>
                      <a:lnTo>
                        <a:pt x="909" y="153"/>
                      </a:lnTo>
                      <a:lnTo>
                        <a:pt x="911" y="153"/>
                      </a:lnTo>
                      <a:lnTo>
                        <a:pt x="913" y="153"/>
                      </a:lnTo>
                      <a:lnTo>
                        <a:pt x="914" y="153"/>
                      </a:lnTo>
                      <a:lnTo>
                        <a:pt x="915" y="152"/>
                      </a:lnTo>
                      <a:lnTo>
                        <a:pt x="914" y="151"/>
                      </a:lnTo>
                      <a:lnTo>
                        <a:pt x="911" y="149"/>
                      </a:lnTo>
                      <a:lnTo>
                        <a:pt x="910" y="149"/>
                      </a:lnTo>
                      <a:lnTo>
                        <a:pt x="909" y="148"/>
                      </a:lnTo>
                      <a:lnTo>
                        <a:pt x="908" y="148"/>
                      </a:lnTo>
                      <a:lnTo>
                        <a:pt x="907" y="147"/>
                      </a:lnTo>
                      <a:lnTo>
                        <a:pt x="908" y="147"/>
                      </a:lnTo>
                      <a:lnTo>
                        <a:pt x="909" y="147"/>
                      </a:lnTo>
                      <a:lnTo>
                        <a:pt x="910" y="145"/>
                      </a:lnTo>
                      <a:lnTo>
                        <a:pt x="910" y="145"/>
                      </a:lnTo>
                      <a:lnTo>
                        <a:pt x="909" y="144"/>
                      </a:lnTo>
                      <a:lnTo>
                        <a:pt x="907" y="143"/>
                      </a:lnTo>
                      <a:lnTo>
                        <a:pt x="905" y="143"/>
                      </a:lnTo>
                      <a:lnTo>
                        <a:pt x="902" y="142"/>
                      </a:lnTo>
                      <a:lnTo>
                        <a:pt x="898" y="142"/>
                      </a:lnTo>
                      <a:lnTo>
                        <a:pt x="898" y="143"/>
                      </a:lnTo>
                      <a:lnTo>
                        <a:pt x="897" y="143"/>
                      </a:lnTo>
                      <a:lnTo>
                        <a:pt x="897" y="144"/>
                      </a:lnTo>
                      <a:lnTo>
                        <a:pt x="897" y="144"/>
                      </a:lnTo>
                      <a:lnTo>
                        <a:pt x="896" y="144"/>
                      </a:lnTo>
                      <a:lnTo>
                        <a:pt x="892" y="144"/>
                      </a:lnTo>
                      <a:lnTo>
                        <a:pt x="887" y="142"/>
                      </a:lnTo>
                      <a:lnTo>
                        <a:pt x="883" y="140"/>
                      </a:lnTo>
                      <a:lnTo>
                        <a:pt x="881" y="140"/>
                      </a:lnTo>
                      <a:lnTo>
                        <a:pt x="877" y="139"/>
                      </a:lnTo>
                      <a:lnTo>
                        <a:pt x="874" y="139"/>
                      </a:lnTo>
                      <a:lnTo>
                        <a:pt x="872" y="139"/>
                      </a:lnTo>
                      <a:lnTo>
                        <a:pt x="870" y="138"/>
                      </a:lnTo>
                      <a:lnTo>
                        <a:pt x="869" y="135"/>
                      </a:lnTo>
                      <a:lnTo>
                        <a:pt x="869" y="133"/>
                      </a:lnTo>
                      <a:lnTo>
                        <a:pt x="867" y="131"/>
                      </a:lnTo>
                      <a:lnTo>
                        <a:pt x="867" y="129"/>
                      </a:lnTo>
                      <a:lnTo>
                        <a:pt x="867" y="128"/>
                      </a:lnTo>
                      <a:lnTo>
                        <a:pt x="869" y="126"/>
                      </a:lnTo>
                      <a:lnTo>
                        <a:pt x="869" y="124"/>
                      </a:lnTo>
                      <a:lnTo>
                        <a:pt x="870" y="122"/>
                      </a:lnTo>
                      <a:lnTo>
                        <a:pt x="872" y="121"/>
                      </a:lnTo>
                      <a:lnTo>
                        <a:pt x="873" y="119"/>
                      </a:lnTo>
                      <a:lnTo>
                        <a:pt x="874" y="118"/>
                      </a:lnTo>
                      <a:lnTo>
                        <a:pt x="876" y="117"/>
                      </a:lnTo>
                      <a:lnTo>
                        <a:pt x="878" y="116"/>
                      </a:lnTo>
                      <a:lnTo>
                        <a:pt x="878" y="115"/>
                      </a:lnTo>
                      <a:lnTo>
                        <a:pt x="878" y="113"/>
                      </a:lnTo>
                      <a:lnTo>
                        <a:pt x="878" y="112"/>
                      </a:lnTo>
                      <a:lnTo>
                        <a:pt x="878" y="111"/>
                      </a:lnTo>
                      <a:lnTo>
                        <a:pt x="878" y="109"/>
                      </a:lnTo>
                      <a:lnTo>
                        <a:pt x="878" y="108"/>
                      </a:lnTo>
                      <a:lnTo>
                        <a:pt x="878" y="107"/>
                      </a:lnTo>
                      <a:lnTo>
                        <a:pt x="878" y="108"/>
                      </a:lnTo>
                      <a:lnTo>
                        <a:pt x="882" y="108"/>
                      </a:lnTo>
                      <a:lnTo>
                        <a:pt x="884" y="109"/>
                      </a:lnTo>
                      <a:lnTo>
                        <a:pt x="886" y="109"/>
                      </a:lnTo>
                      <a:lnTo>
                        <a:pt x="887" y="110"/>
                      </a:lnTo>
                      <a:lnTo>
                        <a:pt x="891" y="109"/>
                      </a:lnTo>
                      <a:lnTo>
                        <a:pt x="893" y="107"/>
                      </a:lnTo>
                      <a:lnTo>
                        <a:pt x="894" y="105"/>
                      </a:lnTo>
                      <a:lnTo>
                        <a:pt x="895" y="102"/>
                      </a:lnTo>
                      <a:lnTo>
                        <a:pt x="896" y="100"/>
                      </a:lnTo>
                      <a:lnTo>
                        <a:pt x="897" y="99"/>
                      </a:lnTo>
                      <a:lnTo>
                        <a:pt x="898" y="97"/>
                      </a:lnTo>
                      <a:lnTo>
                        <a:pt x="900" y="94"/>
                      </a:lnTo>
                      <a:lnTo>
                        <a:pt x="903" y="93"/>
                      </a:lnTo>
                      <a:lnTo>
                        <a:pt x="905" y="91"/>
                      </a:lnTo>
                      <a:lnTo>
                        <a:pt x="907" y="90"/>
                      </a:lnTo>
                      <a:lnTo>
                        <a:pt x="909" y="88"/>
                      </a:lnTo>
                      <a:lnTo>
                        <a:pt x="911" y="86"/>
                      </a:lnTo>
                      <a:lnTo>
                        <a:pt x="914" y="86"/>
                      </a:lnTo>
                      <a:lnTo>
                        <a:pt x="921" y="86"/>
                      </a:lnTo>
                      <a:lnTo>
                        <a:pt x="928" y="88"/>
                      </a:lnTo>
                      <a:lnTo>
                        <a:pt x="933" y="91"/>
                      </a:lnTo>
                      <a:lnTo>
                        <a:pt x="940" y="93"/>
                      </a:lnTo>
                      <a:lnTo>
                        <a:pt x="943" y="93"/>
                      </a:lnTo>
                      <a:lnTo>
                        <a:pt x="945" y="93"/>
                      </a:lnTo>
                      <a:lnTo>
                        <a:pt x="946" y="91"/>
                      </a:lnTo>
                      <a:lnTo>
                        <a:pt x="947" y="90"/>
                      </a:lnTo>
                      <a:lnTo>
                        <a:pt x="947" y="88"/>
                      </a:lnTo>
                      <a:lnTo>
                        <a:pt x="947" y="86"/>
                      </a:lnTo>
                      <a:lnTo>
                        <a:pt x="947" y="85"/>
                      </a:lnTo>
                      <a:lnTo>
                        <a:pt x="947" y="83"/>
                      </a:lnTo>
                      <a:lnTo>
                        <a:pt x="947" y="80"/>
                      </a:lnTo>
                      <a:lnTo>
                        <a:pt x="947" y="79"/>
                      </a:lnTo>
                      <a:lnTo>
                        <a:pt x="948" y="76"/>
                      </a:lnTo>
                      <a:lnTo>
                        <a:pt x="949" y="74"/>
                      </a:lnTo>
                      <a:lnTo>
                        <a:pt x="949" y="72"/>
                      </a:lnTo>
                      <a:lnTo>
                        <a:pt x="948" y="68"/>
                      </a:lnTo>
                      <a:lnTo>
                        <a:pt x="945" y="66"/>
                      </a:lnTo>
                      <a:lnTo>
                        <a:pt x="942" y="64"/>
                      </a:lnTo>
                      <a:lnTo>
                        <a:pt x="940" y="62"/>
                      </a:lnTo>
                      <a:lnTo>
                        <a:pt x="938" y="60"/>
                      </a:lnTo>
                      <a:lnTo>
                        <a:pt x="936" y="57"/>
                      </a:lnTo>
                      <a:lnTo>
                        <a:pt x="935" y="55"/>
                      </a:lnTo>
                      <a:lnTo>
                        <a:pt x="935" y="53"/>
                      </a:lnTo>
                      <a:lnTo>
                        <a:pt x="936" y="51"/>
                      </a:lnTo>
                      <a:lnTo>
                        <a:pt x="939" y="50"/>
                      </a:lnTo>
                      <a:lnTo>
                        <a:pt x="943" y="47"/>
                      </a:lnTo>
                      <a:lnTo>
                        <a:pt x="949" y="47"/>
                      </a:lnTo>
                      <a:lnTo>
                        <a:pt x="953" y="49"/>
                      </a:lnTo>
                      <a:lnTo>
                        <a:pt x="959" y="53"/>
                      </a:lnTo>
                      <a:lnTo>
                        <a:pt x="964" y="58"/>
                      </a:lnTo>
                      <a:lnTo>
                        <a:pt x="973" y="62"/>
                      </a:lnTo>
                      <a:lnTo>
                        <a:pt x="976" y="64"/>
                      </a:lnTo>
                      <a:lnTo>
                        <a:pt x="980" y="66"/>
                      </a:lnTo>
                      <a:lnTo>
                        <a:pt x="984" y="68"/>
                      </a:lnTo>
                      <a:lnTo>
                        <a:pt x="987" y="71"/>
                      </a:lnTo>
                      <a:lnTo>
                        <a:pt x="990" y="73"/>
                      </a:lnTo>
                      <a:lnTo>
                        <a:pt x="992" y="75"/>
                      </a:lnTo>
                      <a:lnTo>
                        <a:pt x="995" y="77"/>
                      </a:lnTo>
                      <a:lnTo>
                        <a:pt x="997" y="78"/>
                      </a:lnTo>
                      <a:lnTo>
                        <a:pt x="1000" y="79"/>
                      </a:lnTo>
                      <a:lnTo>
                        <a:pt x="1001" y="79"/>
                      </a:lnTo>
                      <a:lnTo>
                        <a:pt x="1002" y="79"/>
                      </a:lnTo>
                      <a:lnTo>
                        <a:pt x="1002" y="78"/>
                      </a:lnTo>
                      <a:lnTo>
                        <a:pt x="1002" y="77"/>
                      </a:lnTo>
                      <a:lnTo>
                        <a:pt x="1000" y="74"/>
                      </a:lnTo>
                      <a:lnTo>
                        <a:pt x="997" y="72"/>
                      </a:lnTo>
                      <a:lnTo>
                        <a:pt x="994" y="69"/>
                      </a:lnTo>
                      <a:lnTo>
                        <a:pt x="991" y="68"/>
                      </a:lnTo>
                      <a:lnTo>
                        <a:pt x="978" y="61"/>
                      </a:lnTo>
                      <a:lnTo>
                        <a:pt x="967" y="53"/>
                      </a:lnTo>
                      <a:lnTo>
                        <a:pt x="965" y="52"/>
                      </a:lnTo>
                      <a:lnTo>
                        <a:pt x="963" y="50"/>
                      </a:lnTo>
                      <a:lnTo>
                        <a:pt x="962" y="49"/>
                      </a:lnTo>
                      <a:lnTo>
                        <a:pt x="960" y="47"/>
                      </a:lnTo>
                      <a:lnTo>
                        <a:pt x="960" y="45"/>
                      </a:lnTo>
                      <a:lnTo>
                        <a:pt x="960" y="44"/>
                      </a:lnTo>
                      <a:lnTo>
                        <a:pt x="973" y="44"/>
                      </a:lnTo>
                      <a:lnTo>
                        <a:pt x="976" y="44"/>
                      </a:lnTo>
                      <a:lnTo>
                        <a:pt x="981" y="44"/>
                      </a:lnTo>
                      <a:lnTo>
                        <a:pt x="985" y="43"/>
                      </a:lnTo>
                      <a:lnTo>
                        <a:pt x="989" y="42"/>
                      </a:lnTo>
                      <a:lnTo>
                        <a:pt x="990" y="42"/>
                      </a:lnTo>
                      <a:lnTo>
                        <a:pt x="992" y="41"/>
                      </a:lnTo>
                      <a:lnTo>
                        <a:pt x="994" y="40"/>
                      </a:lnTo>
                      <a:lnTo>
                        <a:pt x="997" y="40"/>
                      </a:lnTo>
                      <a:lnTo>
                        <a:pt x="1002" y="40"/>
                      </a:lnTo>
                      <a:lnTo>
                        <a:pt x="1004" y="40"/>
                      </a:lnTo>
                      <a:lnTo>
                        <a:pt x="1006" y="39"/>
                      </a:lnTo>
                      <a:lnTo>
                        <a:pt x="1008" y="38"/>
                      </a:lnTo>
                      <a:lnTo>
                        <a:pt x="1009" y="38"/>
                      </a:lnTo>
                      <a:lnTo>
                        <a:pt x="1012" y="36"/>
                      </a:lnTo>
                      <a:lnTo>
                        <a:pt x="1014" y="35"/>
                      </a:lnTo>
                      <a:lnTo>
                        <a:pt x="1017" y="35"/>
                      </a:lnTo>
                      <a:lnTo>
                        <a:pt x="1020" y="35"/>
                      </a:lnTo>
                      <a:lnTo>
                        <a:pt x="1024" y="36"/>
                      </a:lnTo>
                      <a:lnTo>
                        <a:pt x="1026" y="38"/>
                      </a:lnTo>
                      <a:lnTo>
                        <a:pt x="1027" y="39"/>
                      </a:lnTo>
                      <a:lnTo>
                        <a:pt x="1028" y="41"/>
                      </a:lnTo>
                      <a:lnTo>
                        <a:pt x="1030" y="42"/>
                      </a:lnTo>
                      <a:lnTo>
                        <a:pt x="1033" y="44"/>
                      </a:lnTo>
                      <a:lnTo>
                        <a:pt x="1034" y="45"/>
                      </a:lnTo>
                      <a:lnTo>
                        <a:pt x="1036" y="46"/>
                      </a:lnTo>
                      <a:lnTo>
                        <a:pt x="1037" y="46"/>
                      </a:lnTo>
                      <a:lnTo>
                        <a:pt x="1038" y="47"/>
                      </a:lnTo>
                      <a:lnTo>
                        <a:pt x="1039" y="49"/>
                      </a:lnTo>
                      <a:lnTo>
                        <a:pt x="1039" y="55"/>
                      </a:lnTo>
                      <a:lnTo>
                        <a:pt x="1039" y="60"/>
                      </a:lnTo>
                      <a:lnTo>
                        <a:pt x="1040" y="64"/>
                      </a:lnTo>
                      <a:lnTo>
                        <a:pt x="1040" y="68"/>
                      </a:lnTo>
                      <a:lnTo>
                        <a:pt x="1041" y="73"/>
                      </a:lnTo>
                      <a:lnTo>
                        <a:pt x="1041" y="73"/>
                      </a:lnTo>
                      <a:lnTo>
                        <a:pt x="1041" y="75"/>
                      </a:lnTo>
                      <a:lnTo>
                        <a:pt x="1041" y="77"/>
                      </a:lnTo>
                      <a:lnTo>
                        <a:pt x="1042" y="78"/>
                      </a:lnTo>
                      <a:lnTo>
                        <a:pt x="1044" y="79"/>
                      </a:lnTo>
                      <a:lnTo>
                        <a:pt x="1045" y="78"/>
                      </a:lnTo>
                      <a:lnTo>
                        <a:pt x="1046" y="77"/>
                      </a:lnTo>
                      <a:lnTo>
                        <a:pt x="1047" y="76"/>
                      </a:lnTo>
                      <a:lnTo>
                        <a:pt x="1047" y="75"/>
                      </a:lnTo>
                      <a:lnTo>
                        <a:pt x="1048" y="75"/>
                      </a:lnTo>
                      <a:lnTo>
                        <a:pt x="1048" y="73"/>
                      </a:lnTo>
                      <a:lnTo>
                        <a:pt x="1048" y="69"/>
                      </a:lnTo>
                      <a:lnTo>
                        <a:pt x="1047" y="66"/>
                      </a:lnTo>
                      <a:lnTo>
                        <a:pt x="1046" y="63"/>
                      </a:lnTo>
                      <a:lnTo>
                        <a:pt x="1045" y="60"/>
                      </a:lnTo>
                      <a:lnTo>
                        <a:pt x="1046" y="57"/>
                      </a:lnTo>
                      <a:lnTo>
                        <a:pt x="1047" y="56"/>
                      </a:lnTo>
                      <a:lnTo>
                        <a:pt x="1047" y="55"/>
                      </a:lnTo>
                      <a:lnTo>
                        <a:pt x="1048" y="55"/>
                      </a:lnTo>
                      <a:lnTo>
                        <a:pt x="1048" y="54"/>
                      </a:lnTo>
                      <a:lnTo>
                        <a:pt x="1047" y="53"/>
                      </a:lnTo>
                      <a:lnTo>
                        <a:pt x="1046" y="51"/>
                      </a:lnTo>
                      <a:lnTo>
                        <a:pt x="1044" y="49"/>
                      </a:lnTo>
                      <a:lnTo>
                        <a:pt x="1041" y="46"/>
                      </a:lnTo>
                      <a:lnTo>
                        <a:pt x="1041" y="44"/>
                      </a:lnTo>
                      <a:lnTo>
                        <a:pt x="1040" y="42"/>
                      </a:lnTo>
                      <a:lnTo>
                        <a:pt x="1041" y="42"/>
                      </a:lnTo>
                      <a:lnTo>
                        <a:pt x="1041" y="42"/>
                      </a:lnTo>
                      <a:lnTo>
                        <a:pt x="1044" y="42"/>
                      </a:lnTo>
                      <a:lnTo>
                        <a:pt x="1045" y="43"/>
                      </a:lnTo>
                      <a:lnTo>
                        <a:pt x="1046" y="44"/>
                      </a:lnTo>
                      <a:lnTo>
                        <a:pt x="1048" y="45"/>
                      </a:lnTo>
                      <a:lnTo>
                        <a:pt x="1049" y="47"/>
                      </a:lnTo>
                      <a:lnTo>
                        <a:pt x="1050" y="49"/>
                      </a:lnTo>
                      <a:lnTo>
                        <a:pt x="1052" y="51"/>
                      </a:lnTo>
                      <a:lnTo>
                        <a:pt x="1055" y="53"/>
                      </a:lnTo>
                      <a:lnTo>
                        <a:pt x="1059" y="55"/>
                      </a:lnTo>
                      <a:lnTo>
                        <a:pt x="1061" y="56"/>
                      </a:lnTo>
                      <a:lnTo>
                        <a:pt x="1062" y="58"/>
                      </a:lnTo>
                      <a:lnTo>
                        <a:pt x="1063" y="60"/>
                      </a:lnTo>
                      <a:lnTo>
                        <a:pt x="1063" y="60"/>
                      </a:lnTo>
                      <a:lnTo>
                        <a:pt x="1063" y="63"/>
                      </a:lnTo>
                      <a:lnTo>
                        <a:pt x="1065" y="66"/>
                      </a:lnTo>
                      <a:lnTo>
                        <a:pt x="1067" y="68"/>
                      </a:lnTo>
                      <a:lnTo>
                        <a:pt x="1070" y="71"/>
                      </a:lnTo>
                      <a:lnTo>
                        <a:pt x="1071" y="72"/>
                      </a:lnTo>
                      <a:lnTo>
                        <a:pt x="1074" y="74"/>
                      </a:lnTo>
                      <a:lnTo>
                        <a:pt x="1077" y="74"/>
                      </a:lnTo>
                      <a:lnTo>
                        <a:pt x="1079" y="75"/>
                      </a:lnTo>
                      <a:lnTo>
                        <a:pt x="1080" y="75"/>
                      </a:lnTo>
                      <a:lnTo>
                        <a:pt x="1080" y="74"/>
                      </a:lnTo>
                      <a:lnTo>
                        <a:pt x="1080" y="74"/>
                      </a:lnTo>
                      <a:lnTo>
                        <a:pt x="1079" y="73"/>
                      </a:lnTo>
                      <a:lnTo>
                        <a:pt x="1079" y="72"/>
                      </a:lnTo>
                      <a:lnTo>
                        <a:pt x="1079" y="71"/>
                      </a:lnTo>
                      <a:lnTo>
                        <a:pt x="1077" y="69"/>
                      </a:lnTo>
                      <a:lnTo>
                        <a:pt x="1076" y="68"/>
                      </a:lnTo>
                      <a:lnTo>
                        <a:pt x="1076" y="67"/>
                      </a:lnTo>
                      <a:lnTo>
                        <a:pt x="1077" y="67"/>
                      </a:lnTo>
                      <a:lnTo>
                        <a:pt x="1078" y="67"/>
                      </a:lnTo>
                      <a:lnTo>
                        <a:pt x="1080" y="67"/>
                      </a:lnTo>
                      <a:lnTo>
                        <a:pt x="1082" y="67"/>
                      </a:lnTo>
                      <a:lnTo>
                        <a:pt x="1084" y="67"/>
                      </a:lnTo>
                      <a:lnTo>
                        <a:pt x="1088" y="68"/>
                      </a:lnTo>
                      <a:lnTo>
                        <a:pt x="1090" y="69"/>
                      </a:lnTo>
                      <a:lnTo>
                        <a:pt x="1092" y="69"/>
                      </a:lnTo>
                      <a:lnTo>
                        <a:pt x="1093" y="69"/>
                      </a:lnTo>
                      <a:lnTo>
                        <a:pt x="1094" y="69"/>
                      </a:lnTo>
                      <a:lnTo>
                        <a:pt x="1094" y="68"/>
                      </a:lnTo>
                      <a:lnTo>
                        <a:pt x="1093" y="66"/>
                      </a:lnTo>
                      <a:lnTo>
                        <a:pt x="1092" y="65"/>
                      </a:lnTo>
                      <a:lnTo>
                        <a:pt x="1090" y="64"/>
                      </a:lnTo>
                      <a:lnTo>
                        <a:pt x="1089" y="63"/>
                      </a:lnTo>
                      <a:lnTo>
                        <a:pt x="1087" y="63"/>
                      </a:lnTo>
                      <a:lnTo>
                        <a:pt x="1085" y="62"/>
                      </a:lnTo>
                      <a:lnTo>
                        <a:pt x="1080" y="58"/>
                      </a:lnTo>
                      <a:lnTo>
                        <a:pt x="1077" y="55"/>
                      </a:lnTo>
                      <a:lnTo>
                        <a:pt x="1073" y="51"/>
                      </a:lnTo>
                      <a:lnTo>
                        <a:pt x="1070" y="47"/>
                      </a:lnTo>
                      <a:lnTo>
                        <a:pt x="1068" y="44"/>
                      </a:lnTo>
                      <a:lnTo>
                        <a:pt x="1067" y="43"/>
                      </a:lnTo>
                      <a:lnTo>
                        <a:pt x="1065" y="41"/>
                      </a:lnTo>
                      <a:lnTo>
                        <a:pt x="1063" y="40"/>
                      </a:lnTo>
                      <a:lnTo>
                        <a:pt x="1062" y="38"/>
                      </a:lnTo>
                      <a:lnTo>
                        <a:pt x="1061" y="36"/>
                      </a:lnTo>
                      <a:lnTo>
                        <a:pt x="1060" y="35"/>
                      </a:lnTo>
                      <a:lnTo>
                        <a:pt x="1061" y="34"/>
                      </a:lnTo>
                      <a:lnTo>
                        <a:pt x="1062" y="33"/>
                      </a:lnTo>
                      <a:lnTo>
                        <a:pt x="1066" y="33"/>
                      </a:lnTo>
                      <a:lnTo>
                        <a:pt x="1071" y="34"/>
                      </a:lnTo>
                      <a:lnTo>
                        <a:pt x="1079" y="35"/>
                      </a:lnTo>
                      <a:lnTo>
                        <a:pt x="1085" y="38"/>
                      </a:lnTo>
                      <a:lnTo>
                        <a:pt x="1088" y="40"/>
                      </a:lnTo>
                      <a:lnTo>
                        <a:pt x="1091" y="42"/>
                      </a:lnTo>
                      <a:lnTo>
                        <a:pt x="1093" y="44"/>
                      </a:lnTo>
                      <a:lnTo>
                        <a:pt x="1096" y="46"/>
                      </a:lnTo>
                      <a:lnTo>
                        <a:pt x="1109" y="53"/>
                      </a:lnTo>
                      <a:lnTo>
                        <a:pt x="1122" y="61"/>
                      </a:lnTo>
                      <a:lnTo>
                        <a:pt x="1135" y="68"/>
                      </a:lnTo>
                      <a:lnTo>
                        <a:pt x="1137" y="71"/>
                      </a:lnTo>
                      <a:lnTo>
                        <a:pt x="1139" y="73"/>
                      </a:lnTo>
                      <a:lnTo>
                        <a:pt x="1140" y="75"/>
                      </a:lnTo>
                      <a:lnTo>
                        <a:pt x="1142" y="77"/>
                      </a:lnTo>
                      <a:lnTo>
                        <a:pt x="1144" y="79"/>
                      </a:lnTo>
                      <a:lnTo>
                        <a:pt x="1147" y="82"/>
                      </a:lnTo>
                      <a:lnTo>
                        <a:pt x="1150" y="84"/>
                      </a:lnTo>
                      <a:lnTo>
                        <a:pt x="1155" y="86"/>
                      </a:lnTo>
                      <a:lnTo>
                        <a:pt x="1157" y="86"/>
                      </a:lnTo>
                      <a:lnTo>
                        <a:pt x="1158" y="87"/>
                      </a:lnTo>
                      <a:lnTo>
                        <a:pt x="1158" y="86"/>
                      </a:lnTo>
                      <a:lnTo>
                        <a:pt x="1158" y="86"/>
                      </a:lnTo>
                      <a:lnTo>
                        <a:pt x="1157" y="85"/>
                      </a:lnTo>
                      <a:lnTo>
                        <a:pt x="1157" y="84"/>
                      </a:lnTo>
                      <a:lnTo>
                        <a:pt x="1155" y="82"/>
                      </a:lnTo>
                      <a:lnTo>
                        <a:pt x="1153" y="79"/>
                      </a:lnTo>
                      <a:lnTo>
                        <a:pt x="1150" y="79"/>
                      </a:lnTo>
                      <a:lnTo>
                        <a:pt x="1149" y="76"/>
                      </a:lnTo>
                      <a:lnTo>
                        <a:pt x="1148" y="74"/>
                      </a:lnTo>
                      <a:lnTo>
                        <a:pt x="1147" y="72"/>
                      </a:lnTo>
                      <a:lnTo>
                        <a:pt x="1147" y="69"/>
                      </a:lnTo>
                      <a:lnTo>
                        <a:pt x="1146" y="68"/>
                      </a:lnTo>
                      <a:lnTo>
                        <a:pt x="1146" y="66"/>
                      </a:lnTo>
                      <a:lnTo>
                        <a:pt x="1146" y="64"/>
                      </a:lnTo>
                      <a:lnTo>
                        <a:pt x="1146" y="63"/>
                      </a:lnTo>
                      <a:lnTo>
                        <a:pt x="1145" y="62"/>
                      </a:lnTo>
                      <a:lnTo>
                        <a:pt x="1144" y="60"/>
                      </a:lnTo>
                      <a:lnTo>
                        <a:pt x="1144" y="58"/>
                      </a:lnTo>
                      <a:lnTo>
                        <a:pt x="1144" y="57"/>
                      </a:lnTo>
                      <a:lnTo>
                        <a:pt x="1144" y="57"/>
                      </a:lnTo>
                      <a:lnTo>
                        <a:pt x="1145" y="57"/>
                      </a:lnTo>
                      <a:lnTo>
                        <a:pt x="1146" y="57"/>
                      </a:lnTo>
                      <a:lnTo>
                        <a:pt x="1149" y="58"/>
                      </a:lnTo>
                      <a:lnTo>
                        <a:pt x="1151" y="58"/>
                      </a:lnTo>
                      <a:lnTo>
                        <a:pt x="1153" y="58"/>
                      </a:lnTo>
                      <a:lnTo>
                        <a:pt x="1153" y="57"/>
                      </a:lnTo>
                      <a:lnTo>
                        <a:pt x="1153" y="54"/>
                      </a:lnTo>
                      <a:lnTo>
                        <a:pt x="1150" y="52"/>
                      </a:lnTo>
                      <a:lnTo>
                        <a:pt x="1148" y="49"/>
                      </a:lnTo>
                      <a:lnTo>
                        <a:pt x="1145" y="46"/>
                      </a:lnTo>
                      <a:lnTo>
                        <a:pt x="1140" y="44"/>
                      </a:lnTo>
                      <a:lnTo>
                        <a:pt x="1137" y="42"/>
                      </a:lnTo>
                      <a:lnTo>
                        <a:pt x="1136" y="40"/>
                      </a:lnTo>
                      <a:lnTo>
                        <a:pt x="1134" y="38"/>
                      </a:lnTo>
                      <a:lnTo>
                        <a:pt x="1132" y="34"/>
                      </a:lnTo>
                      <a:lnTo>
                        <a:pt x="1129" y="32"/>
                      </a:lnTo>
                      <a:lnTo>
                        <a:pt x="1127" y="30"/>
                      </a:lnTo>
                      <a:lnTo>
                        <a:pt x="1126" y="29"/>
                      </a:lnTo>
                      <a:lnTo>
                        <a:pt x="1134" y="30"/>
                      </a:lnTo>
                      <a:lnTo>
                        <a:pt x="1142" y="32"/>
                      </a:lnTo>
                      <a:lnTo>
                        <a:pt x="1148" y="33"/>
                      </a:lnTo>
                      <a:lnTo>
                        <a:pt x="1156" y="33"/>
                      </a:lnTo>
                      <a:lnTo>
                        <a:pt x="1162" y="36"/>
                      </a:lnTo>
                      <a:lnTo>
                        <a:pt x="1168" y="40"/>
                      </a:lnTo>
                      <a:lnTo>
                        <a:pt x="1173" y="42"/>
                      </a:lnTo>
                      <a:lnTo>
                        <a:pt x="1178" y="43"/>
                      </a:lnTo>
                      <a:lnTo>
                        <a:pt x="1182" y="45"/>
                      </a:lnTo>
                      <a:lnTo>
                        <a:pt x="1186" y="49"/>
                      </a:lnTo>
                      <a:lnTo>
                        <a:pt x="1189" y="51"/>
                      </a:lnTo>
                      <a:lnTo>
                        <a:pt x="1191" y="53"/>
                      </a:lnTo>
                      <a:lnTo>
                        <a:pt x="1193" y="55"/>
                      </a:lnTo>
                      <a:lnTo>
                        <a:pt x="1197" y="56"/>
                      </a:lnTo>
                      <a:lnTo>
                        <a:pt x="1199" y="57"/>
                      </a:lnTo>
                      <a:lnTo>
                        <a:pt x="1199" y="54"/>
                      </a:lnTo>
                      <a:lnTo>
                        <a:pt x="1199" y="52"/>
                      </a:lnTo>
                      <a:lnTo>
                        <a:pt x="1198" y="50"/>
                      </a:lnTo>
                      <a:lnTo>
                        <a:pt x="1197" y="47"/>
                      </a:lnTo>
                      <a:lnTo>
                        <a:pt x="1194" y="45"/>
                      </a:lnTo>
                      <a:lnTo>
                        <a:pt x="1190" y="42"/>
                      </a:lnTo>
                      <a:lnTo>
                        <a:pt x="1183" y="40"/>
                      </a:lnTo>
                      <a:lnTo>
                        <a:pt x="1178" y="38"/>
                      </a:lnTo>
                      <a:lnTo>
                        <a:pt x="1172" y="35"/>
                      </a:lnTo>
                      <a:lnTo>
                        <a:pt x="1167" y="33"/>
                      </a:lnTo>
                      <a:lnTo>
                        <a:pt x="1161" y="31"/>
                      </a:lnTo>
                      <a:lnTo>
                        <a:pt x="1155" y="29"/>
                      </a:lnTo>
                      <a:lnTo>
                        <a:pt x="1144" y="28"/>
                      </a:lnTo>
                      <a:lnTo>
                        <a:pt x="1133" y="27"/>
                      </a:lnTo>
                      <a:lnTo>
                        <a:pt x="1131" y="25"/>
                      </a:lnTo>
                      <a:lnTo>
                        <a:pt x="1127" y="23"/>
                      </a:lnTo>
                      <a:lnTo>
                        <a:pt x="1125" y="22"/>
                      </a:lnTo>
                      <a:lnTo>
                        <a:pt x="1122" y="22"/>
                      </a:lnTo>
                      <a:lnTo>
                        <a:pt x="1121" y="22"/>
                      </a:lnTo>
                      <a:lnTo>
                        <a:pt x="1118" y="22"/>
                      </a:lnTo>
                      <a:lnTo>
                        <a:pt x="1116" y="23"/>
                      </a:lnTo>
                      <a:lnTo>
                        <a:pt x="1114" y="22"/>
                      </a:lnTo>
                      <a:lnTo>
                        <a:pt x="1113" y="22"/>
                      </a:lnTo>
                      <a:lnTo>
                        <a:pt x="1111" y="20"/>
                      </a:lnTo>
                      <a:lnTo>
                        <a:pt x="1111" y="19"/>
                      </a:lnTo>
                      <a:lnTo>
                        <a:pt x="1111" y="18"/>
                      </a:lnTo>
                      <a:lnTo>
                        <a:pt x="1112" y="18"/>
                      </a:lnTo>
                      <a:lnTo>
                        <a:pt x="1113" y="17"/>
                      </a:lnTo>
                      <a:lnTo>
                        <a:pt x="1113" y="15"/>
                      </a:lnTo>
                      <a:lnTo>
                        <a:pt x="1113" y="14"/>
                      </a:lnTo>
                      <a:lnTo>
                        <a:pt x="1111" y="13"/>
                      </a:lnTo>
                      <a:lnTo>
                        <a:pt x="1110" y="12"/>
                      </a:lnTo>
                      <a:lnTo>
                        <a:pt x="1107" y="10"/>
                      </a:lnTo>
                      <a:lnTo>
                        <a:pt x="1106" y="9"/>
                      </a:lnTo>
                      <a:lnTo>
                        <a:pt x="1106" y="8"/>
                      </a:lnTo>
                      <a:lnTo>
                        <a:pt x="1107" y="8"/>
                      </a:lnTo>
                      <a:lnTo>
                        <a:pt x="1109" y="8"/>
                      </a:lnTo>
                      <a:lnTo>
                        <a:pt x="1111" y="8"/>
                      </a:lnTo>
                      <a:lnTo>
                        <a:pt x="1113" y="9"/>
                      </a:lnTo>
                      <a:lnTo>
                        <a:pt x="1115" y="10"/>
                      </a:lnTo>
                      <a:lnTo>
                        <a:pt x="1117" y="11"/>
                      </a:lnTo>
                      <a:lnTo>
                        <a:pt x="1118" y="13"/>
                      </a:lnTo>
                      <a:lnTo>
                        <a:pt x="1121" y="15"/>
                      </a:lnTo>
                      <a:lnTo>
                        <a:pt x="1122" y="15"/>
                      </a:lnTo>
                      <a:lnTo>
                        <a:pt x="1124" y="15"/>
                      </a:lnTo>
                      <a:lnTo>
                        <a:pt x="1125" y="14"/>
                      </a:lnTo>
                      <a:lnTo>
                        <a:pt x="1126" y="13"/>
                      </a:lnTo>
                      <a:lnTo>
                        <a:pt x="1125" y="12"/>
                      </a:lnTo>
                      <a:lnTo>
                        <a:pt x="1124" y="11"/>
                      </a:lnTo>
                      <a:lnTo>
                        <a:pt x="1123" y="10"/>
                      </a:lnTo>
                      <a:lnTo>
                        <a:pt x="1122" y="9"/>
                      </a:lnTo>
                      <a:lnTo>
                        <a:pt x="1121" y="8"/>
                      </a:lnTo>
                      <a:lnTo>
                        <a:pt x="1121" y="7"/>
                      </a:lnTo>
                      <a:lnTo>
                        <a:pt x="1121" y="7"/>
                      </a:lnTo>
                      <a:lnTo>
                        <a:pt x="1123" y="7"/>
                      </a:lnTo>
                      <a:lnTo>
                        <a:pt x="1124" y="7"/>
                      </a:lnTo>
                      <a:lnTo>
                        <a:pt x="1127" y="8"/>
                      </a:lnTo>
                      <a:lnTo>
                        <a:pt x="1129" y="9"/>
                      </a:lnTo>
                      <a:lnTo>
                        <a:pt x="1133" y="9"/>
                      </a:lnTo>
                      <a:lnTo>
                        <a:pt x="1135" y="10"/>
                      </a:lnTo>
                      <a:lnTo>
                        <a:pt x="1137" y="11"/>
                      </a:lnTo>
                      <a:lnTo>
                        <a:pt x="1138" y="11"/>
                      </a:lnTo>
                      <a:lnTo>
                        <a:pt x="1139" y="11"/>
                      </a:lnTo>
                      <a:lnTo>
                        <a:pt x="1142" y="11"/>
                      </a:lnTo>
                      <a:lnTo>
                        <a:pt x="1143" y="12"/>
                      </a:lnTo>
                      <a:lnTo>
                        <a:pt x="1145" y="12"/>
                      </a:lnTo>
                      <a:lnTo>
                        <a:pt x="1146" y="12"/>
                      </a:lnTo>
                      <a:lnTo>
                        <a:pt x="1146" y="11"/>
                      </a:lnTo>
                      <a:lnTo>
                        <a:pt x="1145" y="11"/>
                      </a:lnTo>
                      <a:lnTo>
                        <a:pt x="1144" y="10"/>
                      </a:lnTo>
                      <a:lnTo>
                        <a:pt x="1144" y="10"/>
                      </a:lnTo>
                      <a:lnTo>
                        <a:pt x="1142" y="9"/>
                      </a:lnTo>
                      <a:lnTo>
                        <a:pt x="1142" y="8"/>
                      </a:lnTo>
                      <a:lnTo>
                        <a:pt x="1140" y="7"/>
                      </a:lnTo>
                      <a:lnTo>
                        <a:pt x="1140" y="7"/>
                      </a:lnTo>
                      <a:lnTo>
                        <a:pt x="1139" y="7"/>
                      </a:lnTo>
                      <a:lnTo>
                        <a:pt x="1139" y="7"/>
                      </a:lnTo>
                      <a:lnTo>
                        <a:pt x="1140" y="7"/>
                      </a:lnTo>
                      <a:lnTo>
                        <a:pt x="1142" y="7"/>
                      </a:lnTo>
                      <a:lnTo>
                        <a:pt x="1144" y="7"/>
                      </a:lnTo>
                      <a:lnTo>
                        <a:pt x="1145" y="8"/>
                      </a:lnTo>
                      <a:lnTo>
                        <a:pt x="1147" y="9"/>
                      </a:lnTo>
                      <a:lnTo>
                        <a:pt x="1148" y="9"/>
                      </a:lnTo>
                      <a:lnTo>
                        <a:pt x="1148" y="9"/>
                      </a:lnTo>
                      <a:lnTo>
                        <a:pt x="1149" y="9"/>
                      </a:lnTo>
                      <a:lnTo>
                        <a:pt x="1149" y="8"/>
                      </a:lnTo>
                      <a:lnTo>
                        <a:pt x="1148" y="7"/>
                      </a:lnTo>
                      <a:lnTo>
                        <a:pt x="1147" y="6"/>
                      </a:lnTo>
                      <a:lnTo>
                        <a:pt x="1146" y="4"/>
                      </a:lnTo>
                      <a:lnTo>
                        <a:pt x="1147" y="3"/>
                      </a:lnTo>
                      <a:lnTo>
                        <a:pt x="1148" y="3"/>
                      </a:lnTo>
                      <a:lnTo>
                        <a:pt x="1150" y="2"/>
                      </a:lnTo>
                      <a:lnTo>
                        <a:pt x="1153" y="2"/>
                      </a:lnTo>
                      <a:lnTo>
                        <a:pt x="1157" y="4"/>
                      </a:lnTo>
                      <a:lnTo>
                        <a:pt x="1159" y="7"/>
                      </a:lnTo>
                      <a:lnTo>
                        <a:pt x="1161" y="9"/>
                      </a:lnTo>
                      <a:lnTo>
                        <a:pt x="1162" y="10"/>
                      </a:lnTo>
                      <a:lnTo>
                        <a:pt x="1164" y="12"/>
                      </a:lnTo>
                      <a:lnTo>
                        <a:pt x="1165" y="13"/>
                      </a:lnTo>
                      <a:lnTo>
                        <a:pt x="1166" y="15"/>
                      </a:lnTo>
                      <a:lnTo>
                        <a:pt x="1168" y="18"/>
                      </a:lnTo>
                      <a:lnTo>
                        <a:pt x="1181" y="24"/>
                      </a:lnTo>
                      <a:lnTo>
                        <a:pt x="1186" y="27"/>
                      </a:lnTo>
                      <a:lnTo>
                        <a:pt x="1189" y="28"/>
                      </a:lnTo>
                      <a:lnTo>
                        <a:pt x="1193" y="30"/>
                      </a:lnTo>
                      <a:lnTo>
                        <a:pt x="1197" y="31"/>
                      </a:lnTo>
                      <a:lnTo>
                        <a:pt x="1199" y="33"/>
                      </a:lnTo>
                      <a:lnTo>
                        <a:pt x="1202" y="35"/>
                      </a:lnTo>
                      <a:lnTo>
                        <a:pt x="1203" y="36"/>
                      </a:lnTo>
                      <a:lnTo>
                        <a:pt x="1205" y="39"/>
                      </a:lnTo>
                      <a:lnTo>
                        <a:pt x="1208" y="40"/>
                      </a:lnTo>
                      <a:lnTo>
                        <a:pt x="1209" y="41"/>
                      </a:lnTo>
                      <a:lnTo>
                        <a:pt x="1210" y="40"/>
                      </a:lnTo>
                      <a:lnTo>
                        <a:pt x="1210" y="40"/>
                      </a:lnTo>
                      <a:lnTo>
                        <a:pt x="1209" y="39"/>
                      </a:lnTo>
                      <a:lnTo>
                        <a:pt x="1208" y="38"/>
                      </a:lnTo>
                      <a:lnTo>
                        <a:pt x="1207" y="36"/>
                      </a:lnTo>
                      <a:lnTo>
                        <a:pt x="1205" y="35"/>
                      </a:lnTo>
                      <a:lnTo>
                        <a:pt x="1205" y="35"/>
                      </a:lnTo>
                      <a:lnTo>
                        <a:pt x="1204" y="34"/>
                      </a:lnTo>
                      <a:lnTo>
                        <a:pt x="1202" y="33"/>
                      </a:lnTo>
                      <a:lnTo>
                        <a:pt x="1201" y="32"/>
                      </a:lnTo>
                      <a:lnTo>
                        <a:pt x="1201" y="30"/>
                      </a:lnTo>
                      <a:lnTo>
                        <a:pt x="1201" y="29"/>
                      </a:lnTo>
                      <a:lnTo>
                        <a:pt x="1202" y="29"/>
                      </a:lnTo>
                      <a:lnTo>
                        <a:pt x="1204" y="29"/>
                      </a:lnTo>
                      <a:lnTo>
                        <a:pt x="1207" y="30"/>
                      </a:lnTo>
                      <a:lnTo>
                        <a:pt x="1208" y="30"/>
                      </a:lnTo>
                      <a:lnTo>
                        <a:pt x="1210" y="30"/>
                      </a:lnTo>
                      <a:lnTo>
                        <a:pt x="1211" y="30"/>
                      </a:lnTo>
                      <a:lnTo>
                        <a:pt x="1211" y="30"/>
                      </a:lnTo>
                      <a:lnTo>
                        <a:pt x="1211" y="30"/>
                      </a:lnTo>
                      <a:lnTo>
                        <a:pt x="1210" y="29"/>
                      </a:lnTo>
                      <a:lnTo>
                        <a:pt x="1208" y="27"/>
                      </a:lnTo>
                      <a:lnTo>
                        <a:pt x="1207" y="25"/>
                      </a:lnTo>
                      <a:lnTo>
                        <a:pt x="1207" y="24"/>
                      </a:lnTo>
                      <a:lnTo>
                        <a:pt x="1208" y="23"/>
                      </a:lnTo>
                      <a:lnTo>
                        <a:pt x="1209" y="23"/>
                      </a:lnTo>
                      <a:lnTo>
                        <a:pt x="1210" y="23"/>
                      </a:lnTo>
                      <a:lnTo>
                        <a:pt x="1212" y="23"/>
                      </a:lnTo>
                      <a:lnTo>
                        <a:pt x="1213" y="23"/>
                      </a:lnTo>
                      <a:lnTo>
                        <a:pt x="1215" y="23"/>
                      </a:lnTo>
                      <a:lnTo>
                        <a:pt x="1215" y="22"/>
                      </a:lnTo>
                      <a:lnTo>
                        <a:pt x="1215" y="22"/>
                      </a:lnTo>
                      <a:lnTo>
                        <a:pt x="1214" y="20"/>
                      </a:lnTo>
                      <a:lnTo>
                        <a:pt x="1211" y="18"/>
                      </a:lnTo>
                      <a:lnTo>
                        <a:pt x="1208" y="15"/>
                      </a:lnTo>
                      <a:lnTo>
                        <a:pt x="1204" y="14"/>
                      </a:lnTo>
                      <a:lnTo>
                        <a:pt x="1201" y="13"/>
                      </a:lnTo>
                      <a:lnTo>
                        <a:pt x="1199" y="12"/>
                      </a:lnTo>
                      <a:lnTo>
                        <a:pt x="1197" y="10"/>
                      </a:lnTo>
                      <a:lnTo>
                        <a:pt x="1196" y="9"/>
                      </a:lnTo>
                      <a:lnTo>
                        <a:pt x="1194" y="7"/>
                      </a:lnTo>
                      <a:lnTo>
                        <a:pt x="1193" y="4"/>
                      </a:lnTo>
                      <a:lnTo>
                        <a:pt x="1193" y="3"/>
                      </a:lnTo>
                      <a:lnTo>
                        <a:pt x="1194" y="2"/>
                      </a:lnTo>
                      <a:lnTo>
                        <a:pt x="1196" y="2"/>
                      </a:lnTo>
                      <a:lnTo>
                        <a:pt x="1197" y="1"/>
                      </a:lnTo>
                      <a:lnTo>
                        <a:pt x="1199" y="1"/>
                      </a:lnTo>
                      <a:lnTo>
                        <a:pt x="1200" y="1"/>
                      </a:lnTo>
                      <a:lnTo>
                        <a:pt x="1201" y="0"/>
                      </a:lnTo>
                      <a:lnTo>
                        <a:pt x="120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1" name="Freeform 38"/>
                <p:cNvSpPr>
                  <a:spLocks noEditPoints="1"/>
                </p:cNvSpPr>
                <p:nvPr/>
              </p:nvSpPr>
              <p:spPr bwMode="auto">
                <a:xfrm>
                  <a:off x="5541" y="601"/>
                  <a:ext cx="488" cy="489"/>
                </a:xfrm>
                <a:custGeom>
                  <a:avLst/>
                  <a:gdLst>
                    <a:gd name="T0" fmla="*/ 1638 w 3420"/>
                    <a:gd name="T1" fmla="*/ 448 h 3420"/>
                    <a:gd name="T2" fmla="*/ 1678 w 3420"/>
                    <a:gd name="T3" fmla="*/ 437 h 3420"/>
                    <a:gd name="T4" fmla="*/ 1715 w 3420"/>
                    <a:gd name="T5" fmla="*/ 464 h 3420"/>
                    <a:gd name="T6" fmla="*/ 1723 w 3420"/>
                    <a:gd name="T7" fmla="*/ 497 h 3420"/>
                    <a:gd name="T8" fmla="*/ 1660 w 3420"/>
                    <a:gd name="T9" fmla="*/ 514 h 3420"/>
                    <a:gd name="T10" fmla="*/ 1638 w 3420"/>
                    <a:gd name="T11" fmla="*/ 567 h 3420"/>
                    <a:gd name="T12" fmla="*/ 1616 w 3420"/>
                    <a:gd name="T13" fmla="*/ 596 h 3420"/>
                    <a:gd name="T14" fmla="*/ 1549 w 3420"/>
                    <a:gd name="T15" fmla="*/ 625 h 3420"/>
                    <a:gd name="T16" fmla="*/ 1551 w 3420"/>
                    <a:gd name="T17" fmla="*/ 642 h 3420"/>
                    <a:gd name="T18" fmla="*/ 1559 w 3420"/>
                    <a:gd name="T19" fmla="*/ 687 h 3420"/>
                    <a:gd name="T20" fmla="*/ 1461 w 3420"/>
                    <a:gd name="T21" fmla="*/ 732 h 3420"/>
                    <a:gd name="T22" fmla="*/ 1479 w 3420"/>
                    <a:gd name="T23" fmla="*/ 785 h 3420"/>
                    <a:gd name="T24" fmla="*/ 1426 w 3420"/>
                    <a:gd name="T25" fmla="*/ 774 h 3420"/>
                    <a:gd name="T26" fmla="*/ 1332 w 3420"/>
                    <a:gd name="T27" fmla="*/ 778 h 3420"/>
                    <a:gd name="T28" fmla="*/ 1333 w 3420"/>
                    <a:gd name="T29" fmla="*/ 818 h 3420"/>
                    <a:gd name="T30" fmla="*/ 1487 w 3420"/>
                    <a:gd name="T31" fmla="*/ 813 h 3420"/>
                    <a:gd name="T32" fmla="*/ 1433 w 3420"/>
                    <a:gd name="T33" fmla="*/ 855 h 3420"/>
                    <a:gd name="T34" fmla="*/ 1301 w 3420"/>
                    <a:gd name="T35" fmla="*/ 868 h 3420"/>
                    <a:gd name="T36" fmla="*/ 1231 w 3420"/>
                    <a:gd name="T37" fmla="*/ 787 h 3420"/>
                    <a:gd name="T38" fmla="*/ 1251 w 3420"/>
                    <a:gd name="T39" fmla="*/ 752 h 3420"/>
                    <a:gd name="T40" fmla="*/ 1326 w 3420"/>
                    <a:gd name="T41" fmla="*/ 761 h 3420"/>
                    <a:gd name="T42" fmla="*/ 1384 w 3420"/>
                    <a:gd name="T43" fmla="*/ 707 h 3420"/>
                    <a:gd name="T44" fmla="*/ 1407 w 3420"/>
                    <a:gd name="T45" fmla="*/ 684 h 3420"/>
                    <a:gd name="T46" fmla="*/ 1373 w 3420"/>
                    <a:gd name="T47" fmla="*/ 658 h 3420"/>
                    <a:gd name="T48" fmla="*/ 1407 w 3420"/>
                    <a:gd name="T49" fmla="*/ 647 h 3420"/>
                    <a:gd name="T50" fmla="*/ 1358 w 3420"/>
                    <a:gd name="T51" fmla="*/ 659 h 3420"/>
                    <a:gd name="T52" fmla="*/ 1318 w 3420"/>
                    <a:gd name="T53" fmla="*/ 678 h 3420"/>
                    <a:gd name="T54" fmla="*/ 1267 w 3420"/>
                    <a:gd name="T55" fmla="*/ 663 h 3420"/>
                    <a:gd name="T56" fmla="*/ 1246 w 3420"/>
                    <a:gd name="T57" fmla="*/ 625 h 3420"/>
                    <a:gd name="T58" fmla="*/ 1242 w 3420"/>
                    <a:gd name="T59" fmla="*/ 594 h 3420"/>
                    <a:gd name="T60" fmla="*/ 1266 w 3420"/>
                    <a:gd name="T61" fmla="*/ 565 h 3420"/>
                    <a:gd name="T62" fmla="*/ 1268 w 3420"/>
                    <a:gd name="T63" fmla="*/ 534 h 3420"/>
                    <a:gd name="T64" fmla="*/ 1328 w 3420"/>
                    <a:gd name="T65" fmla="*/ 565 h 3420"/>
                    <a:gd name="T66" fmla="*/ 1359 w 3420"/>
                    <a:gd name="T67" fmla="*/ 568 h 3420"/>
                    <a:gd name="T68" fmla="*/ 1406 w 3420"/>
                    <a:gd name="T69" fmla="*/ 615 h 3420"/>
                    <a:gd name="T70" fmla="*/ 1435 w 3420"/>
                    <a:gd name="T71" fmla="*/ 587 h 3420"/>
                    <a:gd name="T72" fmla="*/ 1442 w 3420"/>
                    <a:gd name="T73" fmla="*/ 583 h 3420"/>
                    <a:gd name="T74" fmla="*/ 1531 w 3420"/>
                    <a:gd name="T75" fmla="*/ 543 h 3420"/>
                    <a:gd name="T76" fmla="*/ 1484 w 3420"/>
                    <a:gd name="T77" fmla="*/ 541 h 3420"/>
                    <a:gd name="T78" fmla="*/ 1389 w 3420"/>
                    <a:gd name="T79" fmla="*/ 562 h 3420"/>
                    <a:gd name="T80" fmla="*/ 1363 w 3420"/>
                    <a:gd name="T81" fmla="*/ 554 h 3420"/>
                    <a:gd name="T82" fmla="*/ 1343 w 3420"/>
                    <a:gd name="T83" fmla="*/ 541 h 3420"/>
                    <a:gd name="T84" fmla="*/ 1341 w 3420"/>
                    <a:gd name="T85" fmla="*/ 517 h 3420"/>
                    <a:gd name="T86" fmla="*/ 1320 w 3420"/>
                    <a:gd name="T87" fmla="*/ 497 h 3420"/>
                    <a:gd name="T88" fmla="*/ 1394 w 3420"/>
                    <a:gd name="T89" fmla="*/ 484 h 3420"/>
                    <a:gd name="T90" fmla="*/ 1395 w 3420"/>
                    <a:gd name="T91" fmla="*/ 457 h 3420"/>
                    <a:gd name="T92" fmla="*/ 1440 w 3420"/>
                    <a:gd name="T93" fmla="*/ 466 h 3420"/>
                    <a:gd name="T94" fmla="*/ 1449 w 3420"/>
                    <a:gd name="T95" fmla="*/ 438 h 3420"/>
                    <a:gd name="T96" fmla="*/ 1495 w 3420"/>
                    <a:gd name="T97" fmla="*/ 431 h 3420"/>
                    <a:gd name="T98" fmla="*/ 1516 w 3420"/>
                    <a:gd name="T99" fmla="*/ 437 h 3420"/>
                    <a:gd name="T100" fmla="*/ 1560 w 3420"/>
                    <a:gd name="T101" fmla="*/ 427 h 3420"/>
                    <a:gd name="T102" fmla="*/ 1286 w 3420"/>
                    <a:gd name="T103" fmla="*/ 178 h 3420"/>
                    <a:gd name="T104" fmla="*/ 564 w 3420"/>
                    <a:gd name="T105" fmla="*/ 607 h 3420"/>
                    <a:gd name="T106" fmla="*/ 664 w 3420"/>
                    <a:gd name="T107" fmla="*/ 2908 h 3420"/>
                    <a:gd name="T108" fmla="*/ 1535 w 3420"/>
                    <a:gd name="T109" fmla="*/ 3291 h 3420"/>
                    <a:gd name="T110" fmla="*/ 2564 w 3420"/>
                    <a:gd name="T111" fmla="*/ 3052 h 3420"/>
                    <a:gd name="T112" fmla="*/ 3166 w 3420"/>
                    <a:gd name="T113" fmla="*/ 1070 h 3420"/>
                    <a:gd name="T114" fmla="*/ 2141 w 3420"/>
                    <a:gd name="T115" fmla="*/ 179 h 3420"/>
                    <a:gd name="T116" fmla="*/ 2328 w 3420"/>
                    <a:gd name="T117" fmla="*/ 115 h 3420"/>
                    <a:gd name="T118" fmla="*/ 2989 w 3420"/>
                    <a:gd name="T119" fmla="*/ 2845 h 3420"/>
                    <a:gd name="T120" fmla="*/ 200 w 3420"/>
                    <a:gd name="T121" fmla="*/ 2514 h 3420"/>
                    <a:gd name="T122" fmla="*/ 1496 w 3420"/>
                    <a:gd name="T123" fmla="*/ 14 h 3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0" h="3420">
                      <a:moveTo>
                        <a:pt x="1591" y="420"/>
                      </a:moveTo>
                      <a:lnTo>
                        <a:pt x="1595" y="421"/>
                      </a:lnTo>
                      <a:lnTo>
                        <a:pt x="1601" y="422"/>
                      </a:lnTo>
                      <a:lnTo>
                        <a:pt x="1605" y="424"/>
                      </a:lnTo>
                      <a:lnTo>
                        <a:pt x="1607" y="426"/>
                      </a:lnTo>
                      <a:lnTo>
                        <a:pt x="1610" y="426"/>
                      </a:lnTo>
                      <a:lnTo>
                        <a:pt x="1614" y="427"/>
                      </a:lnTo>
                      <a:lnTo>
                        <a:pt x="1617" y="427"/>
                      </a:lnTo>
                      <a:lnTo>
                        <a:pt x="1622" y="427"/>
                      </a:lnTo>
                      <a:lnTo>
                        <a:pt x="1625" y="429"/>
                      </a:lnTo>
                      <a:lnTo>
                        <a:pt x="1628" y="429"/>
                      </a:lnTo>
                      <a:lnTo>
                        <a:pt x="1630" y="430"/>
                      </a:lnTo>
                      <a:lnTo>
                        <a:pt x="1633" y="430"/>
                      </a:lnTo>
                      <a:lnTo>
                        <a:pt x="1636" y="431"/>
                      </a:lnTo>
                      <a:lnTo>
                        <a:pt x="1642" y="431"/>
                      </a:lnTo>
                      <a:lnTo>
                        <a:pt x="1648" y="433"/>
                      </a:lnTo>
                      <a:lnTo>
                        <a:pt x="1653" y="435"/>
                      </a:lnTo>
                      <a:lnTo>
                        <a:pt x="1656" y="435"/>
                      </a:lnTo>
                      <a:lnTo>
                        <a:pt x="1657" y="436"/>
                      </a:lnTo>
                      <a:lnTo>
                        <a:pt x="1657" y="438"/>
                      </a:lnTo>
                      <a:lnTo>
                        <a:pt x="1655" y="440"/>
                      </a:lnTo>
                      <a:lnTo>
                        <a:pt x="1653" y="441"/>
                      </a:lnTo>
                      <a:lnTo>
                        <a:pt x="1651" y="442"/>
                      </a:lnTo>
                      <a:lnTo>
                        <a:pt x="1649" y="443"/>
                      </a:lnTo>
                      <a:lnTo>
                        <a:pt x="1647" y="444"/>
                      </a:lnTo>
                      <a:lnTo>
                        <a:pt x="1646" y="445"/>
                      </a:lnTo>
                      <a:lnTo>
                        <a:pt x="1645" y="445"/>
                      </a:lnTo>
                      <a:lnTo>
                        <a:pt x="1644" y="446"/>
                      </a:lnTo>
                      <a:lnTo>
                        <a:pt x="1642" y="447"/>
                      </a:lnTo>
                      <a:lnTo>
                        <a:pt x="1640" y="448"/>
                      </a:lnTo>
                      <a:lnTo>
                        <a:pt x="1639" y="448"/>
                      </a:lnTo>
                      <a:lnTo>
                        <a:pt x="1638" y="448"/>
                      </a:lnTo>
                      <a:lnTo>
                        <a:pt x="1637" y="448"/>
                      </a:lnTo>
                      <a:lnTo>
                        <a:pt x="1637" y="449"/>
                      </a:lnTo>
                      <a:lnTo>
                        <a:pt x="1638" y="451"/>
                      </a:lnTo>
                      <a:lnTo>
                        <a:pt x="1640" y="451"/>
                      </a:lnTo>
                      <a:lnTo>
                        <a:pt x="1641" y="451"/>
                      </a:lnTo>
                      <a:lnTo>
                        <a:pt x="1644" y="451"/>
                      </a:lnTo>
                      <a:lnTo>
                        <a:pt x="1645" y="451"/>
                      </a:lnTo>
                      <a:lnTo>
                        <a:pt x="1647" y="451"/>
                      </a:lnTo>
                      <a:lnTo>
                        <a:pt x="1648" y="451"/>
                      </a:lnTo>
                      <a:lnTo>
                        <a:pt x="1648" y="451"/>
                      </a:lnTo>
                      <a:lnTo>
                        <a:pt x="1648" y="451"/>
                      </a:lnTo>
                      <a:lnTo>
                        <a:pt x="1649" y="451"/>
                      </a:lnTo>
                      <a:lnTo>
                        <a:pt x="1650" y="448"/>
                      </a:lnTo>
                      <a:lnTo>
                        <a:pt x="1653" y="447"/>
                      </a:lnTo>
                      <a:lnTo>
                        <a:pt x="1656" y="447"/>
                      </a:lnTo>
                      <a:lnTo>
                        <a:pt x="1658" y="446"/>
                      </a:lnTo>
                      <a:lnTo>
                        <a:pt x="1660" y="445"/>
                      </a:lnTo>
                      <a:lnTo>
                        <a:pt x="1662" y="444"/>
                      </a:lnTo>
                      <a:lnTo>
                        <a:pt x="1663" y="442"/>
                      </a:lnTo>
                      <a:lnTo>
                        <a:pt x="1666" y="441"/>
                      </a:lnTo>
                      <a:lnTo>
                        <a:pt x="1669" y="441"/>
                      </a:lnTo>
                      <a:lnTo>
                        <a:pt x="1672" y="442"/>
                      </a:lnTo>
                      <a:lnTo>
                        <a:pt x="1675" y="444"/>
                      </a:lnTo>
                      <a:lnTo>
                        <a:pt x="1678" y="445"/>
                      </a:lnTo>
                      <a:lnTo>
                        <a:pt x="1679" y="445"/>
                      </a:lnTo>
                      <a:lnTo>
                        <a:pt x="1679" y="445"/>
                      </a:lnTo>
                      <a:lnTo>
                        <a:pt x="1679" y="444"/>
                      </a:lnTo>
                      <a:lnTo>
                        <a:pt x="1679" y="443"/>
                      </a:lnTo>
                      <a:lnTo>
                        <a:pt x="1678" y="442"/>
                      </a:lnTo>
                      <a:lnTo>
                        <a:pt x="1678" y="441"/>
                      </a:lnTo>
                      <a:lnTo>
                        <a:pt x="1678" y="440"/>
                      </a:lnTo>
                      <a:lnTo>
                        <a:pt x="1678" y="437"/>
                      </a:lnTo>
                      <a:lnTo>
                        <a:pt x="1678" y="437"/>
                      </a:lnTo>
                      <a:lnTo>
                        <a:pt x="1680" y="436"/>
                      </a:lnTo>
                      <a:lnTo>
                        <a:pt x="1681" y="437"/>
                      </a:lnTo>
                      <a:lnTo>
                        <a:pt x="1683" y="437"/>
                      </a:lnTo>
                      <a:lnTo>
                        <a:pt x="1685" y="438"/>
                      </a:lnTo>
                      <a:lnTo>
                        <a:pt x="1688" y="440"/>
                      </a:lnTo>
                      <a:lnTo>
                        <a:pt x="1689" y="442"/>
                      </a:lnTo>
                      <a:lnTo>
                        <a:pt x="1689" y="442"/>
                      </a:lnTo>
                      <a:lnTo>
                        <a:pt x="1690" y="443"/>
                      </a:lnTo>
                      <a:lnTo>
                        <a:pt x="1690" y="444"/>
                      </a:lnTo>
                      <a:lnTo>
                        <a:pt x="1692" y="444"/>
                      </a:lnTo>
                      <a:lnTo>
                        <a:pt x="1693" y="444"/>
                      </a:lnTo>
                      <a:lnTo>
                        <a:pt x="1695" y="442"/>
                      </a:lnTo>
                      <a:lnTo>
                        <a:pt x="1697" y="442"/>
                      </a:lnTo>
                      <a:lnTo>
                        <a:pt x="1702" y="442"/>
                      </a:lnTo>
                      <a:lnTo>
                        <a:pt x="1704" y="442"/>
                      </a:lnTo>
                      <a:lnTo>
                        <a:pt x="1705" y="443"/>
                      </a:lnTo>
                      <a:lnTo>
                        <a:pt x="1704" y="444"/>
                      </a:lnTo>
                      <a:lnTo>
                        <a:pt x="1703" y="445"/>
                      </a:lnTo>
                      <a:lnTo>
                        <a:pt x="1703" y="446"/>
                      </a:lnTo>
                      <a:lnTo>
                        <a:pt x="1702" y="447"/>
                      </a:lnTo>
                      <a:lnTo>
                        <a:pt x="1702" y="448"/>
                      </a:lnTo>
                      <a:lnTo>
                        <a:pt x="1704" y="451"/>
                      </a:lnTo>
                      <a:lnTo>
                        <a:pt x="1706" y="452"/>
                      </a:lnTo>
                      <a:lnTo>
                        <a:pt x="1708" y="453"/>
                      </a:lnTo>
                      <a:lnTo>
                        <a:pt x="1711" y="455"/>
                      </a:lnTo>
                      <a:lnTo>
                        <a:pt x="1712" y="456"/>
                      </a:lnTo>
                      <a:lnTo>
                        <a:pt x="1713" y="459"/>
                      </a:lnTo>
                      <a:lnTo>
                        <a:pt x="1713" y="460"/>
                      </a:lnTo>
                      <a:lnTo>
                        <a:pt x="1713" y="462"/>
                      </a:lnTo>
                      <a:lnTo>
                        <a:pt x="1713" y="462"/>
                      </a:lnTo>
                      <a:lnTo>
                        <a:pt x="1715" y="464"/>
                      </a:lnTo>
                      <a:lnTo>
                        <a:pt x="1718" y="465"/>
                      </a:lnTo>
                      <a:lnTo>
                        <a:pt x="1723" y="466"/>
                      </a:lnTo>
                      <a:lnTo>
                        <a:pt x="1726" y="466"/>
                      </a:lnTo>
                      <a:lnTo>
                        <a:pt x="1728" y="466"/>
                      </a:lnTo>
                      <a:lnTo>
                        <a:pt x="1730" y="466"/>
                      </a:lnTo>
                      <a:lnTo>
                        <a:pt x="1733" y="467"/>
                      </a:lnTo>
                      <a:lnTo>
                        <a:pt x="1734" y="468"/>
                      </a:lnTo>
                      <a:lnTo>
                        <a:pt x="1736" y="470"/>
                      </a:lnTo>
                      <a:lnTo>
                        <a:pt x="1739" y="471"/>
                      </a:lnTo>
                      <a:lnTo>
                        <a:pt x="1741" y="473"/>
                      </a:lnTo>
                      <a:lnTo>
                        <a:pt x="1744" y="474"/>
                      </a:lnTo>
                      <a:lnTo>
                        <a:pt x="1745" y="477"/>
                      </a:lnTo>
                      <a:lnTo>
                        <a:pt x="1746" y="477"/>
                      </a:lnTo>
                      <a:lnTo>
                        <a:pt x="1746" y="478"/>
                      </a:lnTo>
                      <a:lnTo>
                        <a:pt x="1747" y="479"/>
                      </a:lnTo>
                      <a:lnTo>
                        <a:pt x="1748" y="480"/>
                      </a:lnTo>
                      <a:lnTo>
                        <a:pt x="1749" y="481"/>
                      </a:lnTo>
                      <a:lnTo>
                        <a:pt x="1749" y="483"/>
                      </a:lnTo>
                      <a:lnTo>
                        <a:pt x="1747" y="484"/>
                      </a:lnTo>
                      <a:lnTo>
                        <a:pt x="1745" y="485"/>
                      </a:lnTo>
                      <a:lnTo>
                        <a:pt x="1744" y="485"/>
                      </a:lnTo>
                      <a:lnTo>
                        <a:pt x="1743" y="486"/>
                      </a:lnTo>
                      <a:lnTo>
                        <a:pt x="1740" y="487"/>
                      </a:lnTo>
                      <a:lnTo>
                        <a:pt x="1738" y="488"/>
                      </a:lnTo>
                      <a:lnTo>
                        <a:pt x="1736" y="490"/>
                      </a:lnTo>
                      <a:lnTo>
                        <a:pt x="1735" y="491"/>
                      </a:lnTo>
                      <a:lnTo>
                        <a:pt x="1733" y="492"/>
                      </a:lnTo>
                      <a:lnTo>
                        <a:pt x="1732" y="492"/>
                      </a:lnTo>
                      <a:lnTo>
                        <a:pt x="1729" y="492"/>
                      </a:lnTo>
                      <a:lnTo>
                        <a:pt x="1728" y="494"/>
                      </a:lnTo>
                      <a:lnTo>
                        <a:pt x="1726" y="495"/>
                      </a:lnTo>
                      <a:lnTo>
                        <a:pt x="1723" y="497"/>
                      </a:lnTo>
                      <a:lnTo>
                        <a:pt x="1718" y="499"/>
                      </a:lnTo>
                      <a:lnTo>
                        <a:pt x="1715" y="501"/>
                      </a:lnTo>
                      <a:lnTo>
                        <a:pt x="1713" y="501"/>
                      </a:lnTo>
                      <a:lnTo>
                        <a:pt x="1711" y="502"/>
                      </a:lnTo>
                      <a:lnTo>
                        <a:pt x="1710" y="502"/>
                      </a:lnTo>
                      <a:lnTo>
                        <a:pt x="1708" y="505"/>
                      </a:lnTo>
                      <a:lnTo>
                        <a:pt x="1706" y="506"/>
                      </a:lnTo>
                      <a:lnTo>
                        <a:pt x="1703" y="506"/>
                      </a:lnTo>
                      <a:lnTo>
                        <a:pt x="1700" y="505"/>
                      </a:lnTo>
                      <a:lnTo>
                        <a:pt x="1697" y="505"/>
                      </a:lnTo>
                      <a:lnTo>
                        <a:pt x="1694" y="505"/>
                      </a:lnTo>
                      <a:lnTo>
                        <a:pt x="1693" y="506"/>
                      </a:lnTo>
                      <a:lnTo>
                        <a:pt x="1693" y="510"/>
                      </a:lnTo>
                      <a:lnTo>
                        <a:pt x="1691" y="510"/>
                      </a:lnTo>
                      <a:lnTo>
                        <a:pt x="1689" y="511"/>
                      </a:lnTo>
                      <a:lnTo>
                        <a:pt x="1685" y="510"/>
                      </a:lnTo>
                      <a:lnTo>
                        <a:pt x="1682" y="510"/>
                      </a:lnTo>
                      <a:lnTo>
                        <a:pt x="1680" y="510"/>
                      </a:lnTo>
                      <a:lnTo>
                        <a:pt x="1660" y="510"/>
                      </a:lnTo>
                      <a:lnTo>
                        <a:pt x="1659" y="510"/>
                      </a:lnTo>
                      <a:lnTo>
                        <a:pt x="1658" y="510"/>
                      </a:lnTo>
                      <a:lnTo>
                        <a:pt x="1655" y="510"/>
                      </a:lnTo>
                      <a:lnTo>
                        <a:pt x="1652" y="510"/>
                      </a:lnTo>
                      <a:lnTo>
                        <a:pt x="1649" y="510"/>
                      </a:lnTo>
                      <a:lnTo>
                        <a:pt x="1648" y="511"/>
                      </a:lnTo>
                      <a:lnTo>
                        <a:pt x="1647" y="512"/>
                      </a:lnTo>
                      <a:lnTo>
                        <a:pt x="1649" y="512"/>
                      </a:lnTo>
                      <a:lnTo>
                        <a:pt x="1651" y="513"/>
                      </a:lnTo>
                      <a:lnTo>
                        <a:pt x="1653" y="513"/>
                      </a:lnTo>
                      <a:lnTo>
                        <a:pt x="1656" y="514"/>
                      </a:lnTo>
                      <a:lnTo>
                        <a:pt x="1658" y="514"/>
                      </a:lnTo>
                      <a:lnTo>
                        <a:pt x="1660" y="514"/>
                      </a:lnTo>
                      <a:lnTo>
                        <a:pt x="1662" y="514"/>
                      </a:lnTo>
                      <a:lnTo>
                        <a:pt x="1663" y="516"/>
                      </a:lnTo>
                      <a:lnTo>
                        <a:pt x="1664" y="517"/>
                      </a:lnTo>
                      <a:lnTo>
                        <a:pt x="1664" y="518"/>
                      </a:lnTo>
                      <a:lnTo>
                        <a:pt x="1663" y="519"/>
                      </a:lnTo>
                      <a:lnTo>
                        <a:pt x="1662" y="520"/>
                      </a:lnTo>
                      <a:lnTo>
                        <a:pt x="1662" y="521"/>
                      </a:lnTo>
                      <a:lnTo>
                        <a:pt x="1662" y="525"/>
                      </a:lnTo>
                      <a:lnTo>
                        <a:pt x="1675" y="523"/>
                      </a:lnTo>
                      <a:lnTo>
                        <a:pt x="1686" y="521"/>
                      </a:lnTo>
                      <a:lnTo>
                        <a:pt x="1689" y="519"/>
                      </a:lnTo>
                      <a:lnTo>
                        <a:pt x="1692" y="518"/>
                      </a:lnTo>
                      <a:lnTo>
                        <a:pt x="1694" y="516"/>
                      </a:lnTo>
                      <a:lnTo>
                        <a:pt x="1697" y="514"/>
                      </a:lnTo>
                      <a:lnTo>
                        <a:pt x="1702" y="514"/>
                      </a:lnTo>
                      <a:lnTo>
                        <a:pt x="1705" y="516"/>
                      </a:lnTo>
                      <a:lnTo>
                        <a:pt x="1707" y="517"/>
                      </a:lnTo>
                      <a:lnTo>
                        <a:pt x="1708" y="517"/>
                      </a:lnTo>
                      <a:lnTo>
                        <a:pt x="1708" y="519"/>
                      </a:lnTo>
                      <a:lnTo>
                        <a:pt x="1708" y="521"/>
                      </a:lnTo>
                      <a:lnTo>
                        <a:pt x="1704" y="524"/>
                      </a:lnTo>
                      <a:lnTo>
                        <a:pt x="1699" y="528"/>
                      </a:lnTo>
                      <a:lnTo>
                        <a:pt x="1693" y="530"/>
                      </a:lnTo>
                      <a:lnTo>
                        <a:pt x="1681" y="539"/>
                      </a:lnTo>
                      <a:lnTo>
                        <a:pt x="1671" y="547"/>
                      </a:lnTo>
                      <a:lnTo>
                        <a:pt x="1662" y="551"/>
                      </a:lnTo>
                      <a:lnTo>
                        <a:pt x="1653" y="554"/>
                      </a:lnTo>
                      <a:lnTo>
                        <a:pt x="1647" y="558"/>
                      </a:lnTo>
                      <a:lnTo>
                        <a:pt x="1644" y="561"/>
                      </a:lnTo>
                      <a:lnTo>
                        <a:pt x="1641" y="563"/>
                      </a:lnTo>
                      <a:lnTo>
                        <a:pt x="1640" y="565"/>
                      </a:lnTo>
                      <a:lnTo>
                        <a:pt x="1638" y="567"/>
                      </a:lnTo>
                      <a:lnTo>
                        <a:pt x="1638" y="568"/>
                      </a:lnTo>
                      <a:lnTo>
                        <a:pt x="1638" y="569"/>
                      </a:lnTo>
                      <a:lnTo>
                        <a:pt x="1639" y="572"/>
                      </a:lnTo>
                      <a:lnTo>
                        <a:pt x="1638" y="573"/>
                      </a:lnTo>
                      <a:lnTo>
                        <a:pt x="1638" y="573"/>
                      </a:lnTo>
                      <a:lnTo>
                        <a:pt x="1636" y="574"/>
                      </a:lnTo>
                      <a:lnTo>
                        <a:pt x="1634" y="573"/>
                      </a:lnTo>
                      <a:lnTo>
                        <a:pt x="1631" y="572"/>
                      </a:lnTo>
                      <a:lnTo>
                        <a:pt x="1629" y="569"/>
                      </a:lnTo>
                      <a:lnTo>
                        <a:pt x="1627" y="569"/>
                      </a:lnTo>
                      <a:lnTo>
                        <a:pt x="1625" y="571"/>
                      </a:lnTo>
                      <a:lnTo>
                        <a:pt x="1624" y="572"/>
                      </a:lnTo>
                      <a:lnTo>
                        <a:pt x="1623" y="574"/>
                      </a:lnTo>
                      <a:lnTo>
                        <a:pt x="1624" y="575"/>
                      </a:lnTo>
                      <a:lnTo>
                        <a:pt x="1626" y="577"/>
                      </a:lnTo>
                      <a:lnTo>
                        <a:pt x="1628" y="578"/>
                      </a:lnTo>
                      <a:lnTo>
                        <a:pt x="1631" y="580"/>
                      </a:lnTo>
                      <a:lnTo>
                        <a:pt x="1633" y="582"/>
                      </a:lnTo>
                      <a:lnTo>
                        <a:pt x="1633" y="583"/>
                      </a:lnTo>
                      <a:lnTo>
                        <a:pt x="1633" y="584"/>
                      </a:lnTo>
                      <a:lnTo>
                        <a:pt x="1631" y="585"/>
                      </a:lnTo>
                      <a:lnTo>
                        <a:pt x="1629" y="585"/>
                      </a:lnTo>
                      <a:lnTo>
                        <a:pt x="1628" y="586"/>
                      </a:lnTo>
                      <a:lnTo>
                        <a:pt x="1627" y="587"/>
                      </a:lnTo>
                      <a:lnTo>
                        <a:pt x="1626" y="588"/>
                      </a:lnTo>
                      <a:lnTo>
                        <a:pt x="1626" y="590"/>
                      </a:lnTo>
                      <a:lnTo>
                        <a:pt x="1626" y="591"/>
                      </a:lnTo>
                      <a:lnTo>
                        <a:pt x="1625" y="594"/>
                      </a:lnTo>
                      <a:lnTo>
                        <a:pt x="1623" y="594"/>
                      </a:lnTo>
                      <a:lnTo>
                        <a:pt x="1619" y="595"/>
                      </a:lnTo>
                      <a:lnTo>
                        <a:pt x="1618" y="596"/>
                      </a:lnTo>
                      <a:lnTo>
                        <a:pt x="1616" y="596"/>
                      </a:lnTo>
                      <a:lnTo>
                        <a:pt x="1614" y="597"/>
                      </a:lnTo>
                      <a:lnTo>
                        <a:pt x="1613" y="598"/>
                      </a:lnTo>
                      <a:lnTo>
                        <a:pt x="1612" y="599"/>
                      </a:lnTo>
                      <a:lnTo>
                        <a:pt x="1612" y="600"/>
                      </a:lnTo>
                      <a:lnTo>
                        <a:pt x="1612" y="603"/>
                      </a:lnTo>
                      <a:lnTo>
                        <a:pt x="1612" y="603"/>
                      </a:lnTo>
                      <a:lnTo>
                        <a:pt x="1610" y="604"/>
                      </a:lnTo>
                      <a:lnTo>
                        <a:pt x="1610" y="605"/>
                      </a:lnTo>
                      <a:lnTo>
                        <a:pt x="1610" y="606"/>
                      </a:lnTo>
                      <a:lnTo>
                        <a:pt x="1609" y="608"/>
                      </a:lnTo>
                      <a:lnTo>
                        <a:pt x="1609" y="609"/>
                      </a:lnTo>
                      <a:lnTo>
                        <a:pt x="1607" y="609"/>
                      </a:lnTo>
                      <a:lnTo>
                        <a:pt x="1604" y="609"/>
                      </a:lnTo>
                      <a:lnTo>
                        <a:pt x="1601" y="608"/>
                      </a:lnTo>
                      <a:lnTo>
                        <a:pt x="1597" y="608"/>
                      </a:lnTo>
                      <a:lnTo>
                        <a:pt x="1594" y="609"/>
                      </a:lnTo>
                      <a:lnTo>
                        <a:pt x="1592" y="610"/>
                      </a:lnTo>
                      <a:lnTo>
                        <a:pt x="1590" y="611"/>
                      </a:lnTo>
                      <a:lnTo>
                        <a:pt x="1585" y="611"/>
                      </a:lnTo>
                      <a:lnTo>
                        <a:pt x="1580" y="612"/>
                      </a:lnTo>
                      <a:lnTo>
                        <a:pt x="1575" y="617"/>
                      </a:lnTo>
                      <a:lnTo>
                        <a:pt x="1571" y="619"/>
                      </a:lnTo>
                      <a:lnTo>
                        <a:pt x="1564" y="620"/>
                      </a:lnTo>
                      <a:lnTo>
                        <a:pt x="1560" y="619"/>
                      </a:lnTo>
                      <a:lnTo>
                        <a:pt x="1558" y="619"/>
                      </a:lnTo>
                      <a:lnTo>
                        <a:pt x="1557" y="619"/>
                      </a:lnTo>
                      <a:lnTo>
                        <a:pt x="1555" y="620"/>
                      </a:lnTo>
                      <a:lnTo>
                        <a:pt x="1554" y="620"/>
                      </a:lnTo>
                      <a:lnTo>
                        <a:pt x="1553" y="621"/>
                      </a:lnTo>
                      <a:lnTo>
                        <a:pt x="1552" y="622"/>
                      </a:lnTo>
                      <a:lnTo>
                        <a:pt x="1551" y="623"/>
                      </a:lnTo>
                      <a:lnTo>
                        <a:pt x="1549" y="625"/>
                      </a:lnTo>
                      <a:lnTo>
                        <a:pt x="1547" y="625"/>
                      </a:lnTo>
                      <a:lnTo>
                        <a:pt x="1542" y="625"/>
                      </a:lnTo>
                      <a:lnTo>
                        <a:pt x="1539" y="623"/>
                      </a:lnTo>
                      <a:lnTo>
                        <a:pt x="1537" y="623"/>
                      </a:lnTo>
                      <a:lnTo>
                        <a:pt x="1533" y="625"/>
                      </a:lnTo>
                      <a:lnTo>
                        <a:pt x="1531" y="627"/>
                      </a:lnTo>
                      <a:lnTo>
                        <a:pt x="1530" y="627"/>
                      </a:lnTo>
                      <a:lnTo>
                        <a:pt x="1530" y="628"/>
                      </a:lnTo>
                      <a:lnTo>
                        <a:pt x="1531" y="629"/>
                      </a:lnTo>
                      <a:lnTo>
                        <a:pt x="1533" y="630"/>
                      </a:lnTo>
                      <a:lnTo>
                        <a:pt x="1536" y="631"/>
                      </a:lnTo>
                      <a:lnTo>
                        <a:pt x="1543" y="630"/>
                      </a:lnTo>
                      <a:lnTo>
                        <a:pt x="1552" y="629"/>
                      </a:lnTo>
                      <a:lnTo>
                        <a:pt x="1562" y="629"/>
                      </a:lnTo>
                      <a:lnTo>
                        <a:pt x="1565" y="629"/>
                      </a:lnTo>
                      <a:lnTo>
                        <a:pt x="1568" y="630"/>
                      </a:lnTo>
                      <a:lnTo>
                        <a:pt x="1570" y="632"/>
                      </a:lnTo>
                      <a:lnTo>
                        <a:pt x="1570" y="634"/>
                      </a:lnTo>
                      <a:lnTo>
                        <a:pt x="1570" y="637"/>
                      </a:lnTo>
                      <a:lnTo>
                        <a:pt x="1568" y="638"/>
                      </a:lnTo>
                      <a:lnTo>
                        <a:pt x="1565" y="639"/>
                      </a:lnTo>
                      <a:lnTo>
                        <a:pt x="1562" y="640"/>
                      </a:lnTo>
                      <a:lnTo>
                        <a:pt x="1558" y="639"/>
                      </a:lnTo>
                      <a:lnTo>
                        <a:pt x="1553" y="638"/>
                      </a:lnTo>
                      <a:lnTo>
                        <a:pt x="1549" y="636"/>
                      </a:lnTo>
                      <a:lnTo>
                        <a:pt x="1547" y="636"/>
                      </a:lnTo>
                      <a:lnTo>
                        <a:pt x="1546" y="637"/>
                      </a:lnTo>
                      <a:lnTo>
                        <a:pt x="1546" y="638"/>
                      </a:lnTo>
                      <a:lnTo>
                        <a:pt x="1546" y="639"/>
                      </a:lnTo>
                      <a:lnTo>
                        <a:pt x="1547" y="640"/>
                      </a:lnTo>
                      <a:lnTo>
                        <a:pt x="1549" y="641"/>
                      </a:lnTo>
                      <a:lnTo>
                        <a:pt x="1551" y="642"/>
                      </a:lnTo>
                      <a:lnTo>
                        <a:pt x="1553" y="642"/>
                      </a:lnTo>
                      <a:lnTo>
                        <a:pt x="1554" y="643"/>
                      </a:lnTo>
                      <a:lnTo>
                        <a:pt x="1555" y="644"/>
                      </a:lnTo>
                      <a:lnTo>
                        <a:pt x="1558" y="645"/>
                      </a:lnTo>
                      <a:lnTo>
                        <a:pt x="1560" y="647"/>
                      </a:lnTo>
                      <a:lnTo>
                        <a:pt x="1563" y="649"/>
                      </a:lnTo>
                      <a:lnTo>
                        <a:pt x="1565" y="651"/>
                      </a:lnTo>
                      <a:lnTo>
                        <a:pt x="1566" y="653"/>
                      </a:lnTo>
                      <a:lnTo>
                        <a:pt x="1565" y="655"/>
                      </a:lnTo>
                      <a:lnTo>
                        <a:pt x="1565" y="658"/>
                      </a:lnTo>
                      <a:lnTo>
                        <a:pt x="1565" y="660"/>
                      </a:lnTo>
                      <a:lnTo>
                        <a:pt x="1565" y="662"/>
                      </a:lnTo>
                      <a:lnTo>
                        <a:pt x="1564" y="665"/>
                      </a:lnTo>
                      <a:lnTo>
                        <a:pt x="1562" y="666"/>
                      </a:lnTo>
                      <a:lnTo>
                        <a:pt x="1560" y="667"/>
                      </a:lnTo>
                      <a:lnTo>
                        <a:pt x="1558" y="669"/>
                      </a:lnTo>
                      <a:lnTo>
                        <a:pt x="1558" y="670"/>
                      </a:lnTo>
                      <a:lnTo>
                        <a:pt x="1558" y="670"/>
                      </a:lnTo>
                      <a:lnTo>
                        <a:pt x="1560" y="671"/>
                      </a:lnTo>
                      <a:lnTo>
                        <a:pt x="1562" y="672"/>
                      </a:lnTo>
                      <a:lnTo>
                        <a:pt x="1564" y="673"/>
                      </a:lnTo>
                      <a:lnTo>
                        <a:pt x="1566" y="673"/>
                      </a:lnTo>
                      <a:lnTo>
                        <a:pt x="1568" y="675"/>
                      </a:lnTo>
                      <a:lnTo>
                        <a:pt x="1568" y="676"/>
                      </a:lnTo>
                      <a:lnTo>
                        <a:pt x="1566" y="677"/>
                      </a:lnTo>
                      <a:lnTo>
                        <a:pt x="1564" y="678"/>
                      </a:lnTo>
                      <a:lnTo>
                        <a:pt x="1562" y="680"/>
                      </a:lnTo>
                      <a:lnTo>
                        <a:pt x="1560" y="682"/>
                      </a:lnTo>
                      <a:lnTo>
                        <a:pt x="1560" y="683"/>
                      </a:lnTo>
                      <a:lnTo>
                        <a:pt x="1560" y="684"/>
                      </a:lnTo>
                      <a:lnTo>
                        <a:pt x="1560" y="686"/>
                      </a:lnTo>
                      <a:lnTo>
                        <a:pt x="1559" y="687"/>
                      </a:lnTo>
                      <a:lnTo>
                        <a:pt x="1558" y="688"/>
                      </a:lnTo>
                      <a:lnTo>
                        <a:pt x="1552" y="691"/>
                      </a:lnTo>
                      <a:lnTo>
                        <a:pt x="1547" y="693"/>
                      </a:lnTo>
                      <a:lnTo>
                        <a:pt x="1540" y="695"/>
                      </a:lnTo>
                      <a:lnTo>
                        <a:pt x="1536" y="695"/>
                      </a:lnTo>
                      <a:lnTo>
                        <a:pt x="1532" y="694"/>
                      </a:lnTo>
                      <a:lnTo>
                        <a:pt x="1528" y="692"/>
                      </a:lnTo>
                      <a:lnTo>
                        <a:pt x="1525" y="691"/>
                      </a:lnTo>
                      <a:lnTo>
                        <a:pt x="1520" y="691"/>
                      </a:lnTo>
                      <a:lnTo>
                        <a:pt x="1516" y="692"/>
                      </a:lnTo>
                      <a:lnTo>
                        <a:pt x="1511" y="693"/>
                      </a:lnTo>
                      <a:lnTo>
                        <a:pt x="1510" y="695"/>
                      </a:lnTo>
                      <a:lnTo>
                        <a:pt x="1510" y="697"/>
                      </a:lnTo>
                      <a:lnTo>
                        <a:pt x="1511" y="699"/>
                      </a:lnTo>
                      <a:lnTo>
                        <a:pt x="1514" y="702"/>
                      </a:lnTo>
                      <a:lnTo>
                        <a:pt x="1516" y="704"/>
                      </a:lnTo>
                      <a:lnTo>
                        <a:pt x="1519" y="709"/>
                      </a:lnTo>
                      <a:lnTo>
                        <a:pt x="1519" y="715"/>
                      </a:lnTo>
                      <a:lnTo>
                        <a:pt x="1516" y="721"/>
                      </a:lnTo>
                      <a:lnTo>
                        <a:pt x="1511" y="726"/>
                      </a:lnTo>
                      <a:lnTo>
                        <a:pt x="1505" y="728"/>
                      </a:lnTo>
                      <a:lnTo>
                        <a:pt x="1496" y="728"/>
                      </a:lnTo>
                      <a:lnTo>
                        <a:pt x="1487" y="728"/>
                      </a:lnTo>
                      <a:lnTo>
                        <a:pt x="1479" y="728"/>
                      </a:lnTo>
                      <a:lnTo>
                        <a:pt x="1473" y="727"/>
                      </a:lnTo>
                      <a:lnTo>
                        <a:pt x="1465" y="726"/>
                      </a:lnTo>
                      <a:lnTo>
                        <a:pt x="1463" y="726"/>
                      </a:lnTo>
                      <a:lnTo>
                        <a:pt x="1461" y="727"/>
                      </a:lnTo>
                      <a:lnTo>
                        <a:pt x="1460" y="729"/>
                      </a:lnTo>
                      <a:lnTo>
                        <a:pt x="1459" y="730"/>
                      </a:lnTo>
                      <a:lnTo>
                        <a:pt x="1460" y="732"/>
                      </a:lnTo>
                      <a:lnTo>
                        <a:pt x="1461" y="732"/>
                      </a:lnTo>
                      <a:lnTo>
                        <a:pt x="1462" y="732"/>
                      </a:lnTo>
                      <a:lnTo>
                        <a:pt x="1464" y="732"/>
                      </a:lnTo>
                      <a:lnTo>
                        <a:pt x="1466" y="731"/>
                      </a:lnTo>
                      <a:lnTo>
                        <a:pt x="1467" y="730"/>
                      </a:lnTo>
                      <a:lnTo>
                        <a:pt x="1479" y="729"/>
                      </a:lnTo>
                      <a:lnTo>
                        <a:pt x="1492" y="731"/>
                      </a:lnTo>
                      <a:lnTo>
                        <a:pt x="1500" y="735"/>
                      </a:lnTo>
                      <a:lnTo>
                        <a:pt x="1504" y="739"/>
                      </a:lnTo>
                      <a:lnTo>
                        <a:pt x="1504" y="748"/>
                      </a:lnTo>
                      <a:lnTo>
                        <a:pt x="1507" y="752"/>
                      </a:lnTo>
                      <a:lnTo>
                        <a:pt x="1508" y="752"/>
                      </a:lnTo>
                      <a:lnTo>
                        <a:pt x="1509" y="752"/>
                      </a:lnTo>
                      <a:lnTo>
                        <a:pt x="1510" y="750"/>
                      </a:lnTo>
                      <a:lnTo>
                        <a:pt x="1511" y="749"/>
                      </a:lnTo>
                      <a:lnTo>
                        <a:pt x="1511" y="747"/>
                      </a:lnTo>
                      <a:lnTo>
                        <a:pt x="1511" y="745"/>
                      </a:lnTo>
                      <a:lnTo>
                        <a:pt x="1511" y="743"/>
                      </a:lnTo>
                      <a:lnTo>
                        <a:pt x="1514" y="742"/>
                      </a:lnTo>
                      <a:lnTo>
                        <a:pt x="1516" y="741"/>
                      </a:lnTo>
                      <a:lnTo>
                        <a:pt x="1519" y="741"/>
                      </a:lnTo>
                      <a:lnTo>
                        <a:pt x="1522" y="741"/>
                      </a:lnTo>
                      <a:lnTo>
                        <a:pt x="1528" y="746"/>
                      </a:lnTo>
                      <a:lnTo>
                        <a:pt x="1530" y="751"/>
                      </a:lnTo>
                      <a:lnTo>
                        <a:pt x="1530" y="757"/>
                      </a:lnTo>
                      <a:lnTo>
                        <a:pt x="1527" y="761"/>
                      </a:lnTo>
                      <a:lnTo>
                        <a:pt x="1520" y="764"/>
                      </a:lnTo>
                      <a:lnTo>
                        <a:pt x="1511" y="767"/>
                      </a:lnTo>
                      <a:lnTo>
                        <a:pt x="1503" y="770"/>
                      </a:lnTo>
                      <a:lnTo>
                        <a:pt x="1496" y="774"/>
                      </a:lnTo>
                      <a:lnTo>
                        <a:pt x="1493" y="778"/>
                      </a:lnTo>
                      <a:lnTo>
                        <a:pt x="1486" y="782"/>
                      </a:lnTo>
                      <a:lnTo>
                        <a:pt x="1479" y="785"/>
                      </a:lnTo>
                      <a:lnTo>
                        <a:pt x="1474" y="785"/>
                      </a:lnTo>
                      <a:lnTo>
                        <a:pt x="1473" y="784"/>
                      </a:lnTo>
                      <a:lnTo>
                        <a:pt x="1472" y="783"/>
                      </a:lnTo>
                      <a:lnTo>
                        <a:pt x="1473" y="781"/>
                      </a:lnTo>
                      <a:lnTo>
                        <a:pt x="1473" y="780"/>
                      </a:lnTo>
                      <a:lnTo>
                        <a:pt x="1474" y="778"/>
                      </a:lnTo>
                      <a:lnTo>
                        <a:pt x="1475" y="776"/>
                      </a:lnTo>
                      <a:lnTo>
                        <a:pt x="1475" y="774"/>
                      </a:lnTo>
                      <a:lnTo>
                        <a:pt x="1474" y="773"/>
                      </a:lnTo>
                      <a:lnTo>
                        <a:pt x="1472" y="772"/>
                      </a:lnTo>
                      <a:lnTo>
                        <a:pt x="1467" y="772"/>
                      </a:lnTo>
                      <a:lnTo>
                        <a:pt x="1463" y="771"/>
                      </a:lnTo>
                      <a:lnTo>
                        <a:pt x="1460" y="770"/>
                      </a:lnTo>
                      <a:lnTo>
                        <a:pt x="1456" y="768"/>
                      </a:lnTo>
                      <a:lnTo>
                        <a:pt x="1455" y="767"/>
                      </a:lnTo>
                      <a:lnTo>
                        <a:pt x="1454" y="765"/>
                      </a:lnTo>
                      <a:lnTo>
                        <a:pt x="1452" y="765"/>
                      </a:lnTo>
                      <a:lnTo>
                        <a:pt x="1450" y="765"/>
                      </a:lnTo>
                      <a:lnTo>
                        <a:pt x="1448" y="768"/>
                      </a:lnTo>
                      <a:lnTo>
                        <a:pt x="1446" y="769"/>
                      </a:lnTo>
                      <a:lnTo>
                        <a:pt x="1444" y="769"/>
                      </a:lnTo>
                      <a:lnTo>
                        <a:pt x="1442" y="769"/>
                      </a:lnTo>
                      <a:lnTo>
                        <a:pt x="1440" y="768"/>
                      </a:lnTo>
                      <a:lnTo>
                        <a:pt x="1437" y="767"/>
                      </a:lnTo>
                      <a:lnTo>
                        <a:pt x="1434" y="767"/>
                      </a:lnTo>
                      <a:lnTo>
                        <a:pt x="1433" y="767"/>
                      </a:lnTo>
                      <a:lnTo>
                        <a:pt x="1431" y="768"/>
                      </a:lnTo>
                      <a:lnTo>
                        <a:pt x="1430" y="770"/>
                      </a:lnTo>
                      <a:lnTo>
                        <a:pt x="1430" y="772"/>
                      </a:lnTo>
                      <a:lnTo>
                        <a:pt x="1429" y="773"/>
                      </a:lnTo>
                      <a:lnTo>
                        <a:pt x="1427" y="774"/>
                      </a:lnTo>
                      <a:lnTo>
                        <a:pt x="1426" y="774"/>
                      </a:lnTo>
                      <a:lnTo>
                        <a:pt x="1423" y="773"/>
                      </a:lnTo>
                      <a:lnTo>
                        <a:pt x="1421" y="771"/>
                      </a:lnTo>
                      <a:lnTo>
                        <a:pt x="1420" y="770"/>
                      </a:lnTo>
                      <a:lnTo>
                        <a:pt x="1419" y="768"/>
                      </a:lnTo>
                      <a:lnTo>
                        <a:pt x="1419" y="765"/>
                      </a:lnTo>
                      <a:lnTo>
                        <a:pt x="1418" y="764"/>
                      </a:lnTo>
                      <a:lnTo>
                        <a:pt x="1417" y="763"/>
                      </a:lnTo>
                      <a:lnTo>
                        <a:pt x="1415" y="763"/>
                      </a:lnTo>
                      <a:lnTo>
                        <a:pt x="1413" y="764"/>
                      </a:lnTo>
                      <a:lnTo>
                        <a:pt x="1412" y="765"/>
                      </a:lnTo>
                      <a:lnTo>
                        <a:pt x="1410" y="765"/>
                      </a:lnTo>
                      <a:lnTo>
                        <a:pt x="1409" y="769"/>
                      </a:lnTo>
                      <a:lnTo>
                        <a:pt x="1408" y="771"/>
                      </a:lnTo>
                      <a:lnTo>
                        <a:pt x="1408" y="773"/>
                      </a:lnTo>
                      <a:lnTo>
                        <a:pt x="1406" y="776"/>
                      </a:lnTo>
                      <a:lnTo>
                        <a:pt x="1404" y="780"/>
                      </a:lnTo>
                      <a:lnTo>
                        <a:pt x="1398" y="781"/>
                      </a:lnTo>
                      <a:lnTo>
                        <a:pt x="1393" y="780"/>
                      </a:lnTo>
                      <a:lnTo>
                        <a:pt x="1387" y="779"/>
                      </a:lnTo>
                      <a:lnTo>
                        <a:pt x="1374" y="772"/>
                      </a:lnTo>
                      <a:lnTo>
                        <a:pt x="1369" y="772"/>
                      </a:lnTo>
                      <a:lnTo>
                        <a:pt x="1367" y="773"/>
                      </a:lnTo>
                      <a:lnTo>
                        <a:pt x="1365" y="775"/>
                      </a:lnTo>
                      <a:lnTo>
                        <a:pt x="1362" y="776"/>
                      </a:lnTo>
                      <a:lnTo>
                        <a:pt x="1358" y="776"/>
                      </a:lnTo>
                      <a:lnTo>
                        <a:pt x="1353" y="776"/>
                      </a:lnTo>
                      <a:lnTo>
                        <a:pt x="1348" y="774"/>
                      </a:lnTo>
                      <a:lnTo>
                        <a:pt x="1345" y="773"/>
                      </a:lnTo>
                      <a:lnTo>
                        <a:pt x="1342" y="772"/>
                      </a:lnTo>
                      <a:lnTo>
                        <a:pt x="1336" y="774"/>
                      </a:lnTo>
                      <a:lnTo>
                        <a:pt x="1334" y="775"/>
                      </a:lnTo>
                      <a:lnTo>
                        <a:pt x="1332" y="778"/>
                      </a:lnTo>
                      <a:lnTo>
                        <a:pt x="1331" y="781"/>
                      </a:lnTo>
                      <a:lnTo>
                        <a:pt x="1329" y="783"/>
                      </a:lnTo>
                      <a:lnTo>
                        <a:pt x="1328" y="786"/>
                      </a:lnTo>
                      <a:lnTo>
                        <a:pt x="1325" y="789"/>
                      </a:lnTo>
                      <a:lnTo>
                        <a:pt x="1323" y="790"/>
                      </a:lnTo>
                      <a:lnTo>
                        <a:pt x="1319" y="790"/>
                      </a:lnTo>
                      <a:lnTo>
                        <a:pt x="1314" y="789"/>
                      </a:lnTo>
                      <a:lnTo>
                        <a:pt x="1309" y="789"/>
                      </a:lnTo>
                      <a:lnTo>
                        <a:pt x="1303" y="792"/>
                      </a:lnTo>
                      <a:lnTo>
                        <a:pt x="1301" y="794"/>
                      </a:lnTo>
                      <a:lnTo>
                        <a:pt x="1300" y="796"/>
                      </a:lnTo>
                      <a:lnTo>
                        <a:pt x="1300" y="798"/>
                      </a:lnTo>
                      <a:lnTo>
                        <a:pt x="1301" y="800"/>
                      </a:lnTo>
                      <a:lnTo>
                        <a:pt x="1303" y="801"/>
                      </a:lnTo>
                      <a:lnTo>
                        <a:pt x="1307" y="802"/>
                      </a:lnTo>
                      <a:lnTo>
                        <a:pt x="1310" y="803"/>
                      </a:lnTo>
                      <a:lnTo>
                        <a:pt x="1312" y="804"/>
                      </a:lnTo>
                      <a:lnTo>
                        <a:pt x="1314" y="805"/>
                      </a:lnTo>
                      <a:lnTo>
                        <a:pt x="1318" y="806"/>
                      </a:lnTo>
                      <a:lnTo>
                        <a:pt x="1320" y="807"/>
                      </a:lnTo>
                      <a:lnTo>
                        <a:pt x="1323" y="808"/>
                      </a:lnTo>
                      <a:lnTo>
                        <a:pt x="1325" y="809"/>
                      </a:lnTo>
                      <a:lnTo>
                        <a:pt x="1326" y="811"/>
                      </a:lnTo>
                      <a:lnTo>
                        <a:pt x="1326" y="813"/>
                      </a:lnTo>
                      <a:lnTo>
                        <a:pt x="1325" y="814"/>
                      </a:lnTo>
                      <a:lnTo>
                        <a:pt x="1323" y="816"/>
                      </a:lnTo>
                      <a:lnTo>
                        <a:pt x="1323" y="817"/>
                      </a:lnTo>
                      <a:lnTo>
                        <a:pt x="1323" y="818"/>
                      </a:lnTo>
                      <a:lnTo>
                        <a:pt x="1324" y="818"/>
                      </a:lnTo>
                      <a:lnTo>
                        <a:pt x="1326" y="818"/>
                      </a:lnTo>
                      <a:lnTo>
                        <a:pt x="1330" y="818"/>
                      </a:lnTo>
                      <a:lnTo>
                        <a:pt x="1333" y="818"/>
                      </a:lnTo>
                      <a:lnTo>
                        <a:pt x="1335" y="819"/>
                      </a:lnTo>
                      <a:lnTo>
                        <a:pt x="1337" y="820"/>
                      </a:lnTo>
                      <a:lnTo>
                        <a:pt x="1341" y="820"/>
                      </a:lnTo>
                      <a:lnTo>
                        <a:pt x="1344" y="819"/>
                      </a:lnTo>
                      <a:lnTo>
                        <a:pt x="1347" y="818"/>
                      </a:lnTo>
                      <a:lnTo>
                        <a:pt x="1351" y="817"/>
                      </a:lnTo>
                      <a:lnTo>
                        <a:pt x="1354" y="816"/>
                      </a:lnTo>
                      <a:lnTo>
                        <a:pt x="1356" y="816"/>
                      </a:lnTo>
                      <a:lnTo>
                        <a:pt x="1359" y="816"/>
                      </a:lnTo>
                      <a:lnTo>
                        <a:pt x="1363" y="817"/>
                      </a:lnTo>
                      <a:lnTo>
                        <a:pt x="1365" y="818"/>
                      </a:lnTo>
                      <a:lnTo>
                        <a:pt x="1367" y="818"/>
                      </a:lnTo>
                      <a:lnTo>
                        <a:pt x="1368" y="820"/>
                      </a:lnTo>
                      <a:lnTo>
                        <a:pt x="1370" y="822"/>
                      </a:lnTo>
                      <a:lnTo>
                        <a:pt x="1372" y="823"/>
                      </a:lnTo>
                      <a:lnTo>
                        <a:pt x="1373" y="824"/>
                      </a:lnTo>
                      <a:lnTo>
                        <a:pt x="1375" y="824"/>
                      </a:lnTo>
                      <a:lnTo>
                        <a:pt x="1378" y="823"/>
                      </a:lnTo>
                      <a:lnTo>
                        <a:pt x="1383" y="823"/>
                      </a:lnTo>
                      <a:lnTo>
                        <a:pt x="1386" y="822"/>
                      </a:lnTo>
                      <a:lnTo>
                        <a:pt x="1390" y="820"/>
                      </a:lnTo>
                      <a:lnTo>
                        <a:pt x="1394" y="818"/>
                      </a:lnTo>
                      <a:lnTo>
                        <a:pt x="1402" y="813"/>
                      </a:lnTo>
                      <a:lnTo>
                        <a:pt x="1412" y="806"/>
                      </a:lnTo>
                      <a:lnTo>
                        <a:pt x="1423" y="801"/>
                      </a:lnTo>
                      <a:lnTo>
                        <a:pt x="1434" y="801"/>
                      </a:lnTo>
                      <a:lnTo>
                        <a:pt x="1445" y="803"/>
                      </a:lnTo>
                      <a:lnTo>
                        <a:pt x="1456" y="805"/>
                      </a:lnTo>
                      <a:lnTo>
                        <a:pt x="1467" y="805"/>
                      </a:lnTo>
                      <a:lnTo>
                        <a:pt x="1478" y="806"/>
                      </a:lnTo>
                      <a:lnTo>
                        <a:pt x="1485" y="809"/>
                      </a:lnTo>
                      <a:lnTo>
                        <a:pt x="1487" y="813"/>
                      </a:lnTo>
                      <a:lnTo>
                        <a:pt x="1489" y="816"/>
                      </a:lnTo>
                      <a:lnTo>
                        <a:pt x="1492" y="819"/>
                      </a:lnTo>
                      <a:lnTo>
                        <a:pt x="1492" y="823"/>
                      </a:lnTo>
                      <a:lnTo>
                        <a:pt x="1492" y="825"/>
                      </a:lnTo>
                      <a:lnTo>
                        <a:pt x="1489" y="828"/>
                      </a:lnTo>
                      <a:lnTo>
                        <a:pt x="1487" y="830"/>
                      </a:lnTo>
                      <a:lnTo>
                        <a:pt x="1486" y="833"/>
                      </a:lnTo>
                      <a:lnTo>
                        <a:pt x="1485" y="834"/>
                      </a:lnTo>
                      <a:lnTo>
                        <a:pt x="1485" y="836"/>
                      </a:lnTo>
                      <a:lnTo>
                        <a:pt x="1487" y="836"/>
                      </a:lnTo>
                      <a:lnTo>
                        <a:pt x="1488" y="837"/>
                      </a:lnTo>
                      <a:lnTo>
                        <a:pt x="1490" y="837"/>
                      </a:lnTo>
                      <a:lnTo>
                        <a:pt x="1493" y="837"/>
                      </a:lnTo>
                      <a:lnTo>
                        <a:pt x="1494" y="838"/>
                      </a:lnTo>
                      <a:lnTo>
                        <a:pt x="1495" y="840"/>
                      </a:lnTo>
                      <a:lnTo>
                        <a:pt x="1497" y="841"/>
                      </a:lnTo>
                      <a:lnTo>
                        <a:pt x="1498" y="844"/>
                      </a:lnTo>
                      <a:lnTo>
                        <a:pt x="1499" y="846"/>
                      </a:lnTo>
                      <a:lnTo>
                        <a:pt x="1500" y="847"/>
                      </a:lnTo>
                      <a:lnTo>
                        <a:pt x="1496" y="852"/>
                      </a:lnTo>
                      <a:lnTo>
                        <a:pt x="1489" y="856"/>
                      </a:lnTo>
                      <a:lnTo>
                        <a:pt x="1482" y="859"/>
                      </a:lnTo>
                      <a:lnTo>
                        <a:pt x="1474" y="860"/>
                      </a:lnTo>
                      <a:lnTo>
                        <a:pt x="1465" y="862"/>
                      </a:lnTo>
                      <a:lnTo>
                        <a:pt x="1455" y="865"/>
                      </a:lnTo>
                      <a:lnTo>
                        <a:pt x="1446" y="865"/>
                      </a:lnTo>
                      <a:lnTo>
                        <a:pt x="1439" y="860"/>
                      </a:lnTo>
                      <a:lnTo>
                        <a:pt x="1438" y="859"/>
                      </a:lnTo>
                      <a:lnTo>
                        <a:pt x="1437" y="857"/>
                      </a:lnTo>
                      <a:lnTo>
                        <a:pt x="1435" y="856"/>
                      </a:lnTo>
                      <a:lnTo>
                        <a:pt x="1434" y="855"/>
                      </a:lnTo>
                      <a:lnTo>
                        <a:pt x="1433" y="855"/>
                      </a:lnTo>
                      <a:lnTo>
                        <a:pt x="1433" y="855"/>
                      </a:lnTo>
                      <a:lnTo>
                        <a:pt x="1432" y="857"/>
                      </a:lnTo>
                      <a:lnTo>
                        <a:pt x="1432" y="860"/>
                      </a:lnTo>
                      <a:lnTo>
                        <a:pt x="1430" y="863"/>
                      </a:lnTo>
                      <a:lnTo>
                        <a:pt x="1426" y="866"/>
                      </a:lnTo>
                      <a:lnTo>
                        <a:pt x="1419" y="867"/>
                      </a:lnTo>
                      <a:lnTo>
                        <a:pt x="1412" y="867"/>
                      </a:lnTo>
                      <a:lnTo>
                        <a:pt x="1398" y="868"/>
                      </a:lnTo>
                      <a:lnTo>
                        <a:pt x="1383" y="869"/>
                      </a:lnTo>
                      <a:lnTo>
                        <a:pt x="1361" y="870"/>
                      </a:lnTo>
                      <a:lnTo>
                        <a:pt x="1341" y="869"/>
                      </a:lnTo>
                      <a:lnTo>
                        <a:pt x="1337" y="868"/>
                      </a:lnTo>
                      <a:lnTo>
                        <a:pt x="1335" y="868"/>
                      </a:lnTo>
                      <a:lnTo>
                        <a:pt x="1335" y="867"/>
                      </a:lnTo>
                      <a:lnTo>
                        <a:pt x="1335" y="866"/>
                      </a:lnTo>
                      <a:lnTo>
                        <a:pt x="1335" y="865"/>
                      </a:lnTo>
                      <a:lnTo>
                        <a:pt x="1335" y="863"/>
                      </a:lnTo>
                      <a:lnTo>
                        <a:pt x="1335" y="862"/>
                      </a:lnTo>
                      <a:lnTo>
                        <a:pt x="1334" y="860"/>
                      </a:lnTo>
                      <a:lnTo>
                        <a:pt x="1332" y="858"/>
                      </a:lnTo>
                      <a:lnTo>
                        <a:pt x="1329" y="858"/>
                      </a:lnTo>
                      <a:lnTo>
                        <a:pt x="1326" y="858"/>
                      </a:lnTo>
                      <a:lnTo>
                        <a:pt x="1323" y="858"/>
                      </a:lnTo>
                      <a:lnTo>
                        <a:pt x="1321" y="858"/>
                      </a:lnTo>
                      <a:lnTo>
                        <a:pt x="1317" y="860"/>
                      </a:lnTo>
                      <a:lnTo>
                        <a:pt x="1313" y="861"/>
                      </a:lnTo>
                      <a:lnTo>
                        <a:pt x="1311" y="863"/>
                      </a:lnTo>
                      <a:lnTo>
                        <a:pt x="1308" y="867"/>
                      </a:lnTo>
                      <a:lnTo>
                        <a:pt x="1306" y="869"/>
                      </a:lnTo>
                      <a:lnTo>
                        <a:pt x="1304" y="869"/>
                      </a:lnTo>
                      <a:lnTo>
                        <a:pt x="1302" y="869"/>
                      </a:lnTo>
                      <a:lnTo>
                        <a:pt x="1301" y="868"/>
                      </a:lnTo>
                      <a:lnTo>
                        <a:pt x="1299" y="867"/>
                      </a:lnTo>
                      <a:lnTo>
                        <a:pt x="1297" y="867"/>
                      </a:lnTo>
                      <a:lnTo>
                        <a:pt x="1295" y="867"/>
                      </a:lnTo>
                      <a:lnTo>
                        <a:pt x="1292" y="867"/>
                      </a:lnTo>
                      <a:lnTo>
                        <a:pt x="1290" y="867"/>
                      </a:lnTo>
                      <a:lnTo>
                        <a:pt x="1289" y="867"/>
                      </a:lnTo>
                      <a:lnTo>
                        <a:pt x="1287" y="867"/>
                      </a:lnTo>
                      <a:lnTo>
                        <a:pt x="1286" y="865"/>
                      </a:lnTo>
                      <a:lnTo>
                        <a:pt x="1284" y="861"/>
                      </a:lnTo>
                      <a:lnTo>
                        <a:pt x="1281" y="858"/>
                      </a:lnTo>
                      <a:lnTo>
                        <a:pt x="1279" y="854"/>
                      </a:lnTo>
                      <a:lnTo>
                        <a:pt x="1277" y="842"/>
                      </a:lnTo>
                      <a:lnTo>
                        <a:pt x="1277" y="829"/>
                      </a:lnTo>
                      <a:lnTo>
                        <a:pt x="1279" y="822"/>
                      </a:lnTo>
                      <a:lnTo>
                        <a:pt x="1281" y="815"/>
                      </a:lnTo>
                      <a:lnTo>
                        <a:pt x="1281" y="808"/>
                      </a:lnTo>
                      <a:lnTo>
                        <a:pt x="1277" y="803"/>
                      </a:lnTo>
                      <a:lnTo>
                        <a:pt x="1274" y="800"/>
                      </a:lnTo>
                      <a:lnTo>
                        <a:pt x="1271" y="797"/>
                      </a:lnTo>
                      <a:lnTo>
                        <a:pt x="1270" y="794"/>
                      </a:lnTo>
                      <a:lnTo>
                        <a:pt x="1269" y="791"/>
                      </a:lnTo>
                      <a:lnTo>
                        <a:pt x="1268" y="787"/>
                      </a:lnTo>
                      <a:lnTo>
                        <a:pt x="1264" y="785"/>
                      </a:lnTo>
                      <a:lnTo>
                        <a:pt x="1258" y="786"/>
                      </a:lnTo>
                      <a:lnTo>
                        <a:pt x="1252" y="790"/>
                      </a:lnTo>
                      <a:lnTo>
                        <a:pt x="1246" y="792"/>
                      </a:lnTo>
                      <a:lnTo>
                        <a:pt x="1243" y="793"/>
                      </a:lnTo>
                      <a:lnTo>
                        <a:pt x="1239" y="793"/>
                      </a:lnTo>
                      <a:lnTo>
                        <a:pt x="1237" y="792"/>
                      </a:lnTo>
                      <a:lnTo>
                        <a:pt x="1235" y="791"/>
                      </a:lnTo>
                      <a:lnTo>
                        <a:pt x="1233" y="790"/>
                      </a:lnTo>
                      <a:lnTo>
                        <a:pt x="1231" y="787"/>
                      </a:lnTo>
                      <a:lnTo>
                        <a:pt x="1228" y="786"/>
                      </a:lnTo>
                      <a:lnTo>
                        <a:pt x="1227" y="785"/>
                      </a:lnTo>
                      <a:lnTo>
                        <a:pt x="1225" y="784"/>
                      </a:lnTo>
                      <a:lnTo>
                        <a:pt x="1223" y="783"/>
                      </a:lnTo>
                      <a:lnTo>
                        <a:pt x="1220" y="782"/>
                      </a:lnTo>
                      <a:lnTo>
                        <a:pt x="1217" y="780"/>
                      </a:lnTo>
                      <a:lnTo>
                        <a:pt x="1216" y="778"/>
                      </a:lnTo>
                      <a:lnTo>
                        <a:pt x="1215" y="774"/>
                      </a:lnTo>
                      <a:lnTo>
                        <a:pt x="1214" y="772"/>
                      </a:lnTo>
                      <a:lnTo>
                        <a:pt x="1214" y="770"/>
                      </a:lnTo>
                      <a:lnTo>
                        <a:pt x="1213" y="769"/>
                      </a:lnTo>
                      <a:lnTo>
                        <a:pt x="1212" y="768"/>
                      </a:lnTo>
                      <a:lnTo>
                        <a:pt x="1211" y="767"/>
                      </a:lnTo>
                      <a:lnTo>
                        <a:pt x="1209" y="765"/>
                      </a:lnTo>
                      <a:lnTo>
                        <a:pt x="1208" y="763"/>
                      </a:lnTo>
                      <a:lnTo>
                        <a:pt x="1206" y="760"/>
                      </a:lnTo>
                      <a:lnTo>
                        <a:pt x="1208" y="758"/>
                      </a:lnTo>
                      <a:lnTo>
                        <a:pt x="1210" y="756"/>
                      </a:lnTo>
                      <a:lnTo>
                        <a:pt x="1213" y="753"/>
                      </a:lnTo>
                      <a:lnTo>
                        <a:pt x="1217" y="752"/>
                      </a:lnTo>
                      <a:lnTo>
                        <a:pt x="1223" y="752"/>
                      </a:lnTo>
                      <a:lnTo>
                        <a:pt x="1225" y="752"/>
                      </a:lnTo>
                      <a:lnTo>
                        <a:pt x="1228" y="752"/>
                      </a:lnTo>
                      <a:lnTo>
                        <a:pt x="1231" y="753"/>
                      </a:lnTo>
                      <a:lnTo>
                        <a:pt x="1233" y="753"/>
                      </a:lnTo>
                      <a:lnTo>
                        <a:pt x="1236" y="753"/>
                      </a:lnTo>
                      <a:lnTo>
                        <a:pt x="1239" y="752"/>
                      </a:lnTo>
                      <a:lnTo>
                        <a:pt x="1243" y="752"/>
                      </a:lnTo>
                      <a:lnTo>
                        <a:pt x="1245" y="751"/>
                      </a:lnTo>
                      <a:lnTo>
                        <a:pt x="1247" y="751"/>
                      </a:lnTo>
                      <a:lnTo>
                        <a:pt x="1249" y="751"/>
                      </a:lnTo>
                      <a:lnTo>
                        <a:pt x="1251" y="752"/>
                      </a:lnTo>
                      <a:lnTo>
                        <a:pt x="1255" y="754"/>
                      </a:lnTo>
                      <a:lnTo>
                        <a:pt x="1258" y="757"/>
                      </a:lnTo>
                      <a:lnTo>
                        <a:pt x="1259" y="759"/>
                      </a:lnTo>
                      <a:lnTo>
                        <a:pt x="1259" y="762"/>
                      </a:lnTo>
                      <a:lnTo>
                        <a:pt x="1259" y="764"/>
                      </a:lnTo>
                      <a:lnTo>
                        <a:pt x="1259" y="768"/>
                      </a:lnTo>
                      <a:lnTo>
                        <a:pt x="1259" y="769"/>
                      </a:lnTo>
                      <a:lnTo>
                        <a:pt x="1260" y="770"/>
                      </a:lnTo>
                      <a:lnTo>
                        <a:pt x="1262" y="770"/>
                      </a:lnTo>
                      <a:lnTo>
                        <a:pt x="1264" y="770"/>
                      </a:lnTo>
                      <a:lnTo>
                        <a:pt x="1265" y="770"/>
                      </a:lnTo>
                      <a:lnTo>
                        <a:pt x="1267" y="770"/>
                      </a:lnTo>
                      <a:lnTo>
                        <a:pt x="1268" y="770"/>
                      </a:lnTo>
                      <a:lnTo>
                        <a:pt x="1274" y="769"/>
                      </a:lnTo>
                      <a:lnTo>
                        <a:pt x="1278" y="768"/>
                      </a:lnTo>
                      <a:lnTo>
                        <a:pt x="1282" y="767"/>
                      </a:lnTo>
                      <a:lnTo>
                        <a:pt x="1286" y="765"/>
                      </a:lnTo>
                      <a:lnTo>
                        <a:pt x="1290" y="764"/>
                      </a:lnTo>
                      <a:lnTo>
                        <a:pt x="1293" y="762"/>
                      </a:lnTo>
                      <a:lnTo>
                        <a:pt x="1297" y="761"/>
                      </a:lnTo>
                      <a:lnTo>
                        <a:pt x="1300" y="760"/>
                      </a:lnTo>
                      <a:lnTo>
                        <a:pt x="1303" y="761"/>
                      </a:lnTo>
                      <a:lnTo>
                        <a:pt x="1307" y="761"/>
                      </a:lnTo>
                      <a:lnTo>
                        <a:pt x="1309" y="762"/>
                      </a:lnTo>
                      <a:lnTo>
                        <a:pt x="1311" y="764"/>
                      </a:lnTo>
                      <a:lnTo>
                        <a:pt x="1312" y="765"/>
                      </a:lnTo>
                      <a:lnTo>
                        <a:pt x="1315" y="767"/>
                      </a:lnTo>
                      <a:lnTo>
                        <a:pt x="1319" y="767"/>
                      </a:lnTo>
                      <a:lnTo>
                        <a:pt x="1321" y="765"/>
                      </a:lnTo>
                      <a:lnTo>
                        <a:pt x="1323" y="764"/>
                      </a:lnTo>
                      <a:lnTo>
                        <a:pt x="1325" y="763"/>
                      </a:lnTo>
                      <a:lnTo>
                        <a:pt x="1326" y="761"/>
                      </a:lnTo>
                      <a:lnTo>
                        <a:pt x="1326" y="759"/>
                      </a:lnTo>
                      <a:lnTo>
                        <a:pt x="1326" y="757"/>
                      </a:lnTo>
                      <a:lnTo>
                        <a:pt x="1328" y="754"/>
                      </a:lnTo>
                      <a:lnTo>
                        <a:pt x="1330" y="752"/>
                      </a:lnTo>
                      <a:lnTo>
                        <a:pt x="1332" y="751"/>
                      </a:lnTo>
                      <a:lnTo>
                        <a:pt x="1334" y="750"/>
                      </a:lnTo>
                      <a:lnTo>
                        <a:pt x="1336" y="749"/>
                      </a:lnTo>
                      <a:lnTo>
                        <a:pt x="1339" y="748"/>
                      </a:lnTo>
                      <a:lnTo>
                        <a:pt x="1341" y="746"/>
                      </a:lnTo>
                      <a:lnTo>
                        <a:pt x="1342" y="743"/>
                      </a:lnTo>
                      <a:lnTo>
                        <a:pt x="1343" y="742"/>
                      </a:lnTo>
                      <a:lnTo>
                        <a:pt x="1344" y="740"/>
                      </a:lnTo>
                      <a:lnTo>
                        <a:pt x="1347" y="739"/>
                      </a:lnTo>
                      <a:lnTo>
                        <a:pt x="1351" y="737"/>
                      </a:lnTo>
                      <a:lnTo>
                        <a:pt x="1354" y="736"/>
                      </a:lnTo>
                      <a:lnTo>
                        <a:pt x="1355" y="734"/>
                      </a:lnTo>
                      <a:lnTo>
                        <a:pt x="1356" y="731"/>
                      </a:lnTo>
                      <a:lnTo>
                        <a:pt x="1357" y="729"/>
                      </a:lnTo>
                      <a:lnTo>
                        <a:pt x="1356" y="726"/>
                      </a:lnTo>
                      <a:lnTo>
                        <a:pt x="1354" y="724"/>
                      </a:lnTo>
                      <a:lnTo>
                        <a:pt x="1352" y="721"/>
                      </a:lnTo>
                      <a:lnTo>
                        <a:pt x="1350" y="720"/>
                      </a:lnTo>
                      <a:lnTo>
                        <a:pt x="1348" y="718"/>
                      </a:lnTo>
                      <a:lnTo>
                        <a:pt x="1346" y="717"/>
                      </a:lnTo>
                      <a:lnTo>
                        <a:pt x="1346" y="715"/>
                      </a:lnTo>
                      <a:lnTo>
                        <a:pt x="1346" y="713"/>
                      </a:lnTo>
                      <a:lnTo>
                        <a:pt x="1347" y="710"/>
                      </a:lnTo>
                      <a:lnTo>
                        <a:pt x="1350" y="708"/>
                      </a:lnTo>
                      <a:lnTo>
                        <a:pt x="1358" y="704"/>
                      </a:lnTo>
                      <a:lnTo>
                        <a:pt x="1369" y="702"/>
                      </a:lnTo>
                      <a:lnTo>
                        <a:pt x="1380" y="704"/>
                      </a:lnTo>
                      <a:lnTo>
                        <a:pt x="1384" y="707"/>
                      </a:lnTo>
                      <a:lnTo>
                        <a:pt x="1386" y="709"/>
                      </a:lnTo>
                      <a:lnTo>
                        <a:pt x="1388" y="713"/>
                      </a:lnTo>
                      <a:lnTo>
                        <a:pt x="1390" y="716"/>
                      </a:lnTo>
                      <a:lnTo>
                        <a:pt x="1394" y="719"/>
                      </a:lnTo>
                      <a:lnTo>
                        <a:pt x="1398" y="726"/>
                      </a:lnTo>
                      <a:lnTo>
                        <a:pt x="1407" y="729"/>
                      </a:lnTo>
                      <a:lnTo>
                        <a:pt x="1417" y="728"/>
                      </a:lnTo>
                      <a:lnTo>
                        <a:pt x="1418" y="727"/>
                      </a:lnTo>
                      <a:lnTo>
                        <a:pt x="1420" y="726"/>
                      </a:lnTo>
                      <a:lnTo>
                        <a:pt x="1422" y="725"/>
                      </a:lnTo>
                      <a:lnTo>
                        <a:pt x="1423" y="724"/>
                      </a:lnTo>
                      <a:lnTo>
                        <a:pt x="1426" y="721"/>
                      </a:lnTo>
                      <a:lnTo>
                        <a:pt x="1427" y="720"/>
                      </a:lnTo>
                      <a:lnTo>
                        <a:pt x="1427" y="719"/>
                      </a:lnTo>
                      <a:lnTo>
                        <a:pt x="1426" y="718"/>
                      </a:lnTo>
                      <a:lnTo>
                        <a:pt x="1423" y="717"/>
                      </a:lnTo>
                      <a:lnTo>
                        <a:pt x="1419" y="717"/>
                      </a:lnTo>
                      <a:lnTo>
                        <a:pt x="1416" y="717"/>
                      </a:lnTo>
                      <a:lnTo>
                        <a:pt x="1412" y="716"/>
                      </a:lnTo>
                      <a:lnTo>
                        <a:pt x="1410" y="715"/>
                      </a:lnTo>
                      <a:lnTo>
                        <a:pt x="1408" y="713"/>
                      </a:lnTo>
                      <a:lnTo>
                        <a:pt x="1406" y="710"/>
                      </a:lnTo>
                      <a:lnTo>
                        <a:pt x="1404" y="709"/>
                      </a:lnTo>
                      <a:lnTo>
                        <a:pt x="1402" y="707"/>
                      </a:lnTo>
                      <a:lnTo>
                        <a:pt x="1399" y="706"/>
                      </a:lnTo>
                      <a:lnTo>
                        <a:pt x="1398" y="702"/>
                      </a:lnTo>
                      <a:lnTo>
                        <a:pt x="1400" y="697"/>
                      </a:lnTo>
                      <a:lnTo>
                        <a:pt x="1406" y="693"/>
                      </a:lnTo>
                      <a:lnTo>
                        <a:pt x="1408" y="688"/>
                      </a:lnTo>
                      <a:lnTo>
                        <a:pt x="1409" y="686"/>
                      </a:lnTo>
                      <a:lnTo>
                        <a:pt x="1408" y="685"/>
                      </a:lnTo>
                      <a:lnTo>
                        <a:pt x="1407" y="684"/>
                      </a:lnTo>
                      <a:lnTo>
                        <a:pt x="1405" y="684"/>
                      </a:lnTo>
                      <a:lnTo>
                        <a:pt x="1402" y="684"/>
                      </a:lnTo>
                      <a:lnTo>
                        <a:pt x="1399" y="684"/>
                      </a:lnTo>
                      <a:lnTo>
                        <a:pt x="1396" y="684"/>
                      </a:lnTo>
                      <a:lnTo>
                        <a:pt x="1394" y="685"/>
                      </a:lnTo>
                      <a:lnTo>
                        <a:pt x="1391" y="685"/>
                      </a:lnTo>
                      <a:lnTo>
                        <a:pt x="1390" y="684"/>
                      </a:lnTo>
                      <a:lnTo>
                        <a:pt x="1388" y="684"/>
                      </a:lnTo>
                      <a:lnTo>
                        <a:pt x="1387" y="684"/>
                      </a:lnTo>
                      <a:lnTo>
                        <a:pt x="1385" y="683"/>
                      </a:lnTo>
                      <a:lnTo>
                        <a:pt x="1383" y="684"/>
                      </a:lnTo>
                      <a:lnTo>
                        <a:pt x="1382" y="685"/>
                      </a:lnTo>
                      <a:lnTo>
                        <a:pt x="1379" y="686"/>
                      </a:lnTo>
                      <a:lnTo>
                        <a:pt x="1378" y="686"/>
                      </a:lnTo>
                      <a:lnTo>
                        <a:pt x="1374" y="686"/>
                      </a:lnTo>
                      <a:lnTo>
                        <a:pt x="1369" y="684"/>
                      </a:lnTo>
                      <a:lnTo>
                        <a:pt x="1367" y="683"/>
                      </a:lnTo>
                      <a:lnTo>
                        <a:pt x="1365" y="680"/>
                      </a:lnTo>
                      <a:lnTo>
                        <a:pt x="1364" y="677"/>
                      </a:lnTo>
                      <a:lnTo>
                        <a:pt x="1364" y="675"/>
                      </a:lnTo>
                      <a:lnTo>
                        <a:pt x="1364" y="673"/>
                      </a:lnTo>
                      <a:lnTo>
                        <a:pt x="1365" y="671"/>
                      </a:lnTo>
                      <a:lnTo>
                        <a:pt x="1365" y="669"/>
                      </a:lnTo>
                      <a:lnTo>
                        <a:pt x="1365" y="666"/>
                      </a:lnTo>
                      <a:lnTo>
                        <a:pt x="1365" y="665"/>
                      </a:lnTo>
                      <a:lnTo>
                        <a:pt x="1364" y="663"/>
                      </a:lnTo>
                      <a:lnTo>
                        <a:pt x="1364" y="661"/>
                      </a:lnTo>
                      <a:lnTo>
                        <a:pt x="1365" y="660"/>
                      </a:lnTo>
                      <a:lnTo>
                        <a:pt x="1365" y="659"/>
                      </a:lnTo>
                      <a:lnTo>
                        <a:pt x="1367" y="658"/>
                      </a:lnTo>
                      <a:lnTo>
                        <a:pt x="1369" y="658"/>
                      </a:lnTo>
                      <a:lnTo>
                        <a:pt x="1373" y="658"/>
                      </a:lnTo>
                      <a:lnTo>
                        <a:pt x="1375" y="658"/>
                      </a:lnTo>
                      <a:lnTo>
                        <a:pt x="1378" y="658"/>
                      </a:lnTo>
                      <a:lnTo>
                        <a:pt x="1379" y="655"/>
                      </a:lnTo>
                      <a:lnTo>
                        <a:pt x="1379" y="653"/>
                      </a:lnTo>
                      <a:lnTo>
                        <a:pt x="1379" y="652"/>
                      </a:lnTo>
                      <a:lnTo>
                        <a:pt x="1378" y="650"/>
                      </a:lnTo>
                      <a:lnTo>
                        <a:pt x="1378" y="649"/>
                      </a:lnTo>
                      <a:lnTo>
                        <a:pt x="1380" y="647"/>
                      </a:lnTo>
                      <a:lnTo>
                        <a:pt x="1382" y="645"/>
                      </a:lnTo>
                      <a:lnTo>
                        <a:pt x="1384" y="644"/>
                      </a:lnTo>
                      <a:lnTo>
                        <a:pt x="1387" y="644"/>
                      </a:lnTo>
                      <a:lnTo>
                        <a:pt x="1389" y="645"/>
                      </a:lnTo>
                      <a:lnTo>
                        <a:pt x="1391" y="647"/>
                      </a:lnTo>
                      <a:lnTo>
                        <a:pt x="1394" y="649"/>
                      </a:lnTo>
                      <a:lnTo>
                        <a:pt x="1396" y="650"/>
                      </a:lnTo>
                      <a:lnTo>
                        <a:pt x="1398" y="651"/>
                      </a:lnTo>
                      <a:lnTo>
                        <a:pt x="1404" y="652"/>
                      </a:lnTo>
                      <a:lnTo>
                        <a:pt x="1410" y="653"/>
                      </a:lnTo>
                      <a:lnTo>
                        <a:pt x="1415" y="653"/>
                      </a:lnTo>
                      <a:lnTo>
                        <a:pt x="1426" y="655"/>
                      </a:lnTo>
                      <a:lnTo>
                        <a:pt x="1437" y="655"/>
                      </a:lnTo>
                      <a:lnTo>
                        <a:pt x="1440" y="654"/>
                      </a:lnTo>
                      <a:lnTo>
                        <a:pt x="1441" y="652"/>
                      </a:lnTo>
                      <a:lnTo>
                        <a:pt x="1441" y="651"/>
                      </a:lnTo>
                      <a:lnTo>
                        <a:pt x="1440" y="649"/>
                      </a:lnTo>
                      <a:lnTo>
                        <a:pt x="1438" y="648"/>
                      </a:lnTo>
                      <a:lnTo>
                        <a:pt x="1434" y="647"/>
                      </a:lnTo>
                      <a:lnTo>
                        <a:pt x="1427" y="645"/>
                      </a:lnTo>
                      <a:lnTo>
                        <a:pt x="1418" y="645"/>
                      </a:lnTo>
                      <a:lnTo>
                        <a:pt x="1408" y="647"/>
                      </a:lnTo>
                      <a:lnTo>
                        <a:pt x="1408" y="647"/>
                      </a:lnTo>
                      <a:lnTo>
                        <a:pt x="1407" y="647"/>
                      </a:lnTo>
                      <a:lnTo>
                        <a:pt x="1405" y="648"/>
                      </a:lnTo>
                      <a:lnTo>
                        <a:pt x="1404" y="648"/>
                      </a:lnTo>
                      <a:lnTo>
                        <a:pt x="1402" y="648"/>
                      </a:lnTo>
                      <a:lnTo>
                        <a:pt x="1401" y="648"/>
                      </a:lnTo>
                      <a:lnTo>
                        <a:pt x="1401" y="647"/>
                      </a:lnTo>
                      <a:lnTo>
                        <a:pt x="1404" y="643"/>
                      </a:lnTo>
                      <a:lnTo>
                        <a:pt x="1404" y="641"/>
                      </a:lnTo>
                      <a:lnTo>
                        <a:pt x="1404" y="639"/>
                      </a:lnTo>
                      <a:lnTo>
                        <a:pt x="1404" y="636"/>
                      </a:lnTo>
                      <a:lnTo>
                        <a:pt x="1401" y="636"/>
                      </a:lnTo>
                      <a:lnTo>
                        <a:pt x="1399" y="637"/>
                      </a:lnTo>
                      <a:lnTo>
                        <a:pt x="1397" y="638"/>
                      </a:lnTo>
                      <a:lnTo>
                        <a:pt x="1396" y="640"/>
                      </a:lnTo>
                      <a:lnTo>
                        <a:pt x="1394" y="641"/>
                      </a:lnTo>
                      <a:lnTo>
                        <a:pt x="1391" y="641"/>
                      </a:lnTo>
                      <a:lnTo>
                        <a:pt x="1388" y="640"/>
                      </a:lnTo>
                      <a:lnTo>
                        <a:pt x="1385" y="640"/>
                      </a:lnTo>
                      <a:lnTo>
                        <a:pt x="1383" y="640"/>
                      </a:lnTo>
                      <a:lnTo>
                        <a:pt x="1378" y="642"/>
                      </a:lnTo>
                      <a:lnTo>
                        <a:pt x="1375" y="645"/>
                      </a:lnTo>
                      <a:lnTo>
                        <a:pt x="1374" y="648"/>
                      </a:lnTo>
                      <a:lnTo>
                        <a:pt x="1373" y="650"/>
                      </a:lnTo>
                      <a:lnTo>
                        <a:pt x="1372" y="653"/>
                      </a:lnTo>
                      <a:lnTo>
                        <a:pt x="1369" y="651"/>
                      </a:lnTo>
                      <a:lnTo>
                        <a:pt x="1368" y="650"/>
                      </a:lnTo>
                      <a:lnTo>
                        <a:pt x="1367" y="648"/>
                      </a:lnTo>
                      <a:lnTo>
                        <a:pt x="1366" y="645"/>
                      </a:lnTo>
                      <a:lnTo>
                        <a:pt x="1365" y="644"/>
                      </a:lnTo>
                      <a:lnTo>
                        <a:pt x="1362" y="645"/>
                      </a:lnTo>
                      <a:lnTo>
                        <a:pt x="1359" y="649"/>
                      </a:lnTo>
                      <a:lnTo>
                        <a:pt x="1358" y="654"/>
                      </a:lnTo>
                      <a:lnTo>
                        <a:pt x="1358" y="659"/>
                      </a:lnTo>
                      <a:lnTo>
                        <a:pt x="1358" y="662"/>
                      </a:lnTo>
                      <a:lnTo>
                        <a:pt x="1359" y="664"/>
                      </a:lnTo>
                      <a:lnTo>
                        <a:pt x="1359" y="666"/>
                      </a:lnTo>
                      <a:lnTo>
                        <a:pt x="1359" y="669"/>
                      </a:lnTo>
                      <a:lnTo>
                        <a:pt x="1358" y="671"/>
                      </a:lnTo>
                      <a:lnTo>
                        <a:pt x="1356" y="673"/>
                      </a:lnTo>
                      <a:lnTo>
                        <a:pt x="1354" y="675"/>
                      </a:lnTo>
                      <a:lnTo>
                        <a:pt x="1352" y="677"/>
                      </a:lnTo>
                      <a:lnTo>
                        <a:pt x="1348" y="678"/>
                      </a:lnTo>
                      <a:lnTo>
                        <a:pt x="1345" y="680"/>
                      </a:lnTo>
                      <a:lnTo>
                        <a:pt x="1343" y="680"/>
                      </a:lnTo>
                      <a:lnTo>
                        <a:pt x="1342" y="680"/>
                      </a:lnTo>
                      <a:lnTo>
                        <a:pt x="1341" y="678"/>
                      </a:lnTo>
                      <a:lnTo>
                        <a:pt x="1340" y="677"/>
                      </a:lnTo>
                      <a:lnTo>
                        <a:pt x="1339" y="675"/>
                      </a:lnTo>
                      <a:lnTo>
                        <a:pt x="1337" y="674"/>
                      </a:lnTo>
                      <a:lnTo>
                        <a:pt x="1336" y="673"/>
                      </a:lnTo>
                      <a:lnTo>
                        <a:pt x="1334" y="673"/>
                      </a:lnTo>
                      <a:lnTo>
                        <a:pt x="1333" y="674"/>
                      </a:lnTo>
                      <a:lnTo>
                        <a:pt x="1334" y="676"/>
                      </a:lnTo>
                      <a:lnTo>
                        <a:pt x="1334" y="678"/>
                      </a:lnTo>
                      <a:lnTo>
                        <a:pt x="1334" y="681"/>
                      </a:lnTo>
                      <a:lnTo>
                        <a:pt x="1334" y="682"/>
                      </a:lnTo>
                      <a:lnTo>
                        <a:pt x="1331" y="682"/>
                      </a:lnTo>
                      <a:lnTo>
                        <a:pt x="1328" y="682"/>
                      </a:lnTo>
                      <a:lnTo>
                        <a:pt x="1324" y="681"/>
                      </a:lnTo>
                      <a:lnTo>
                        <a:pt x="1322" y="678"/>
                      </a:lnTo>
                      <a:lnTo>
                        <a:pt x="1321" y="677"/>
                      </a:lnTo>
                      <a:lnTo>
                        <a:pt x="1320" y="676"/>
                      </a:lnTo>
                      <a:lnTo>
                        <a:pt x="1319" y="676"/>
                      </a:lnTo>
                      <a:lnTo>
                        <a:pt x="1318" y="677"/>
                      </a:lnTo>
                      <a:lnTo>
                        <a:pt x="1318" y="678"/>
                      </a:lnTo>
                      <a:lnTo>
                        <a:pt x="1317" y="681"/>
                      </a:lnTo>
                      <a:lnTo>
                        <a:pt x="1317" y="682"/>
                      </a:lnTo>
                      <a:lnTo>
                        <a:pt x="1315" y="684"/>
                      </a:lnTo>
                      <a:lnTo>
                        <a:pt x="1313" y="686"/>
                      </a:lnTo>
                      <a:lnTo>
                        <a:pt x="1312" y="687"/>
                      </a:lnTo>
                      <a:lnTo>
                        <a:pt x="1309" y="688"/>
                      </a:lnTo>
                      <a:lnTo>
                        <a:pt x="1306" y="688"/>
                      </a:lnTo>
                      <a:lnTo>
                        <a:pt x="1299" y="688"/>
                      </a:lnTo>
                      <a:lnTo>
                        <a:pt x="1290" y="687"/>
                      </a:lnTo>
                      <a:lnTo>
                        <a:pt x="1282" y="686"/>
                      </a:lnTo>
                      <a:lnTo>
                        <a:pt x="1277" y="684"/>
                      </a:lnTo>
                      <a:lnTo>
                        <a:pt x="1275" y="680"/>
                      </a:lnTo>
                      <a:lnTo>
                        <a:pt x="1277" y="677"/>
                      </a:lnTo>
                      <a:lnTo>
                        <a:pt x="1279" y="676"/>
                      </a:lnTo>
                      <a:lnTo>
                        <a:pt x="1281" y="675"/>
                      </a:lnTo>
                      <a:lnTo>
                        <a:pt x="1285" y="674"/>
                      </a:lnTo>
                      <a:lnTo>
                        <a:pt x="1287" y="672"/>
                      </a:lnTo>
                      <a:lnTo>
                        <a:pt x="1289" y="671"/>
                      </a:lnTo>
                      <a:lnTo>
                        <a:pt x="1290" y="669"/>
                      </a:lnTo>
                      <a:lnTo>
                        <a:pt x="1290" y="666"/>
                      </a:lnTo>
                      <a:lnTo>
                        <a:pt x="1289" y="666"/>
                      </a:lnTo>
                      <a:lnTo>
                        <a:pt x="1288" y="667"/>
                      </a:lnTo>
                      <a:lnTo>
                        <a:pt x="1287" y="667"/>
                      </a:lnTo>
                      <a:lnTo>
                        <a:pt x="1286" y="669"/>
                      </a:lnTo>
                      <a:lnTo>
                        <a:pt x="1284" y="669"/>
                      </a:lnTo>
                      <a:lnTo>
                        <a:pt x="1282" y="669"/>
                      </a:lnTo>
                      <a:lnTo>
                        <a:pt x="1281" y="669"/>
                      </a:lnTo>
                      <a:lnTo>
                        <a:pt x="1280" y="667"/>
                      </a:lnTo>
                      <a:lnTo>
                        <a:pt x="1279" y="666"/>
                      </a:lnTo>
                      <a:lnTo>
                        <a:pt x="1268" y="666"/>
                      </a:lnTo>
                      <a:lnTo>
                        <a:pt x="1267" y="664"/>
                      </a:lnTo>
                      <a:lnTo>
                        <a:pt x="1267" y="663"/>
                      </a:lnTo>
                      <a:lnTo>
                        <a:pt x="1267" y="661"/>
                      </a:lnTo>
                      <a:lnTo>
                        <a:pt x="1269" y="660"/>
                      </a:lnTo>
                      <a:lnTo>
                        <a:pt x="1270" y="658"/>
                      </a:lnTo>
                      <a:lnTo>
                        <a:pt x="1271" y="655"/>
                      </a:lnTo>
                      <a:lnTo>
                        <a:pt x="1273" y="654"/>
                      </a:lnTo>
                      <a:lnTo>
                        <a:pt x="1273" y="652"/>
                      </a:lnTo>
                      <a:lnTo>
                        <a:pt x="1270" y="651"/>
                      </a:lnTo>
                      <a:lnTo>
                        <a:pt x="1268" y="650"/>
                      </a:lnTo>
                      <a:lnTo>
                        <a:pt x="1267" y="649"/>
                      </a:lnTo>
                      <a:lnTo>
                        <a:pt x="1266" y="647"/>
                      </a:lnTo>
                      <a:lnTo>
                        <a:pt x="1267" y="645"/>
                      </a:lnTo>
                      <a:lnTo>
                        <a:pt x="1269" y="643"/>
                      </a:lnTo>
                      <a:lnTo>
                        <a:pt x="1270" y="642"/>
                      </a:lnTo>
                      <a:lnTo>
                        <a:pt x="1273" y="640"/>
                      </a:lnTo>
                      <a:lnTo>
                        <a:pt x="1279" y="637"/>
                      </a:lnTo>
                      <a:lnTo>
                        <a:pt x="1285" y="634"/>
                      </a:lnTo>
                      <a:lnTo>
                        <a:pt x="1292" y="633"/>
                      </a:lnTo>
                      <a:lnTo>
                        <a:pt x="1297" y="632"/>
                      </a:lnTo>
                      <a:lnTo>
                        <a:pt x="1299" y="631"/>
                      </a:lnTo>
                      <a:lnTo>
                        <a:pt x="1301" y="630"/>
                      </a:lnTo>
                      <a:lnTo>
                        <a:pt x="1301" y="629"/>
                      </a:lnTo>
                      <a:lnTo>
                        <a:pt x="1300" y="627"/>
                      </a:lnTo>
                      <a:lnTo>
                        <a:pt x="1299" y="626"/>
                      </a:lnTo>
                      <a:lnTo>
                        <a:pt x="1297" y="625"/>
                      </a:lnTo>
                      <a:lnTo>
                        <a:pt x="1295" y="623"/>
                      </a:lnTo>
                      <a:lnTo>
                        <a:pt x="1292" y="622"/>
                      </a:lnTo>
                      <a:lnTo>
                        <a:pt x="1282" y="620"/>
                      </a:lnTo>
                      <a:lnTo>
                        <a:pt x="1274" y="622"/>
                      </a:lnTo>
                      <a:lnTo>
                        <a:pt x="1262" y="627"/>
                      </a:lnTo>
                      <a:lnTo>
                        <a:pt x="1248" y="627"/>
                      </a:lnTo>
                      <a:lnTo>
                        <a:pt x="1247" y="626"/>
                      </a:lnTo>
                      <a:lnTo>
                        <a:pt x="1246" y="625"/>
                      </a:lnTo>
                      <a:lnTo>
                        <a:pt x="1246" y="625"/>
                      </a:lnTo>
                      <a:lnTo>
                        <a:pt x="1246" y="623"/>
                      </a:lnTo>
                      <a:lnTo>
                        <a:pt x="1246" y="622"/>
                      </a:lnTo>
                      <a:lnTo>
                        <a:pt x="1248" y="621"/>
                      </a:lnTo>
                      <a:lnTo>
                        <a:pt x="1251" y="620"/>
                      </a:lnTo>
                      <a:lnTo>
                        <a:pt x="1254" y="620"/>
                      </a:lnTo>
                      <a:lnTo>
                        <a:pt x="1257" y="619"/>
                      </a:lnTo>
                      <a:lnTo>
                        <a:pt x="1259" y="618"/>
                      </a:lnTo>
                      <a:lnTo>
                        <a:pt x="1262" y="617"/>
                      </a:lnTo>
                      <a:lnTo>
                        <a:pt x="1263" y="615"/>
                      </a:lnTo>
                      <a:lnTo>
                        <a:pt x="1264" y="614"/>
                      </a:lnTo>
                      <a:lnTo>
                        <a:pt x="1265" y="612"/>
                      </a:lnTo>
                      <a:lnTo>
                        <a:pt x="1264" y="611"/>
                      </a:lnTo>
                      <a:lnTo>
                        <a:pt x="1262" y="611"/>
                      </a:lnTo>
                      <a:lnTo>
                        <a:pt x="1258" y="612"/>
                      </a:lnTo>
                      <a:lnTo>
                        <a:pt x="1255" y="614"/>
                      </a:lnTo>
                      <a:lnTo>
                        <a:pt x="1252" y="614"/>
                      </a:lnTo>
                      <a:lnTo>
                        <a:pt x="1248" y="614"/>
                      </a:lnTo>
                      <a:lnTo>
                        <a:pt x="1246" y="614"/>
                      </a:lnTo>
                      <a:lnTo>
                        <a:pt x="1243" y="612"/>
                      </a:lnTo>
                      <a:lnTo>
                        <a:pt x="1241" y="611"/>
                      </a:lnTo>
                      <a:lnTo>
                        <a:pt x="1238" y="610"/>
                      </a:lnTo>
                      <a:lnTo>
                        <a:pt x="1237" y="609"/>
                      </a:lnTo>
                      <a:lnTo>
                        <a:pt x="1237" y="607"/>
                      </a:lnTo>
                      <a:lnTo>
                        <a:pt x="1238" y="605"/>
                      </a:lnTo>
                      <a:lnTo>
                        <a:pt x="1239" y="604"/>
                      </a:lnTo>
                      <a:lnTo>
                        <a:pt x="1241" y="601"/>
                      </a:lnTo>
                      <a:lnTo>
                        <a:pt x="1242" y="600"/>
                      </a:lnTo>
                      <a:lnTo>
                        <a:pt x="1242" y="598"/>
                      </a:lnTo>
                      <a:lnTo>
                        <a:pt x="1242" y="597"/>
                      </a:lnTo>
                      <a:lnTo>
                        <a:pt x="1242" y="595"/>
                      </a:lnTo>
                      <a:lnTo>
                        <a:pt x="1242" y="594"/>
                      </a:lnTo>
                      <a:lnTo>
                        <a:pt x="1243" y="591"/>
                      </a:lnTo>
                      <a:lnTo>
                        <a:pt x="1244" y="590"/>
                      </a:lnTo>
                      <a:lnTo>
                        <a:pt x="1246" y="589"/>
                      </a:lnTo>
                      <a:lnTo>
                        <a:pt x="1248" y="589"/>
                      </a:lnTo>
                      <a:lnTo>
                        <a:pt x="1251" y="589"/>
                      </a:lnTo>
                      <a:lnTo>
                        <a:pt x="1253" y="589"/>
                      </a:lnTo>
                      <a:lnTo>
                        <a:pt x="1255" y="588"/>
                      </a:lnTo>
                      <a:lnTo>
                        <a:pt x="1257" y="588"/>
                      </a:lnTo>
                      <a:lnTo>
                        <a:pt x="1257" y="587"/>
                      </a:lnTo>
                      <a:lnTo>
                        <a:pt x="1258" y="586"/>
                      </a:lnTo>
                      <a:lnTo>
                        <a:pt x="1257" y="585"/>
                      </a:lnTo>
                      <a:lnTo>
                        <a:pt x="1255" y="584"/>
                      </a:lnTo>
                      <a:lnTo>
                        <a:pt x="1253" y="583"/>
                      </a:lnTo>
                      <a:lnTo>
                        <a:pt x="1251" y="583"/>
                      </a:lnTo>
                      <a:lnTo>
                        <a:pt x="1248" y="582"/>
                      </a:lnTo>
                      <a:lnTo>
                        <a:pt x="1248" y="580"/>
                      </a:lnTo>
                      <a:lnTo>
                        <a:pt x="1248" y="579"/>
                      </a:lnTo>
                      <a:lnTo>
                        <a:pt x="1248" y="577"/>
                      </a:lnTo>
                      <a:lnTo>
                        <a:pt x="1249" y="576"/>
                      </a:lnTo>
                      <a:lnTo>
                        <a:pt x="1248" y="574"/>
                      </a:lnTo>
                      <a:lnTo>
                        <a:pt x="1248" y="572"/>
                      </a:lnTo>
                      <a:lnTo>
                        <a:pt x="1247" y="571"/>
                      </a:lnTo>
                      <a:lnTo>
                        <a:pt x="1247" y="568"/>
                      </a:lnTo>
                      <a:lnTo>
                        <a:pt x="1248" y="566"/>
                      </a:lnTo>
                      <a:lnTo>
                        <a:pt x="1251" y="565"/>
                      </a:lnTo>
                      <a:lnTo>
                        <a:pt x="1253" y="565"/>
                      </a:lnTo>
                      <a:lnTo>
                        <a:pt x="1256" y="565"/>
                      </a:lnTo>
                      <a:lnTo>
                        <a:pt x="1258" y="566"/>
                      </a:lnTo>
                      <a:lnTo>
                        <a:pt x="1260" y="566"/>
                      </a:lnTo>
                      <a:lnTo>
                        <a:pt x="1263" y="567"/>
                      </a:lnTo>
                      <a:lnTo>
                        <a:pt x="1265" y="566"/>
                      </a:lnTo>
                      <a:lnTo>
                        <a:pt x="1266" y="565"/>
                      </a:lnTo>
                      <a:lnTo>
                        <a:pt x="1267" y="564"/>
                      </a:lnTo>
                      <a:lnTo>
                        <a:pt x="1266" y="562"/>
                      </a:lnTo>
                      <a:lnTo>
                        <a:pt x="1265" y="562"/>
                      </a:lnTo>
                      <a:lnTo>
                        <a:pt x="1263" y="561"/>
                      </a:lnTo>
                      <a:lnTo>
                        <a:pt x="1259" y="561"/>
                      </a:lnTo>
                      <a:lnTo>
                        <a:pt x="1258" y="558"/>
                      </a:lnTo>
                      <a:lnTo>
                        <a:pt x="1258" y="556"/>
                      </a:lnTo>
                      <a:lnTo>
                        <a:pt x="1258" y="554"/>
                      </a:lnTo>
                      <a:lnTo>
                        <a:pt x="1259" y="552"/>
                      </a:lnTo>
                      <a:lnTo>
                        <a:pt x="1262" y="549"/>
                      </a:lnTo>
                      <a:lnTo>
                        <a:pt x="1265" y="547"/>
                      </a:lnTo>
                      <a:lnTo>
                        <a:pt x="1268" y="545"/>
                      </a:lnTo>
                      <a:lnTo>
                        <a:pt x="1271" y="545"/>
                      </a:lnTo>
                      <a:lnTo>
                        <a:pt x="1275" y="545"/>
                      </a:lnTo>
                      <a:lnTo>
                        <a:pt x="1278" y="545"/>
                      </a:lnTo>
                      <a:lnTo>
                        <a:pt x="1280" y="545"/>
                      </a:lnTo>
                      <a:lnTo>
                        <a:pt x="1281" y="545"/>
                      </a:lnTo>
                      <a:lnTo>
                        <a:pt x="1281" y="544"/>
                      </a:lnTo>
                      <a:lnTo>
                        <a:pt x="1281" y="543"/>
                      </a:lnTo>
                      <a:lnTo>
                        <a:pt x="1281" y="542"/>
                      </a:lnTo>
                      <a:lnTo>
                        <a:pt x="1281" y="541"/>
                      </a:lnTo>
                      <a:lnTo>
                        <a:pt x="1284" y="540"/>
                      </a:lnTo>
                      <a:lnTo>
                        <a:pt x="1286" y="539"/>
                      </a:lnTo>
                      <a:lnTo>
                        <a:pt x="1288" y="539"/>
                      </a:lnTo>
                      <a:lnTo>
                        <a:pt x="1291" y="539"/>
                      </a:lnTo>
                      <a:lnTo>
                        <a:pt x="1292" y="539"/>
                      </a:lnTo>
                      <a:lnTo>
                        <a:pt x="1292" y="536"/>
                      </a:lnTo>
                      <a:lnTo>
                        <a:pt x="1289" y="534"/>
                      </a:lnTo>
                      <a:lnTo>
                        <a:pt x="1284" y="534"/>
                      </a:lnTo>
                      <a:lnTo>
                        <a:pt x="1278" y="534"/>
                      </a:lnTo>
                      <a:lnTo>
                        <a:pt x="1273" y="534"/>
                      </a:lnTo>
                      <a:lnTo>
                        <a:pt x="1268" y="534"/>
                      </a:lnTo>
                      <a:lnTo>
                        <a:pt x="1267" y="533"/>
                      </a:lnTo>
                      <a:lnTo>
                        <a:pt x="1266" y="533"/>
                      </a:lnTo>
                      <a:lnTo>
                        <a:pt x="1266" y="531"/>
                      </a:lnTo>
                      <a:lnTo>
                        <a:pt x="1267" y="530"/>
                      </a:lnTo>
                      <a:lnTo>
                        <a:pt x="1268" y="529"/>
                      </a:lnTo>
                      <a:lnTo>
                        <a:pt x="1270" y="528"/>
                      </a:lnTo>
                      <a:lnTo>
                        <a:pt x="1273" y="527"/>
                      </a:lnTo>
                      <a:lnTo>
                        <a:pt x="1275" y="525"/>
                      </a:lnTo>
                      <a:lnTo>
                        <a:pt x="1278" y="525"/>
                      </a:lnTo>
                      <a:lnTo>
                        <a:pt x="1281" y="525"/>
                      </a:lnTo>
                      <a:lnTo>
                        <a:pt x="1284" y="525"/>
                      </a:lnTo>
                      <a:lnTo>
                        <a:pt x="1292" y="523"/>
                      </a:lnTo>
                      <a:lnTo>
                        <a:pt x="1299" y="524"/>
                      </a:lnTo>
                      <a:lnTo>
                        <a:pt x="1306" y="528"/>
                      </a:lnTo>
                      <a:lnTo>
                        <a:pt x="1308" y="530"/>
                      </a:lnTo>
                      <a:lnTo>
                        <a:pt x="1309" y="532"/>
                      </a:lnTo>
                      <a:lnTo>
                        <a:pt x="1309" y="534"/>
                      </a:lnTo>
                      <a:lnTo>
                        <a:pt x="1309" y="536"/>
                      </a:lnTo>
                      <a:lnTo>
                        <a:pt x="1308" y="540"/>
                      </a:lnTo>
                      <a:lnTo>
                        <a:pt x="1308" y="543"/>
                      </a:lnTo>
                      <a:lnTo>
                        <a:pt x="1310" y="545"/>
                      </a:lnTo>
                      <a:lnTo>
                        <a:pt x="1312" y="547"/>
                      </a:lnTo>
                      <a:lnTo>
                        <a:pt x="1314" y="550"/>
                      </a:lnTo>
                      <a:lnTo>
                        <a:pt x="1317" y="552"/>
                      </a:lnTo>
                      <a:lnTo>
                        <a:pt x="1319" y="554"/>
                      </a:lnTo>
                      <a:lnTo>
                        <a:pt x="1320" y="555"/>
                      </a:lnTo>
                      <a:lnTo>
                        <a:pt x="1320" y="557"/>
                      </a:lnTo>
                      <a:lnTo>
                        <a:pt x="1321" y="560"/>
                      </a:lnTo>
                      <a:lnTo>
                        <a:pt x="1322" y="561"/>
                      </a:lnTo>
                      <a:lnTo>
                        <a:pt x="1323" y="563"/>
                      </a:lnTo>
                      <a:lnTo>
                        <a:pt x="1325" y="564"/>
                      </a:lnTo>
                      <a:lnTo>
                        <a:pt x="1328" y="565"/>
                      </a:lnTo>
                      <a:lnTo>
                        <a:pt x="1329" y="565"/>
                      </a:lnTo>
                      <a:lnTo>
                        <a:pt x="1331" y="564"/>
                      </a:lnTo>
                      <a:lnTo>
                        <a:pt x="1333" y="564"/>
                      </a:lnTo>
                      <a:lnTo>
                        <a:pt x="1334" y="564"/>
                      </a:lnTo>
                      <a:lnTo>
                        <a:pt x="1336" y="565"/>
                      </a:lnTo>
                      <a:lnTo>
                        <a:pt x="1345" y="565"/>
                      </a:lnTo>
                      <a:lnTo>
                        <a:pt x="1346" y="565"/>
                      </a:lnTo>
                      <a:lnTo>
                        <a:pt x="1348" y="566"/>
                      </a:lnTo>
                      <a:lnTo>
                        <a:pt x="1350" y="567"/>
                      </a:lnTo>
                      <a:lnTo>
                        <a:pt x="1350" y="569"/>
                      </a:lnTo>
                      <a:lnTo>
                        <a:pt x="1350" y="572"/>
                      </a:lnTo>
                      <a:lnTo>
                        <a:pt x="1348" y="573"/>
                      </a:lnTo>
                      <a:lnTo>
                        <a:pt x="1347" y="574"/>
                      </a:lnTo>
                      <a:lnTo>
                        <a:pt x="1346" y="576"/>
                      </a:lnTo>
                      <a:lnTo>
                        <a:pt x="1345" y="578"/>
                      </a:lnTo>
                      <a:lnTo>
                        <a:pt x="1345" y="580"/>
                      </a:lnTo>
                      <a:lnTo>
                        <a:pt x="1345" y="582"/>
                      </a:lnTo>
                      <a:lnTo>
                        <a:pt x="1347" y="584"/>
                      </a:lnTo>
                      <a:lnTo>
                        <a:pt x="1350" y="585"/>
                      </a:lnTo>
                      <a:lnTo>
                        <a:pt x="1352" y="587"/>
                      </a:lnTo>
                      <a:lnTo>
                        <a:pt x="1354" y="588"/>
                      </a:lnTo>
                      <a:lnTo>
                        <a:pt x="1356" y="588"/>
                      </a:lnTo>
                      <a:lnTo>
                        <a:pt x="1358" y="588"/>
                      </a:lnTo>
                      <a:lnTo>
                        <a:pt x="1358" y="587"/>
                      </a:lnTo>
                      <a:lnTo>
                        <a:pt x="1358" y="585"/>
                      </a:lnTo>
                      <a:lnTo>
                        <a:pt x="1358" y="583"/>
                      </a:lnTo>
                      <a:lnTo>
                        <a:pt x="1355" y="580"/>
                      </a:lnTo>
                      <a:lnTo>
                        <a:pt x="1354" y="578"/>
                      </a:lnTo>
                      <a:lnTo>
                        <a:pt x="1353" y="575"/>
                      </a:lnTo>
                      <a:lnTo>
                        <a:pt x="1354" y="572"/>
                      </a:lnTo>
                      <a:lnTo>
                        <a:pt x="1356" y="569"/>
                      </a:lnTo>
                      <a:lnTo>
                        <a:pt x="1359" y="568"/>
                      </a:lnTo>
                      <a:lnTo>
                        <a:pt x="1363" y="568"/>
                      </a:lnTo>
                      <a:lnTo>
                        <a:pt x="1365" y="569"/>
                      </a:lnTo>
                      <a:lnTo>
                        <a:pt x="1367" y="571"/>
                      </a:lnTo>
                      <a:lnTo>
                        <a:pt x="1368" y="573"/>
                      </a:lnTo>
                      <a:lnTo>
                        <a:pt x="1369" y="574"/>
                      </a:lnTo>
                      <a:lnTo>
                        <a:pt x="1369" y="576"/>
                      </a:lnTo>
                      <a:lnTo>
                        <a:pt x="1369" y="579"/>
                      </a:lnTo>
                      <a:lnTo>
                        <a:pt x="1370" y="580"/>
                      </a:lnTo>
                      <a:lnTo>
                        <a:pt x="1369" y="583"/>
                      </a:lnTo>
                      <a:lnTo>
                        <a:pt x="1368" y="584"/>
                      </a:lnTo>
                      <a:lnTo>
                        <a:pt x="1367" y="585"/>
                      </a:lnTo>
                      <a:lnTo>
                        <a:pt x="1368" y="586"/>
                      </a:lnTo>
                      <a:lnTo>
                        <a:pt x="1369" y="587"/>
                      </a:lnTo>
                      <a:lnTo>
                        <a:pt x="1370" y="587"/>
                      </a:lnTo>
                      <a:lnTo>
                        <a:pt x="1370" y="588"/>
                      </a:lnTo>
                      <a:lnTo>
                        <a:pt x="1372" y="589"/>
                      </a:lnTo>
                      <a:lnTo>
                        <a:pt x="1370" y="593"/>
                      </a:lnTo>
                      <a:lnTo>
                        <a:pt x="1370" y="598"/>
                      </a:lnTo>
                      <a:lnTo>
                        <a:pt x="1369" y="604"/>
                      </a:lnTo>
                      <a:lnTo>
                        <a:pt x="1370" y="607"/>
                      </a:lnTo>
                      <a:lnTo>
                        <a:pt x="1374" y="609"/>
                      </a:lnTo>
                      <a:lnTo>
                        <a:pt x="1380" y="610"/>
                      </a:lnTo>
                      <a:lnTo>
                        <a:pt x="1388" y="610"/>
                      </a:lnTo>
                      <a:lnTo>
                        <a:pt x="1396" y="611"/>
                      </a:lnTo>
                      <a:lnTo>
                        <a:pt x="1397" y="612"/>
                      </a:lnTo>
                      <a:lnTo>
                        <a:pt x="1398" y="612"/>
                      </a:lnTo>
                      <a:lnTo>
                        <a:pt x="1400" y="614"/>
                      </a:lnTo>
                      <a:lnTo>
                        <a:pt x="1402" y="615"/>
                      </a:lnTo>
                      <a:lnTo>
                        <a:pt x="1404" y="615"/>
                      </a:lnTo>
                      <a:lnTo>
                        <a:pt x="1406" y="616"/>
                      </a:lnTo>
                      <a:lnTo>
                        <a:pt x="1406" y="615"/>
                      </a:lnTo>
                      <a:lnTo>
                        <a:pt x="1406" y="615"/>
                      </a:lnTo>
                      <a:lnTo>
                        <a:pt x="1404" y="614"/>
                      </a:lnTo>
                      <a:lnTo>
                        <a:pt x="1402" y="611"/>
                      </a:lnTo>
                      <a:lnTo>
                        <a:pt x="1400" y="610"/>
                      </a:lnTo>
                      <a:lnTo>
                        <a:pt x="1398" y="608"/>
                      </a:lnTo>
                      <a:lnTo>
                        <a:pt x="1398" y="607"/>
                      </a:lnTo>
                      <a:lnTo>
                        <a:pt x="1396" y="605"/>
                      </a:lnTo>
                      <a:lnTo>
                        <a:pt x="1395" y="604"/>
                      </a:lnTo>
                      <a:lnTo>
                        <a:pt x="1394" y="601"/>
                      </a:lnTo>
                      <a:lnTo>
                        <a:pt x="1391" y="600"/>
                      </a:lnTo>
                      <a:lnTo>
                        <a:pt x="1389" y="600"/>
                      </a:lnTo>
                      <a:lnTo>
                        <a:pt x="1386" y="599"/>
                      </a:lnTo>
                      <a:lnTo>
                        <a:pt x="1384" y="597"/>
                      </a:lnTo>
                      <a:lnTo>
                        <a:pt x="1383" y="596"/>
                      </a:lnTo>
                      <a:lnTo>
                        <a:pt x="1382" y="594"/>
                      </a:lnTo>
                      <a:lnTo>
                        <a:pt x="1382" y="591"/>
                      </a:lnTo>
                      <a:lnTo>
                        <a:pt x="1383" y="589"/>
                      </a:lnTo>
                      <a:lnTo>
                        <a:pt x="1383" y="587"/>
                      </a:lnTo>
                      <a:lnTo>
                        <a:pt x="1383" y="586"/>
                      </a:lnTo>
                      <a:lnTo>
                        <a:pt x="1382" y="584"/>
                      </a:lnTo>
                      <a:lnTo>
                        <a:pt x="1382" y="582"/>
                      </a:lnTo>
                      <a:lnTo>
                        <a:pt x="1382" y="579"/>
                      </a:lnTo>
                      <a:lnTo>
                        <a:pt x="1383" y="577"/>
                      </a:lnTo>
                      <a:lnTo>
                        <a:pt x="1383" y="576"/>
                      </a:lnTo>
                      <a:lnTo>
                        <a:pt x="1385" y="574"/>
                      </a:lnTo>
                      <a:lnTo>
                        <a:pt x="1386" y="574"/>
                      </a:lnTo>
                      <a:lnTo>
                        <a:pt x="1389" y="574"/>
                      </a:lnTo>
                      <a:lnTo>
                        <a:pt x="1400" y="574"/>
                      </a:lnTo>
                      <a:lnTo>
                        <a:pt x="1412" y="575"/>
                      </a:lnTo>
                      <a:lnTo>
                        <a:pt x="1423" y="578"/>
                      </a:lnTo>
                      <a:lnTo>
                        <a:pt x="1429" y="580"/>
                      </a:lnTo>
                      <a:lnTo>
                        <a:pt x="1432" y="584"/>
                      </a:lnTo>
                      <a:lnTo>
                        <a:pt x="1435" y="587"/>
                      </a:lnTo>
                      <a:lnTo>
                        <a:pt x="1439" y="590"/>
                      </a:lnTo>
                      <a:lnTo>
                        <a:pt x="1441" y="594"/>
                      </a:lnTo>
                      <a:lnTo>
                        <a:pt x="1443" y="596"/>
                      </a:lnTo>
                      <a:lnTo>
                        <a:pt x="1444" y="597"/>
                      </a:lnTo>
                      <a:lnTo>
                        <a:pt x="1444" y="599"/>
                      </a:lnTo>
                      <a:lnTo>
                        <a:pt x="1445" y="600"/>
                      </a:lnTo>
                      <a:lnTo>
                        <a:pt x="1448" y="603"/>
                      </a:lnTo>
                      <a:lnTo>
                        <a:pt x="1450" y="605"/>
                      </a:lnTo>
                      <a:lnTo>
                        <a:pt x="1452" y="605"/>
                      </a:lnTo>
                      <a:lnTo>
                        <a:pt x="1454" y="606"/>
                      </a:lnTo>
                      <a:lnTo>
                        <a:pt x="1456" y="607"/>
                      </a:lnTo>
                      <a:lnTo>
                        <a:pt x="1459" y="608"/>
                      </a:lnTo>
                      <a:lnTo>
                        <a:pt x="1461" y="609"/>
                      </a:lnTo>
                      <a:lnTo>
                        <a:pt x="1464" y="609"/>
                      </a:lnTo>
                      <a:lnTo>
                        <a:pt x="1466" y="609"/>
                      </a:lnTo>
                      <a:lnTo>
                        <a:pt x="1467" y="609"/>
                      </a:lnTo>
                      <a:lnTo>
                        <a:pt x="1467" y="609"/>
                      </a:lnTo>
                      <a:lnTo>
                        <a:pt x="1466" y="608"/>
                      </a:lnTo>
                      <a:lnTo>
                        <a:pt x="1465" y="607"/>
                      </a:lnTo>
                      <a:lnTo>
                        <a:pt x="1463" y="606"/>
                      </a:lnTo>
                      <a:lnTo>
                        <a:pt x="1461" y="606"/>
                      </a:lnTo>
                      <a:lnTo>
                        <a:pt x="1459" y="605"/>
                      </a:lnTo>
                      <a:lnTo>
                        <a:pt x="1456" y="603"/>
                      </a:lnTo>
                      <a:lnTo>
                        <a:pt x="1455" y="601"/>
                      </a:lnTo>
                      <a:lnTo>
                        <a:pt x="1454" y="599"/>
                      </a:lnTo>
                      <a:lnTo>
                        <a:pt x="1453" y="597"/>
                      </a:lnTo>
                      <a:lnTo>
                        <a:pt x="1452" y="596"/>
                      </a:lnTo>
                      <a:lnTo>
                        <a:pt x="1450" y="593"/>
                      </a:lnTo>
                      <a:lnTo>
                        <a:pt x="1448" y="590"/>
                      </a:lnTo>
                      <a:lnTo>
                        <a:pt x="1445" y="587"/>
                      </a:lnTo>
                      <a:lnTo>
                        <a:pt x="1443" y="585"/>
                      </a:lnTo>
                      <a:lnTo>
                        <a:pt x="1442" y="583"/>
                      </a:lnTo>
                      <a:lnTo>
                        <a:pt x="1440" y="582"/>
                      </a:lnTo>
                      <a:lnTo>
                        <a:pt x="1438" y="579"/>
                      </a:lnTo>
                      <a:lnTo>
                        <a:pt x="1437" y="578"/>
                      </a:lnTo>
                      <a:lnTo>
                        <a:pt x="1437" y="576"/>
                      </a:lnTo>
                      <a:lnTo>
                        <a:pt x="1438" y="575"/>
                      </a:lnTo>
                      <a:lnTo>
                        <a:pt x="1440" y="573"/>
                      </a:lnTo>
                      <a:lnTo>
                        <a:pt x="1443" y="572"/>
                      </a:lnTo>
                      <a:lnTo>
                        <a:pt x="1448" y="569"/>
                      </a:lnTo>
                      <a:lnTo>
                        <a:pt x="1453" y="567"/>
                      </a:lnTo>
                      <a:lnTo>
                        <a:pt x="1459" y="565"/>
                      </a:lnTo>
                      <a:lnTo>
                        <a:pt x="1462" y="565"/>
                      </a:lnTo>
                      <a:lnTo>
                        <a:pt x="1466" y="565"/>
                      </a:lnTo>
                      <a:lnTo>
                        <a:pt x="1471" y="564"/>
                      </a:lnTo>
                      <a:lnTo>
                        <a:pt x="1474" y="563"/>
                      </a:lnTo>
                      <a:lnTo>
                        <a:pt x="1477" y="561"/>
                      </a:lnTo>
                      <a:lnTo>
                        <a:pt x="1481" y="558"/>
                      </a:lnTo>
                      <a:lnTo>
                        <a:pt x="1483" y="556"/>
                      </a:lnTo>
                      <a:lnTo>
                        <a:pt x="1485" y="555"/>
                      </a:lnTo>
                      <a:lnTo>
                        <a:pt x="1487" y="554"/>
                      </a:lnTo>
                      <a:lnTo>
                        <a:pt x="1489" y="553"/>
                      </a:lnTo>
                      <a:lnTo>
                        <a:pt x="1492" y="552"/>
                      </a:lnTo>
                      <a:lnTo>
                        <a:pt x="1502" y="547"/>
                      </a:lnTo>
                      <a:lnTo>
                        <a:pt x="1510" y="546"/>
                      </a:lnTo>
                      <a:lnTo>
                        <a:pt x="1520" y="547"/>
                      </a:lnTo>
                      <a:lnTo>
                        <a:pt x="1521" y="547"/>
                      </a:lnTo>
                      <a:lnTo>
                        <a:pt x="1524" y="546"/>
                      </a:lnTo>
                      <a:lnTo>
                        <a:pt x="1526" y="546"/>
                      </a:lnTo>
                      <a:lnTo>
                        <a:pt x="1529" y="545"/>
                      </a:lnTo>
                      <a:lnTo>
                        <a:pt x="1531" y="545"/>
                      </a:lnTo>
                      <a:lnTo>
                        <a:pt x="1532" y="544"/>
                      </a:lnTo>
                      <a:lnTo>
                        <a:pt x="1532" y="543"/>
                      </a:lnTo>
                      <a:lnTo>
                        <a:pt x="1531" y="543"/>
                      </a:lnTo>
                      <a:lnTo>
                        <a:pt x="1525" y="541"/>
                      </a:lnTo>
                      <a:lnTo>
                        <a:pt x="1517" y="541"/>
                      </a:lnTo>
                      <a:lnTo>
                        <a:pt x="1509" y="541"/>
                      </a:lnTo>
                      <a:lnTo>
                        <a:pt x="1492" y="541"/>
                      </a:lnTo>
                      <a:lnTo>
                        <a:pt x="1489" y="539"/>
                      </a:lnTo>
                      <a:lnTo>
                        <a:pt x="1490" y="535"/>
                      </a:lnTo>
                      <a:lnTo>
                        <a:pt x="1494" y="531"/>
                      </a:lnTo>
                      <a:lnTo>
                        <a:pt x="1499" y="527"/>
                      </a:lnTo>
                      <a:lnTo>
                        <a:pt x="1504" y="523"/>
                      </a:lnTo>
                      <a:lnTo>
                        <a:pt x="1507" y="521"/>
                      </a:lnTo>
                      <a:lnTo>
                        <a:pt x="1509" y="520"/>
                      </a:lnTo>
                      <a:lnTo>
                        <a:pt x="1513" y="519"/>
                      </a:lnTo>
                      <a:lnTo>
                        <a:pt x="1515" y="518"/>
                      </a:lnTo>
                      <a:lnTo>
                        <a:pt x="1516" y="517"/>
                      </a:lnTo>
                      <a:lnTo>
                        <a:pt x="1518" y="514"/>
                      </a:lnTo>
                      <a:lnTo>
                        <a:pt x="1518" y="514"/>
                      </a:lnTo>
                      <a:lnTo>
                        <a:pt x="1518" y="513"/>
                      </a:lnTo>
                      <a:lnTo>
                        <a:pt x="1517" y="512"/>
                      </a:lnTo>
                      <a:lnTo>
                        <a:pt x="1516" y="512"/>
                      </a:lnTo>
                      <a:lnTo>
                        <a:pt x="1514" y="512"/>
                      </a:lnTo>
                      <a:lnTo>
                        <a:pt x="1508" y="512"/>
                      </a:lnTo>
                      <a:lnTo>
                        <a:pt x="1504" y="514"/>
                      </a:lnTo>
                      <a:lnTo>
                        <a:pt x="1499" y="517"/>
                      </a:lnTo>
                      <a:lnTo>
                        <a:pt x="1496" y="519"/>
                      </a:lnTo>
                      <a:lnTo>
                        <a:pt x="1492" y="521"/>
                      </a:lnTo>
                      <a:lnTo>
                        <a:pt x="1487" y="524"/>
                      </a:lnTo>
                      <a:lnTo>
                        <a:pt x="1485" y="528"/>
                      </a:lnTo>
                      <a:lnTo>
                        <a:pt x="1483" y="531"/>
                      </a:lnTo>
                      <a:lnTo>
                        <a:pt x="1483" y="536"/>
                      </a:lnTo>
                      <a:lnTo>
                        <a:pt x="1483" y="538"/>
                      </a:lnTo>
                      <a:lnTo>
                        <a:pt x="1484" y="540"/>
                      </a:lnTo>
                      <a:lnTo>
                        <a:pt x="1484" y="541"/>
                      </a:lnTo>
                      <a:lnTo>
                        <a:pt x="1483" y="543"/>
                      </a:lnTo>
                      <a:lnTo>
                        <a:pt x="1481" y="544"/>
                      </a:lnTo>
                      <a:lnTo>
                        <a:pt x="1478" y="546"/>
                      </a:lnTo>
                      <a:lnTo>
                        <a:pt x="1477" y="547"/>
                      </a:lnTo>
                      <a:lnTo>
                        <a:pt x="1476" y="550"/>
                      </a:lnTo>
                      <a:lnTo>
                        <a:pt x="1472" y="553"/>
                      </a:lnTo>
                      <a:lnTo>
                        <a:pt x="1464" y="555"/>
                      </a:lnTo>
                      <a:lnTo>
                        <a:pt x="1456" y="557"/>
                      </a:lnTo>
                      <a:lnTo>
                        <a:pt x="1448" y="558"/>
                      </a:lnTo>
                      <a:lnTo>
                        <a:pt x="1444" y="560"/>
                      </a:lnTo>
                      <a:lnTo>
                        <a:pt x="1441" y="562"/>
                      </a:lnTo>
                      <a:lnTo>
                        <a:pt x="1437" y="562"/>
                      </a:lnTo>
                      <a:lnTo>
                        <a:pt x="1432" y="563"/>
                      </a:lnTo>
                      <a:lnTo>
                        <a:pt x="1431" y="562"/>
                      </a:lnTo>
                      <a:lnTo>
                        <a:pt x="1430" y="561"/>
                      </a:lnTo>
                      <a:lnTo>
                        <a:pt x="1430" y="558"/>
                      </a:lnTo>
                      <a:lnTo>
                        <a:pt x="1431" y="557"/>
                      </a:lnTo>
                      <a:lnTo>
                        <a:pt x="1431" y="556"/>
                      </a:lnTo>
                      <a:lnTo>
                        <a:pt x="1431" y="555"/>
                      </a:lnTo>
                      <a:lnTo>
                        <a:pt x="1430" y="554"/>
                      </a:lnTo>
                      <a:lnTo>
                        <a:pt x="1428" y="553"/>
                      </a:lnTo>
                      <a:lnTo>
                        <a:pt x="1426" y="554"/>
                      </a:lnTo>
                      <a:lnTo>
                        <a:pt x="1423" y="555"/>
                      </a:lnTo>
                      <a:lnTo>
                        <a:pt x="1420" y="557"/>
                      </a:lnTo>
                      <a:lnTo>
                        <a:pt x="1418" y="560"/>
                      </a:lnTo>
                      <a:lnTo>
                        <a:pt x="1417" y="562"/>
                      </a:lnTo>
                      <a:lnTo>
                        <a:pt x="1415" y="563"/>
                      </a:lnTo>
                      <a:lnTo>
                        <a:pt x="1410" y="564"/>
                      </a:lnTo>
                      <a:lnTo>
                        <a:pt x="1402" y="565"/>
                      </a:lnTo>
                      <a:lnTo>
                        <a:pt x="1396" y="565"/>
                      </a:lnTo>
                      <a:lnTo>
                        <a:pt x="1391" y="563"/>
                      </a:lnTo>
                      <a:lnTo>
                        <a:pt x="1389" y="562"/>
                      </a:lnTo>
                      <a:lnTo>
                        <a:pt x="1389" y="560"/>
                      </a:lnTo>
                      <a:lnTo>
                        <a:pt x="1389" y="558"/>
                      </a:lnTo>
                      <a:lnTo>
                        <a:pt x="1390" y="556"/>
                      </a:lnTo>
                      <a:lnTo>
                        <a:pt x="1390" y="555"/>
                      </a:lnTo>
                      <a:lnTo>
                        <a:pt x="1391" y="554"/>
                      </a:lnTo>
                      <a:lnTo>
                        <a:pt x="1391" y="552"/>
                      </a:lnTo>
                      <a:lnTo>
                        <a:pt x="1393" y="550"/>
                      </a:lnTo>
                      <a:lnTo>
                        <a:pt x="1395" y="547"/>
                      </a:lnTo>
                      <a:lnTo>
                        <a:pt x="1397" y="546"/>
                      </a:lnTo>
                      <a:lnTo>
                        <a:pt x="1399" y="545"/>
                      </a:lnTo>
                      <a:lnTo>
                        <a:pt x="1415" y="540"/>
                      </a:lnTo>
                      <a:lnTo>
                        <a:pt x="1430" y="536"/>
                      </a:lnTo>
                      <a:lnTo>
                        <a:pt x="1433" y="535"/>
                      </a:lnTo>
                      <a:lnTo>
                        <a:pt x="1434" y="534"/>
                      </a:lnTo>
                      <a:lnTo>
                        <a:pt x="1434" y="534"/>
                      </a:lnTo>
                      <a:lnTo>
                        <a:pt x="1433" y="533"/>
                      </a:lnTo>
                      <a:lnTo>
                        <a:pt x="1432" y="533"/>
                      </a:lnTo>
                      <a:lnTo>
                        <a:pt x="1430" y="533"/>
                      </a:lnTo>
                      <a:lnTo>
                        <a:pt x="1428" y="533"/>
                      </a:lnTo>
                      <a:lnTo>
                        <a:pt x="1426" y="534"/>
                      </a:lnTo>
                      <a:lnTo>
                        <a:pt x="1423" y="534"/>
                      </a:lnTo>
                      <a:lnTo>
                        <a:pt x="1421" y="534"/>
                      </a:lnTo>
                      <a:lnTo>
                        <a:pt x="1410" y="535"/>
                      </a:lnTo>
                      <a:lnTo>
                        <a:pt x="1399" y="539"/>
                      </a:lnTo>
                      <a:lnTo>
                        <a:pt x="1389" y="543"/>
                      </a:lnTo>
                      <a:lnTo>
                        <a:pt x="1385" y="544"/>
                      </a:lnTo>
                      <a:lnTo>
                        <a:pt x="1383" y="546"/>
                      </a:lnTo>
                      <a:lnTo>
                        <a:pt x="1380" y="549"/>
                      </a:lnTo>
                      <a:lnTo>
                        <a:pt x="1378" y="551"/>
                      </a:lnTo>
                      <a:lnTo>
                        <a:pt x="1376" y="554"/>
                      </a:lnTo>
                      <a:lnTo>
                        <a:pt x="1369" y="555"/>
                      </a:lnTo>
                      <a:lnTo>
                        <a:pt x="1363" y="554"/>
                      </a:lnTo>
                      <a:lnTo>
                        <a:pt x="1356" y="552"/>
                      </a:lnTo>
                      <a:lnTo>
                        <a:pt x="1352" y="550"/>
                      </a:lnTo>
                      <a:lnTo>
                        <a:pt x="1348" y="549"/>
                      </a:lnTo>
                      <a:lnTo>
                        <a:pt x="1346" y="547"/>
                      </a:lnTo>
                      <a:lnTo>
                        <a:pt x="1346" y="546"/>
                      </a:lnTo>
                      <a:lnTo>
                        <a:pt x="1347" y="545"/>
                      </a:lnTo>
                      <a:lnTo>
                        <a:pt x="1350" y="544"/>
                      </a:lnTo>
                      <a:lnTo>
                        <a:pt x="1354" y="543"/>
                      </a:lnTo>
                      <a:lnTo>
                        <a:pt x="1365" y="540"/>
                      </a:lnTo>
                      <a:lnTo>
                        <a:pt x="1376" y="540"/>
                      </a:lnTo>
                      <a:lnTo>
                        <a:pt x="1387" y="539"/>
                      </a:lnTo>
                      <a:lnTo>
                        <a:pt x="1398" y="532"/>
                      </a:lnTo>
                      <a:lnTo>
                        <a:pt x="1408" y="525"/>
                      </a:lnTo>
                      <a:lnTo>
                        <a:pt x="1410" y="524"/>
                      </a:lnTo>
                      <a:lnTo>
                        <a:pt x="1410" y="524"/>
                      </a:lnTo>
                      <a:lnTo>
                        <a:pt x="1410" y="523"/>
                      </a:lnTo>
                      <a:lnTo>
                        <a:pt x="1408" y="523"/>
                      </a:lnTo>
                      <a:lnTo>
                        <a:pt x="1406" y="523"/>
                      </a:lnTo>
                      <a:lnTo>
                        <a:pt x="1404" y="524"/>
                      </a:lnTo>
                      <a:lnTo>
                        <a:pt x="1401" y="524"/>
                      </a:lnTo>
                      <a:lnTo>
                        <a:pt x="1399" y="525"/>
                      </a:lnTo>
                      <a:lnTo>
                        <a:pt x="1396" y="528"/>
                      </a:lnTo>
                      <a:lnTo>
                        <a:pt x="1391" y="530"/>
                      </a:lnTo>
                      <a:lnTo>
                        <a:pt x="1387" y="532"/>
                      </a:lnTo>
                      <a:lnTo>
                        <a:pt x="1383" y="534"/>
                      </a:lnTo>
                      <a:lnTo>
                        <a:pt x="1372" y="536"/>
                      </a:lnTo>
                      <a:lnTo>
                        <a:pt x="1361" y="539"/>
                      </a:lnTo>
                      <a:lnTo>
                        <a:pt x="1356" y="539"/>
                      </a:lnTo>
                      <a:lnTo>
                        <a:pt x="1353" y="540"/>
                      </a:lnTo>
                      <a:lnTo>
                        <a:pt x="1350" y="541"/>
                      </a:lnTo>
                      <a:lnTo>
                        <a:pt x="1346" y="541"/>
                      </a:lnTo>
                      <a:lnTo>
                        <a:pt x="1343" y="541"/>
                      </a:lnTo>
                      <a:lnTo>
                        <a:pt x="1340" y="541"/>
                      </a:lnTo>
                      <a:lnTo>
                        <a:pt x="1337" y="540"/>
                      </a:lnTo>
                      <a:lnTo>
                        <a:pt x="1335" y="540"/>
                      </a:lnTo>
                      <a:lnTo>
                        <a:pt x="1333" y="539"/>
                      </a:lnTo>
                      <a:lnTo>
                        <a:pt x="1333" y="538"/>
                      </a:lnTo>
                      <a:lnTo>
                        <a:pt x="1333" y="535"/>
                      </a:lnTo>
                      <a:lnTo>
                        <a:pt x="1334" y="534"/>
                      </a:lnTo>
                      <a:lnTo>
                        <a:pt x="1335" y="533"/>
                      </a:lnTo>
                      <a:lnTo>
                        <a:pt x="1336" y="532"/>
                      </a:lnTo>
                      <a:lnTo>
                        <a:pt x="1337" y="531"/>
                      </a:lnTo>
                      <a:lnTo>
                        <a:pt x="1339" y="530"/>
                      </a:lnTo>
                      <a:lnTo>
                        <a:pt x="1340" y="530"/>
                      </a:lnTo>
                      <a:lnTo>
                        <a:pt x="1342" y="529"/>
                      </a:lnTo>
                      <a:lnTo>
                        <a:pt x="1342" y="529"/>
                      </a:lnTo>
                      <a:lnTo>
                        <a:pt x="1343" y="528"/>
                      </a:lnTo>
                      <a:lnTo>
                        <a:pt x="1343" y="527"/>
                      </a:lnTo>
                      <a:lnTo>
                        <a:pt x="1343" y="525"/>
                      </a:lnTo>
                      <a:lnTo>
                        <a:pt x="1342" y="524"/>
                      </a:lnTo>
                      <a:lnTo>
                        <a:pt x="1341" y="524"/>
                      </a:lnTo>
                      <a:lnTo>
                        <a:pt x="1341" y="523"/>
                      </a:lnTo>
                      <a:lnTo>
                        <a:pt x="1341" y="521"/>
                      </a:lnTo>
                      <a:lnTo>
                        <a:pt x="1343" y="519"/>
                      </a:lnTo>
                      <a:lnTo>
                        <a:pt x="1345" y="519"/>
                      </a:lnTo>
                      <a:lnTo>
                        <a:pt x="1351" y="517"/>
                      </a:lnTo>
                      <a:lnTo>
                        <a:pt x="1356" y="513"/>
                      </a:lnTo>
                      <a:lnTo>
                        <a:pt x="1361" y="510"/>
                      </a:lnTo>
                      <a:lnTo>
                        <a:pt x="1356" y="510"/>
                      </a:lnTo>
                      <a:lnTo>
                        <a:pt x="1353" y="511"/>
                      </a:lnTo>
                      <a:lnTo>
                        <a:pt x="1350" y="512"/>
                      </a:lnTo>
                      <a:lnTo>
                        <a:pt x="1346" y="513"/>
                      </a:lnTo>
                      <a:lnTo>
                        <a:pt x="1345" y="514"/>
                      </a:lnTo>
                      <a:lnTo>
                        <a:pt x="1341" y="517"/>
                      </a:lnTo>
                      <a:lnTo>
                        <a:pt x="1336" y="518"/>
                      </a:lnTo>
                      <a:lnTo>
                        <a:pt x="1332" y="519"/>
                      </a:lnTo>
                      <a:lnTo>
                        <a:pt x="1330" y="518"/>
                      </a:lnTo>
                      <a:lnTo>
                        <a:pt x="1330" y="518"/>
                      </a:lnTo>
                      <a:lnTo>
                        <a:pt x="1329" y="517"/>
                      </a:lnTo>
                      <a:lnTo>
                        <a:pt x="1330" y="516"/>
                      </a:lnTo>
                      <a:lnTo>
                        <a:pt x="1330" y="514"/>
                      </a:lnTo>
                      <a:lnTo>
                        <a:pt x="1330" y="514"/>
                      </a:lnTo>
                      <a:lnTo>
                        <a:pt x="1331" y="513"/>
                      </a:lnTo>
                      <a:lnTo>
                        <a:pt x="1332" y="512"/>
                      </a:lnTo>
                      <a:lnTo>
                        <a:pt x="1333" y="511"/>
                      </a:lnTo>
                      <a:lnTo>
                        <a:pt x="1334" y="510"/>
                      </a:lnTo>
                      <a:lnTo>
                        <a:pt x="1335" y="509"/>
                      </a:lnTo>
                      <a:lnTo>
                        <a:pt x="1336" y="508"/>
                      </a:lnTo>
                      <a:lnTo>
                        <a:pt x="1336" y="508"/>
                      </a:lnTo>
                      <a:lnTo>
                        <a:pt x="1336" y="507"/>
                      </a:lnTo>
                      <a:lnTo>
                        <a:pt x="1334" y="507"/>
                      </a:lnTo>
                      <a:lnTo>
                        <a:pt x="1332" y="508"/>
                      </a:lnTo>
                      <a:lnTo>
                        <a:pt x="1329" y="508"/>
                      </a:lnTo>
                      <a:lnTo>
                        <a:pt x="1324" y="509"/>
                      </a:lnTo>
                      <a:lnTo>
                        <a:pt x="1319" y="509"/>
                      </a:lnTo>
                      <a:lnTo>
                        <a:pt x="1314" y="510"/>
                      </a:lnTo>
                      <a:lnTo>
                        <a:pt x="1312" y="509"/>
                      </a:lnTo>
                      <a:lnTo>
                        <a:pt x="1311" y="508"/>
                      </a:lnTo>
                      <a:lnTo>
                        <a:pt x="1311" y="507"/>
                      </a:lnTo>
                      <a:lnTo>
                        <a:pt x="1311" y="505"/>
                      </a:lnTo>
                      <a:lnTo>
                        <a:pt x="1312" y="503"/>
                      </a:lnTo>
                      <a:lnTo>
                        <a:pt x="1314" y="502"/>
                      </a:lnTo>
                      <a:lnTo>
                        <a:pt x="1317" y="501"/>
                      </a:lnTo>
                      <a:lnTo>
                        <a:pt x="1318" y="500"/>
                      </a:lnTo>
                      <a:lnTo>
                        <a:pt x="1319" y="499"/>
                      </a:lnTo>
                      <a:lnTo>
                        <a:pt x="1320" y="497"/>
                      </a:lnTo>
                      <a:lnTo>
                        <a:pt x="1322" y="495"/>
                      </a:lnTo>
                      <a:lnTo>
                        <a:pt x="1324" y="494"/>
                      </a:lnTo>
                      <a:lnTo>
                        <a:pt x="1329" y="492"/>
                      </a:lnTo>
                      <a:lnTo>
                        <a:pt x="1331" y="492"/>
                      </a:lnTo>
                      <a:lnTo>
                        <a:pt x="1334" y="492"/>
                      </a:lnTo>
                      <a:lnTo>
                        <a:pt x="1336" y="492"/>
                      </a:lnTo>
                      <a:lnTo>
                        <a:pt x="1339" y="492"/>
                      </a:lnTo>
                      <a:lnTo>
                        <a:pt x="1340" y="491"/>
                      </a:lnTo>
                      <a:lnTo>
                        <a:pt x="1341" y="489"/>
                      </a:lnTo>
                      <a:lnTo>
                        <a:pt x="1341" y="488"/>
                      </a:lnTo>
                      <a:lnTo>
                        <a:pt x="1343" y="486"/>
                      </a:lnTo>
                      <a:lnTo>
                        <a:pt x="1345" y="485"/>
                      </a:lnTo>
                      <a:lnTo>
                        <a:pt x="1347" y="484"/>
                      </a:lnTo>
                      <a:lnTo>
                        <a:pt x="1351" y="484"/>
                      </a:lnTo>
                      <a:lnTo>
                        <a:pt x="1354" y="484"/>
                      </a:lnTo>
                      <a:lnTo>
                        <a:pt x="1356" y="481"/>
                      </a:lnTo>
                      <a:lnTo>
                        <a:pt x="1361" y="479"/>
                      </a:lnTo>
                      <a:lnTo>
                        <a:pt x="1365" y="479"/>
                      </a:lnTo>
                      <a:lnTo>
                        <a:pt x="1367" y="479"/>
                      </a:lnTo>
                      <a:lnTo>
                        <a:pt x="1369" y="480"/>
                      </a:lnTo>
                      <a:lnTo>
                        <a:pt x="1372" y="480"/>
                      </a:lnTo>
                      <a:lnTo>
                        <a:pt x="1374" y="481"/>
                      </a:lnTo>
                      <a:lnTo>
                        <a:pt x="1376" y="481"/>
                      </a:lnTo>
                      <a:lnTo>
                        <a:pt x="1377" y="483"/>
                      </a:lnTo>
                      <a:lnTo>
                        <a:pt x="1378" y="481"/>
                      </a:lnTo>
                      <a:lnTo>
                        <a:pt x="1380" y="481"/>
                      </a:lnTo>
                      <a:lnTo>
                        <a:pt x="1383" y="481"/>
                      </a:lnTo>
                      <a:lnTo>
                        <a:pt x="1385" y="481"/>
                      </a:lnTo>
                      <a:lnTo>
                        <a:pt x="1387" y="481"/>
                      </a:lnTo>
                      <a:lnTo>
                        <a:pt x="1389" y="484"/>
                      </a:lnTo>
                      <a:lnTo>
                        <a:pt x="1391" y="484"/>
                      </a:lnTo>
                      <a:lnTo>
                        <a:pt x="1394" y="484"/>
                      </a:lnTo>
                      <a:lnTo>
                        <a:pt x="1396" y="483"/>
                      </a:lnTo>
                      <a:lnTo>
                        <a:pt x="1397" y="483"/>
                      </a:lnTo>
                      <a:lnTo>
                        <a:pt x="1397" y="483"/>
                      </a:lnTo>
                      <a:lnTo>
                        <a:pt x="1396" y="481"/>
                      </a:lnTo>
                      <a:lnTo>
                        <a:pt x="1394" y="479"/>
                      </a:lnTo>
                      <a:lnTo>
                        <a:pt x="1393" y="478"/>
                      </a:lnTo>
                      <a:lnTo>
                        <a:pt x="1389" y="477"/>
                      </a:lnTo>
                      <a:lnTo>
                        <a:pt x="1387" y="477"/>
                      </a:lnTo>
                      <a:lnTo>
                        <a:pt x="1385" y="476"/>
                      </a:lnTo>
                      <a:lnTo>
                        <a:pt x="1383" y="475"/>
                      </a:lnTo>
                      <a:lnTo>
                        <a:pt x="1382" y="474"/>
                      </a:lnTo>
                      <a:lnTo>
                        <a:pt x="1383" y="473"/>
                      </a:lnTo>
                      <a:lnTo>
                        <a:pt x="1383" y="471"/>
                      </a:lnTo>
                      <a:lnTo>
                        <a:pt x="1384" y="470"/>
                      </a:lnTo>
                      <a:lnTo>
                        <a:pt x="1386" y="470"/>
                      </a:lnTo>
                      <a:lnTo>
                        <a:pt x="1387" y="470"/>
                      </a:lnTo>
                      <a:lnTo>
                        <a:pt x="1389" y="470"/>
                      </a:lnTo>
                      <a:lnTo>
                        <a:pt x="1390" y="469"/>
                      </a:lnTo>
                      <a:lnTo>
                        <a:pt x="1391" y="469"/>
                      </a:lnTo>
                      <a:lnTo>
                        <a:pt x="1391" y="468"/>
                      </a:lnTo>
                      <a:lnTo>
                        <a:pt x="1391" y="467"/>
                      </a:lnTo>
                      <a:lnTo>
                        <a:pt x="1391" y="466"/>
                      </a:lnTo>
                      <a:lnTo>
                        <a:pt x="1391" y="466"/>
                      </a:lnTo>
                      <a:lnTo>
                        <a:pt x="1389" y="464"/>
                      </a:lnTo>
                      <a:lnTo>
                        <a:pt x="1387" y="463"/>
                      </a:lnTo>
                      <a:lnTo>
                        <a:pt x="1386" y="462"/>
                      </a:lnTo>
                      <a:lnTo>
                        <a:pt x="1385" y="460"/>
                      </a:lnTo>
                      <a:lnTo>
                        <a:pt x="1384" y="459"/>
                      </a:lnTo>
                      <a:lnTo>
                        <a:pt x="1385" y="458"/>
                      </a:lnTo>
                      <a:lnTo>
                        <a:pt x="1387" y="457"/>
                      </a:lnTo>
                      <a:lnTo>
                        <a:pt x="1391" y="457"/>
                      </a:lnTo>
                      <a:lnTo>
                        <a:pt x="1395" y="457"/>
                      </a:lnTo>
                      <a:lnTo>
                        <a:pt x="1399" y="457"/>
                      </a:lnTo>
                      <a:lnTo>
                        <a:pt x="1402" y="457"/>
                      </a:lnTo>
                      <a:lnTo>
                        <a:pt x="1406" y="459"/>
                      </a:lnTo>
                      <a:lnTo>
                        <a:pt x="1408" y="459"/>
                      </a:lnTo>
                      <a:lnTo>
                        <a:pt x="1409" y="462"/>
                      </a:lnTo>
                      <a:lnTo>
                        <a:pt x="1411" y="463"/>
                      </a:lnTo>
                      <a:lnTo>
                        <a:pt x="1412" y="464"/>
                      </a:lnTo>
                      <a:lnTo>
                        <a:pt x="1417" y="466"/>
                      </a:lnTo>
                      <a:lnTo>
                        <a:pt x="1420" y="468"/>
                      </a:lnTo>
                      <a:lnTo>
                        <a:pt x="1423" y="470"/>
                      </a:lnTo>
                      <a:lnTo>
                        <a:pt x="1426" y="469"/>
                      </a:lnTo>
                      <a:lnTo>
                        <a:pt x="1428" y="468"/>
                      </a:lnTo>
                      <a:lnTo>
                        <a:pt x="1430" y="468"/>
                      </a:lnTo>
                      <a:lnTo>
                        <a:pt x="1434" y="470"/>
                      </a:lnTo>
                      <a:lnTo>
                        <a:pt x="1437" y="473"/>
                      </a:lnTo>
                      <a:lnTo>
                        <a:pt x="1439" y="475"/>
                      </a:lnTo>
                      <a:lnTo>
                        <a:pt x="1443" y="476"/>
                      </a:lnTo>
                      <a:lnTo>
                        <a:pt x="1446" y="477"/>
                      </a:lnTo>
                      <a:lnTo>
                        <a:pt x="1451" y="478"/>
                      </a:lnTo>
                      <a:lnTo>
                        <a:pt x="1454" y="479"/>
                      </a:lnTo>
                      <a:lnTo>
                        <a:pt x="1456" y="479"/>
                      </a:lnTo>
                      <a:lnTo>
                        <a:pt x="1457" y="478"/>
                      </a:lnTo>
                      <a:lnTo>
                        <a:pt x="1459" y="477"/>
                      </a:lnTo>
                      <a:lnTo>
                        <a:pt x="1457" y="477"/>
                      </a:lnTo>
                      <a:lnTo>
                        <a:pt x="1456" y="476"/>
                      </a:lnTo>
                      <a:lnTo>
                        <a:pt x="1454" y="475"/>
                      </a:lnTo>
                      <a:lnTo>
                        <a:pt x="1453" y="475"/>
                      </a:lnTo>
                      <a:lnTo>
                        <a:pt x="1452" y="475"/>
                      </a:lnTo>
                      <a:lnTo>
                        <a:pt x="1450" y="473"/>
                      </a:lnTo>
                      <a:lnTo>
                        <a:pt x="1446" y="470"/>
                      </a:lnTo>
                      <a:lnTo>
                        <a:pt x="1443" y="468"/>
                      </a:lnTo>
                      <a:lnTo>
                        <a:pt x="1440" y="466"/>
                      </a:lnTo>
                      <a:lnTo>
                        <a:pt x="1437" y="464"/>
                      </a:lnTo>
                      <a:lnTo>
                        <a:pt x="1434" y="460"/>
                      </a:lnTo>
                      <a:lnTo>
                        <a:pt x="1433" y="458"/>
                      </a:lnTo>
                      <a:lnTo>
                        <a:pt x="1432" y="457"/>
                      </a:lnTo>
                      <a:lnTo>
                        <a:pt x="1433" y="456"/>
                      </a:lnTo>
                      <a:lnTo>
                        <a:pt x="1434" y="455"/>
                      </a:lnTo>
                      <a:lnTo>
                        <a:pt x="1435" y="454"/>
                      </a:lnTo>
                      <a:lnTo>
                        <a:pt x="1437" y="454"/>
                      </a:lnTo>
                      <a:lnTo>
                        <a:pt x="1437" y="453"/>
                      </a:lnTo>
                      <a:lnTo>
                        <a:pt x="1438" y="451"/>
                      </a:lnTo>
                      <a:lnTo>
                        <a:pt x="1439" y="451"/>
                      </a:lnTo>
                      <a:lnTo>
                        <a:pt x="1439" y="449"/>
                      </a:lnTo>
                      <a:lnTo>
                        <a:pt x="1439" y="448"/>
                      </a:lnTo>
                      <a:lnTo>
                        <a:pt x="1439" y="447"/>
                      </a:lnTo>
                      <a:lnTo>
                        <a:pt x="1439" y="447"/>
                      </a:lnTo>
                      <a:lnTo>
                        <a:pt x="1439" y="446"/>
                      </a:lnTo>
                      <a:lnTo>
                        <a:pt x="1440" y="446"/>
                      </a:lnTo>
                      <a:lnTo>
                        <a:pt x="1441" y="446"/>
                      </a:lnTo>
                      <a:lnTo>
                        <a:pt x="1443" y="447"/>
                      </a:lnTo>
                      <a:lnTo>
                        <a:pt x="1445" y="449"/>
                      </a:lnTo>
                      <a:lnTo>
                        <a:pt x="1448" y="451"/>
                      </a:lnTo>
                      <a:lnTo>
                        <a:pt x="1451" y="452"/>
                      </a:lnTo>
                      <a:lnTo>
                        <a:pt x="1453" y="453"/>
                      </a:lnTo>
                      <a:lnTo>
                        <a:pt x="1456" y="453"/>
                      </a:lnTo>
                      <a:lnTo>
                        <a:pt x="1456" y="452"/>
                      </a:lnTo>
                      <a:lnTo>
                        <a:pt x="1455" y="451"/>
                      </a:lnTo>
                      <a:lnTo>
                        <a:pt x="1454" y="448"/>
                      </a:lnTo>
                      <a:lnTo>
                        <a:pt x="1453" y="445"/>
                      </a:lnTo>
                      <a:lnTo>
                        <a:pt x="1452" y="443"/>
                      </a:lnTo>
                      <a:lnTo>
                        <a:pt x="1451" y="441"/>
                      </a:lnTo>
                      <a:lnTo>
                        <a:pt x="1450" y="440"/>
                      </a:lnTo>
                      <a:lnTo>
                        <a:pt x="1449" y="438"/>
                      </a:lnTo>
                      <a:lnTo>
                        <a:pt x="1449" y="437"/>
                      </a:lnTo>
                      <a:lnTo>
                        <a:pt x="1448" y="436"/>
                      </a:lnTo>
                      <a:lnTo>
                        <a:pt x="1449" y="435"/>
                      </a:lnTo>
                      <a:lnTo>
                        <a:pt x="1450" y="434"/>
                      </a:lnTo>
                      <a:lnTo>
                        <a:pt x="1451" y="434"/>
                      </a:lnTo>
                      <a:lnTo>
                        <a:pt x="1454" y="435"/>
                      </a:lnTo>
                      <a:lnTo>
                        <a:pt x="1455" y="435"/>
                      </a:lnTo>
                      <a:lnTo>
                        <a:pt x="1456" y="435"/>
                      </a:lnTo>
                      <a:lnTo>
                        <a:pt x="1457" y="436"/>
                      </a:lnTo>
                      <a:lnTo>
                        <a:pt x="1460" y="437"/>
                      </a:lnTo>
                      <a:lnTo>
                        <a:pt x="1462" y="438"/>
                      </a:lnTo>
                      <a:lnTo>
                        <a:pt x="1463" y="438"/>
                      </a:lnTo>
                      <a:lnTo>
                        <a:pt x="1465" y="440"/>
                      </a:lnTo>
                      <a:lnTo>
                        <a:pt x="1465" y="440"/>
                      </a:lnTo>
                      <a:lnTo>
                        <a:pt x="1465" y="440"/>
                      </a:lnTo>
                      <a:lnTo>
                        <a:pt x="1465" y="437"/>
                      </a:lnTo>
                      <a:lnTo>
                        <a:pt x="1464" y="436"/>
                      </a:lnTo>
                      <a:lnTo>
                        <a:pt x="1463" y="435"/>
                      </a:lnTo>
                      <a:lnTo>
                        <a:pt x="1463" y="434"/>
                      </a:lnTo>
                      <a:lnTo>
                        <a:pt x="1463" y="432"/>
                      </a:lnTo>
                      <a:lnTo>
                        <a:pt x="1463" y="431"/>
                      </a:lnTo>
                      <a:lnTo>
                        <a:pt x="1465" y="430"/>
                      </a:lnTo>
                      <a:lnTo>
                        <a:pt x="1467" y="429"/>
                      </a:lnTo>
                      <a:lnTo>
                        <a:pt x="1471" y="429"/>
                      </a:lnTo>
                      <a:lnTo>
                        <a:pt x="1474" y="429"/>
                      </a:lnTo>
                      <a:lnTo>
                        <a:pt x="1478" y="429"/>
                      </a:lnTo>
                      <a:lnTo>
                        <a:pt x="1482" y="430"/>
                      </a:lnTo>
                      <a:lnTo>
                        <a:pt x="1485" y="431"/>
                      </a:lnTo>
                      <a:lnTo>
                        <a:pt x="1487" y="433"/>
                      </a:lnTo>
                      <a:lnTo>
                        <a:pt x="1490" y="433"/>
                      </a:lnTo>
                      <a:lnTo>
                        <a:pt x="1494" y="433"/>
                      </a:lnTo>
                      <a:lnTo>
                        <a:pt x="1495" y="431"/>
                      </a:lnTo>
                      <a:lnTo>
                        <a:pt x="1496" y="431"/>
                      </a:lnTo>
                      <a:lnTo>
                        <a:pt x="1497" y="431"/>
                      </a:lnTo>
                      <a:lnTo>
                        <a:pt x="1498" y="431"/>
                      </a:lnTo>
                      <a:lnTo>
                        <a:pt x="1503" y="431"/>
                      </a:lnTo>
                      <a:lnTo>
                        <a:pt x="1504" y="432"/>
                      </a:lnTo>
                      <a:lnTo>
                        <a:pt x="1505" y="433"/>
                      </a:lnTo>
                      <a:lnTo>
                        <a:pt x="1506" y="434"/>
                      </a:lnTo>
                      <a:lnTo>
                        <a:pt x="1507" y="435"/>
                      </a:lnTo>
                      <a:lnTo>
                        <a:pt x="1510" y="437"/>
                      </a:lnTo>
                      <a:lnTo>
                        <a:pt x="1514" y="441"/>
                      </a:lnTo>
                      <a:lnTo>
                        <a:pt x="1517" y="443"/>
                      </a:lnTo>
                      <a:lnTo>
                        <a:pt x="1520" y="445"/>
                      </a:lnTo>
                      <a:lnTo>
                        <a:pt x="1522" y="447"/>
                      </a:lnTo>
                      <a:lnTo>
                        <a:pt x="1525" y="451"/>
                      </a:lnTo>
                      <a:lnTo>
                        <a:pt x="1526" y="452"/>
                      </a:lnTo>
                      <a:lnTo>
                        <a:pt x="1527" y="453"/>
                      </a:lnTo>
                      <a:lnTo>
                        <a:pt x="1527" y="454"/>
                      </a:lnTo>
                      <a:lnTo>
                        <a:pt x="1529" y="454"/>
                      </a:lnTo>
                      <a:lnTo>
                        <a:pt x="1531" y="455"/>
                      </a:lnTo>
                      <a:lnTo>
                        <a:pt x="1532" y="454"/>
                      </a:lnTo>
                      <a:lnTo>
                        <a:pt x="1533" y="454"/>
                      </a:lnTo>
                      <a:lnTo>
                        <a:pt x="1533" y="453"/>
                      </a:lnTo>
                      <a:lnTo>
                        <a:pt x="1533" y="452"/>
                      </a:lnTo>
                      <a:lnTo>
                        <a:pt x="1533" y="451"/>
                      </a:lnTo>
                      <a:lnTo>
                        <a:pt x="1532" y="448"/>
                      </a:lnTo>
                      <a:lnTo>
                        <a:pt x="1531" y="446"/>
                      </a:lnTo>
                      <a:lnTo>
                        <a:pt x="1529" y="443"/>
                      </a:lnTo>
                      <a:lnTo>
                        <a:pt x="1527" y="442"/>
                      </a:lnTo>
                      <a:lnTo>
                        <a:pt x="1525" y="440"/>
                      </a:lnTo>
                      <a:lnTo>
                        <a:pt x="1522" y="440"/>
                      </a:lnTo>
                      <a:lnTo>
                        <a:pt x="1519" y="438"/>
                      </a:lnTo>
                      <a:lnTo>
                        <a:pt x="1516" y="437"/>
                      </a:lnTo>
                      <a:lnTo>
                        <a:pt x="1514" y="435"/>
                      </a:lnTo>
                      <a:lnTo>
                        <a:pt x="1511" y="434"/>
                      </a:lnTo>
                      <a:lnTo>
                        <a:pt x="1510" y="433"/>
                      </a:lnTo>
                      <a:lnTo>
                        <a:pt x="1509" y="433"/>
                      </a:lnTo>
                      <a:lnTo>
                        <a:pt x="1507" y="433"/>
                      </a:lnTo>
                      <a:lnTo>
                        <a:pt x="1505" y="431"/>
                      </a:lnTo>
                      <a:lnTo>
                        <a:pt x="1503" y="429"/>
                      </a:lnTo>
                      <a:lnTo>
                        <a:pt x="1503" y="426"/>
                      </a:lnTo>
                      <a:lnTo>
                        <a:pt x="1504" y="425"/>
                      </a:lnTo>
                      <a:lnTo>
                        <a:pt x="1507" y="425"/>
                      </a:lnTo>
                      <a:lnTo>
                        <a:pt x="1509" y="425"/>
                      </a:lnTo>
                      <a:lnTo>
                        <a:pt x="1511" y="425"/>
                      </a:lnTo>
                      <a:lnTo>
                        <a:pt x="1514" y="426"/>
                      </a:lnTo>
                      <a:lnTo>
                        <a:pt x="1517" y="425"/>
                      </a:lnTo>
                      <a:lnTo>
                        <a:pt x="1521" y="425"/>
                      </a:lnTo>
                      <a:lnTo>
                        <a:pt x="1525" y="424"/>
                      </a:lnTo>
                      <a:lnTo>
                        <a:pt x="1529" y="424"/>
                      </a:lnTo>
                      <a:lnTo>
                        <a:pt x="1538" y="424"/>
                      </a:lnTo>
                      <a:lnTo>
                        <a:pt x="1544" y="426"/>
                      </a:lnTo>
                      <a:lnTo>
                        <a:pt x="1551" y="431"/>
                      </a:lnTo>
                      <a:lnTo>
                        <a:pt x="1551" y="432"/>
                      </a:lnTo>
                      <a:lnTo>
                        <a:pt x="1553" y="433"/>
                      </a:lnTo>
                      <a:lnTo>
                        <a:pt x="1555" y="435"/>
                      </a:lnTo>
                      <a:lnTo>
                        <a:pt x="1558" y="436"/>
                      </a:lnTo>
                      <a:lnTo>
                        <a:pt x="1561" y="437"/>
                      </a:lnTo>
                      <a:lnTo>
                        <a:pt x="1563" y="438"/>
                      </a:lnTo>
                      <a:lnTo>
                        <a:pt x="1566" y="440"/>
                      </a:lnTo>
                      <a:lnTo>
                        <a:pt x="1568" y="440"/>
                      </a:lnTo>
                      <a:lnTo>
                        <a:pt x="1560" y="433"/>
                      </a:lnTo>
                      <a:lnTo>
                        <a:pt x="1558" y="431"/>
                      </a:lnTo>
                      <a:lnTo>
                        <a:pt x="1559" y="429"/>
                      </a:lnTo>
                      <a:lnTo>
                        <a:pt x="1560" y="427"/>
                      </a:lnTo>
                      <a:lnTo>
                        <a:pt x="1562" y="426"/>
                      </a:lnTo>
                      <a:lnTo>
                        <a:pt x="1565" y="425"/>
                      </a:lnTo>
                      <a:lnTo>
                        <a:pt x="1568" y="424"/>
                      </a:lnTo>
                      <a:lnTo>
                        <a:pt x="1572" y="422"/>
                      </a:lnTo>
                      <a:lnTo>
                        <a:pt x="1576" y="422"/>
                      </a:lnTo>
                      <a:lnTo>
                        <a:pt x="1581" y="424"/>
                      </a:lnTo>
                      <a:lnTo>
                        <a:pt x="1583" y="424"/>
                      </a:lnTo>
                      <a:lnTo>
                        <a:pt x="1585" y="425"/>
                      </a:lnTo>
                      <a:lnTo>
                        <a:pt x="1587" y="426"/>
                      </a:lnTo>
                      <a:lnTo>
                        <a:pt x="1588" y="425"/>
                      </a:lnTo>
                      <a:lnTo>
                        <a:pt x="1588" y="424"/>
                      </a:lnTo>
                      <a:lnTo>
                        <a:pt x="1588" y="423"/>
                      </a:lnTo>
                      <a:lnTo>
                        <a:pt x="1588" y="422"/>
                      </a:lnTo>
                      <a:lnTo>
                        <a:pt x="1587" y="422"/>
                      </a:lnTo>
                      <a:lnTo>
                        <a:pt x="1591" y="420"/>
                      </a:lnTo>
                      <a:close/>
                      <a:moveTo>
                        <a:pt x="1715" y="120"/>
                      </a:moveTo>
                      <a:lnTo>
                        <a:pt x="1712" y="120"/>
                      </a:lnTo>
                      <a:lnTo>
                        <a:pt x="1638" y="120"/>
                      </a:lnTo>
                      <a:lnTo>
                        <a:pt x="1590" y="124"/>
                      </a:lnTo>
                      <a:lnTo>
                        <a:pt x="1541" y="129"/>
                      </a:lnTo>
                      <a:lnTo>
                        <a:pt x="1541" y="129"/>
                      </a:lnTo>
                      <a:lnTo>
                        <a:pt x="1541" y="129"/>
                      </a:lnTo>
                      <a:lnTo>
                        <a:pt x="1540" y="129"/>
                      </a:lnTo>
                      <a:lnTo>
                        <a:pt x="1537" y="129"/>
                      </a:lnTo>
                      <a:lnTo>
                        <a:pt x="1532" y="129"/>
                      </a:lnTo>
                      <a:lnTo>
                        <a:pt x="1477" y="136"/>
                      </a:lnTo>
                      <a:lnTo>
                        <a:pt x="1423" y="145"/>
                      </a:lnTo>
                      <a:lnTo>
                        <a:pt x="1375" y="154"/>
                      </a:lnTo>
                      <a:lnTo>
                        <a:pt x="1329" y="167"/>
                      </a:lnTo>
                      <a:lnTo>
                        <a:pt x="1322" y="167"/>
                      </a:lnTo>
                      <a:lnTo>
                        <a:pt x="1304" y="172"/>
                      </a:lnTo>
                      <a:lnTo>
                        <a:pt x="1286" y="178"/>
                      </a:lnTo>
                      <a:lnTo>
                        <a:pt x="1284" y="178"/>
                      </a:lnTo>
                      <a:lnTo>
                        <a:pt x="1281" y="178"/>
                      </a:lnTo>
                      <a:lnTo>
                        <a:pt x="1279" y="179"/>
                      </a:lnTo>
                      <a:lnTo>
                        <a:pt x="1277" y="180"/>
                      </a:lnTo>
                      <a:lnTo>
                        <a:pt x="1247" y="187"/>
                      </a:lnTo>
                      <a:lnTo>
                        <a:pt x="1215" y="197"/>
                      </a:lnTo>
                      <a:lnTo>
                        <a:pt x="1175" y="212"/>
                      </a:lnTo>
                      <a:lnTo>
                        <a:pt x="1132" y="228"/>
                      </a:lnTo>
                      <a:lnTo>
                        <a:pt x="1066" y="256"/>
                      </a:lnTo>
                      <a:lnTo>
                        <a:pt x="1001" y="287"/>
                      </a:lnTo>
                      <a:lnTo>
                        <a:pt x="938" y="321"/>
                      </a:lnTo>
                      <a:lnTo>
                        <a:pt x="876" y="357"/>
                      </a:lnTo>
                      <a:lnTo>
                        <a:pt x="874" y="357"/>
                      </a:lnTo>
                      <a:lnTo>
                        <a:pt x="841" y="378"/>
                      </a:lnTo>
                      <a:lnTo>
                        <a:pt x="808" y="401"/>
                      </a:lnTo>
                      <a:lnTo>
                        <a:pt x="806" y="401"/>
                      </a:lnTo>
                      <a:lnTo>
                        <a:pt x="775" y="424"/>
                      </a:lnTo>
                      <a:lnTo>
                        <a:pt x="744" y="446"/>
                      </a:lnTo>
                      <a:lnTo>
                        <a:pt x="743" y="447"/>
                      </a:lnTo>
                      <a:lnTo>
                        <a:pt x="742" y="447"/>
                      </a:lnTo>
                      <a:lnTo>
                        <a:pt x="742" y="448"/>
                      </a:lnTo>
                      <a:lnTo>
                        <a:pt x="712" y="471"/>
                      </a:lnTo>
                      <a:lnTo>
                        <a:pt x="684" y="495"/>
                      </a:lnTo>
                      <a:lnTo>
                        <a:pt x="682" y="496"/>
                      </a:lnTo>
                      <a:lnTo>
                        <a:pt x="681" y="497"/>
                      </a:lnTo>
                      <a:lnTo>
                        <a:pt x="680" y="498"/>
                      </a:lnTo>
                      <a:lnTo>
                        <a:pt x="679" y="499"/>
                      </a:lnTo>
                      <a:lnTo>
                        <a:pt x="651" y="523"/>
                      </a:lnTo>
                      <a:lnTo>
                        <a:pt x="622" y="550"/>
                      </a:lnTo>
                      <a:lnTo>
                        <a:pt x="622" y="552"/>
                      </a:lnTo>
                      <a:lnTo>
                        <a:pt x="620" y="552"/>
                      </a:lnTo>
                      <a:lnTo>
                        <a:pt x="564" y="607"/>
                      </a:lnTo>
                      <a:lnTo>
                        <a:pt x="511" y="664"/>
                      </a:lnTo>
                      <a:lnTo>
                        <a:pt x="461" y="725"/>
                      </a:lnTo>
                      <a:lnTo>
                        <a:pt x="415" y="786"/>
                      </a:lnTo>
                      <a:lnTo>
                        <a:pt x="371" y="852"/>
                      </a:lnTo>
                      <a:lnTo>
                        <a:pt x="330" y="920"/>
                      </a:lnTo>
                      <a:lnTo>
                        <a:pt x="303" y="969"/>
                      </a:lnTo>
                      <a:lnTo>
                        <a:pt x="277" y="1019"/>
                      </a:lnTo>
                      <a:lnTo>
                        <a:pt x="254" y="1070"/>
                      </a:lnTo>
                      <a:lnTo>
                        <a:pt x="252" y="1070"/>
                      </a:lnTo>
                      <a:lnTo>
                        <a:pt x="218" y="1156"/>
                      </a:lnTo>
                      <a:lnTo>
                        <a:pt x="188" y="1244"/>
                      </a:lnTo>
                      <a:lnTo>
                        <a:pt x="164" y="1334"/>
                      </a:lnTo>
                      <a:lnTo>
                        <a:pt x="145" y="1425"/>
                      </a:lnTo>
                      <a:lnTo>
                        <a:pt x="132" y="1518"/>
                      </a:lnTo>
                      <a:lnTo>
                        <a:pt x="123" y="1613"/>
                      </a:lnTo>
                      <a:lnTo>
                        <a:pt x="121" y="1710"/>
                      </a:lnTo>
                      <a:lnTo>
                        <a:pt x="121" y="1778"/>
                      </a:lnTo>
                      <a:lnTo>
                        <a:pt x="128" y="1875"/>
                      </a:lnTo>
                      <a:lnTo>
                        <a:pt x="141" y="1971"/>
                      </a:lnTo>
                      <a:lnTo>
                        <a:pt x="158" y="2065"/>
                      </a:lnTo>
                      <a:lnTo>
                        <a:pt x="183" y="2156"/>
                      </a:lnTo>
                      <a:lnTo>
                        <a:pt x="211" y="2245"/>
                      </a:lnTo>
                      <a:lnTo>
                        <a:pt x="245" y="2332"/>
                      </a:lnTo>
                      <a:lnTo>
                        <a:pt x="285" y="2417"/>
                      </a:lnTo>
                      <a:lnTo>
                        <a:pt x="329" y="2498"/>
                      </a:lnTo>
                      <a:lnTo>
                        <a:pt x="376" y="2576"/>
                      </a:lnTo>
                      <a:lnTo>
                        <a:pt x="429" y="2652"/>
                      </a:lnTo>
                      <a:lnTo>
                        <a:pt x="486" y="2725"/>
                      </a:lnTo>
                      <a:lnTo>
                        <a:pt x="547" y="2794"/>
                      </a:lnTo>
                      <a:lnTo>
                        <a:pt x="611" y="2859"/>
                      </a:lnTo>
                      <a:lnTo>
                        <a:pt x="637" y="2885"/>
                      </a:lnTo>
                      <a:lnTo>
                        <a:pt x="664" y="2908"/>
                      </a:lnTo>
                      <a:lnTo>
                        <a:pt x="664" y="2908"/>
                      </a:lnTo>
                      <a:lnTo>
                        <a:pt x="664" y="2909"/>
                      </a:lnTo>
                      <a:lnTo>
                        <a:pt x="665" y="2910"/>
                      </a:lnTo>
                      <a:lnTo>
                        <a:pt x="666" y="2910"/>
                      </a:lnTo>
                      <a:lnTo>
                        <a:pt x="692" y="2933"/>
                      </a:lnTo>
                      <a:lnTo>
                        <a:pt x="721" y="2956"/>
                      </a:lnTo>
                      <a:lnTo>
                        <a:pt x="750" y="2978"/>
                      </a:lnTo>
                      <a:lnTo>
                        <a:pt x="779" y="3000"/>
                      </a:lnTo>
                      <a:lnTo>
                        <a:pt x="809" y="3021"/>
                      </a:lnTo>
                      <a:lnTo>
                        <a:pt x="841" y="3041"/>
                      </a:lnTo>
                      <a:lnTo>
                        <a:pt x="841" y="3043"/>
                      </a:lnTo>
                      <a:lnTo>
                        <a:pt x="842" y="3043"/>
                      </a:lnTo>
                      <a:lnTo>
                        <a:pt x="843" y="3044"/>
                      </a:lnTo>
                      <a:lnTo>
                        <a:pt x="845" y="3045"/>
                      </a:lnTo>
                      <a:lnTo>
                        <a:pt x="845" y="3045"/>
                      </a:lnTo>
                      <a:lnTo>
                        <a:pt x="845" y="3045"/>
                      </a:lnTo>
                      <a:lnTo>
                        <a:pt x="845" y="3047"/>
                      </a:lnTo>
                      <a:lnTo>
                        <a:pt x="846" y="3047"/>
                      </a:lnTo>
                      <a:lnTo>
                        <a:pt x="848" y="3048"/>
                      </a:lnTo>
                      <a:lnTo>
                        <a:pt x="850" y="3049"/>
                      </a:lnTo>
                      <a:lnTo>
                        <a:pt x="852" y="3050"/>
                      </a:lnTo>
                      <a:lnTo>
                        <a:pt x="856" y="3052"/>
                      </a:lnTo>
                      <a:lnTo>
                        <a:pt x="861" y="3054"/>
                      </a:lnTo>
                      <a:lnTo>
                        <a:pt x="941" y="3102"/>
                      </a:lnTo>
                      <a:lnTo>
                        <a:pt x="1024" y="3144"/>
                      </a:lnTo>
                      <a:lnTo>
                        <a:pt x="1110" y="3183"/>
                      </a:lnTo>
                      <a:lnTo>
                        <a:pt x="1198" y="3216"/>
                      </a:lnTo>
                      <a:lnTo>
                        <a:pt x="1202" y="3216"/>
                      </a:lnTo>
                      <a:lnTo>
                        <a:pt x="1282" y="3242"/>
                      </a:lnTo>
                      <a:lnTo>
                        <a:pt x="1365" y="3262"/>
                      </a:lnTo>
                      <a:lnTo>
                        <a:pt x="1449" y="3279"/>
                      </a:lnTo>
                      <a:lnTo>
                        <a:pt x="1535" y="3291"/>
                      </a:lnTo>
                      <a:lnTo>
                        <a:pt x="1535" y="3291"/>
                      </a:lnTo>
                      <a:lnTo>
                        <a:pt x="1536" y="3291"/>
                      </a:lnTo>
                      <a:lnTo>
                        <a:pt x="1537" y="3291"/>
                      </a:lnTo>
                      <a:lnTo>
                        <a:pt x="1538" y="3291"/>
                      </a:lnTo>
                      <a:lnTo>
                        <a:pt x="1541" y="3291"/>
                      </a:lnTo>
                      <a:lnTo>
                        <a:pt x="1597" y="3296"/>
                      </a:lnTo>
                      <a:lnTo>
                        <a:pt x="1653" y="3299"/>
                      </a:lnTo>
                      <a:lnTo>
                        <a:pt x="1710" y="3300"/>
                      </a:lnTo>
                      <a:lnTo>
                        <a:pt x="1795" y="3298"/>
                      </a:lnTo>
                      <a:lnTo>
                        <a:pt x="1881" y="3291"/>
                      </a:lnTo>
                      <a:lnTo>
                        <a:pt x="1881" y="3291"/>
                      </a:lnTo>
                      <a:lnTo>
                        <a:pt x="1881" y="3291"/>
                      </a:lnTo>
                      <a:lnTo>
                        <a:pt x="1882" y="3291"/>
                      </a:lnTo>
                      <a:lnTo>
                        <a:pt x="1886" y="3291"/>
                      </a:lnTo>
                      <a:lnTo>
                        <a:pt x="1890" y="3291"/>
                      </a:lnTo>
                      <a:lnTo>
                        <a:pt x="1911" y="3288"/>
                      </a:lnTo>
                      <a:lnTo>
                        <a:pt x="1931" y="3284"/>
                      </a:lnTo>
                      <a:lnTo>
                        <a:pt x="2006" y="3273"/>
                      </a:lnTo>
                      <a:lnTo>
                        <a:pt x="2079" y="3258"/>
                      </a:lnTo>
                      <a:lnTo>
                        <a:pt x="2151" y="3239"/>
                      </a:lnTo>
                      <a:lnTo>
                        <a:pt x="2220" y="3216"/>
                      </a:lnTo>
                      <a:lnTo>
                        <a:pt x="2225" y="3216"/>
                      </a:lnTo>
                      <a:lnTo>
                        <a:pt x="2313" y="3183"/>
                      </a:lnTo>
                      <a:lnTo>
                        <a:pt x="2398" y="3144"/>
                      </a:lnTo>
                      <a:lnTo>
                        <a:pt x="2480" y="3102"/>
                      </a:lnTo>
                      <a:lnTo>
                        <a:pt x="2559" y="3054"/>
                      </a:lnTo>
                      <a:lnTo>
                        <a:pt x="2559" y="3054"/>
                      </a:lnTo>
                      <a:lnTo>
                        <a:pt x="2559" y="3054"/>
                      </a:lnTo>
                      <a:lnTo>
                        <a:pt x="2561" y="3054"/>
                      </a:lnTo>
                      <a:lnTo>
                        <a:pt x="2561" y="3054"/>
                      </a:lnTo>
                      <a:lnTo>
                        <a:pt x="2563" y="3053"/>
                      </a:lnTo>
                      <a:lnTo>
                        <a:pt x="2564" y="3052"/>
                      </a:lnTo>
                      <a:lnTo>
                        <a:pt x="2567" y="3051"/>
                      </a:lnTo>
                      <a:lnTo>
                        <a:pt x="2570" y="3049"/>
                      </a:lnTo>
                      <a:lnTo>
                        <a:pt x="2575" y="3045"/>
                      </a:lnTo>
                      <a:lnTo>
                        <a:pt x="2637" y="3004"/>
                      </a:lnTo>
                      <a:lnTo>
                        <a:pt x="2696" y="2958"/>
                      </a:lnTo>
                      <a:lnTo>
                        <a:pt x="2754" y="2911"/>
                      </a:lnTo>
                      <a:lnTo>
                        <a:pt x="2809" y="2859"/>
                      </a:lnTo>
                      <a:lnTo>
                        <a:pt x="2863" y="2805"/>
                      </a:lnTo>
                      <a:lnTo>
                        <a:pt x="2914" y="2750"/>
                      </a:lnTo>
                      <a:lnTo>
                        <a:pt x="2947" y="2711"/>
                      </a:lnTo>
                      <a:lnTo>
                        <a:pt x="2979" y="2671"/>
                      </a:lnTo>
                      <a:lnTo>
                        <a:pt x="3009" y="2629"/>
                      </a:lnTo>
                      <a:lnTo>
                        <a:pt x="3060" y="2551"/>
                      </a:lnTo>
                      <a:lnTo>
                        <a:pt x="3108" y="2470"/>
                      </a:lnTo>
                      <a:lnTo>
                        <a:pt x="3151" y="2386"/>
                      </a:lnTo>
                      <a:lnTo>
                        <a:pt x="3188" y="2299"/>
                      </a:lnTo>
                      <a:lnTo>
                        <a:pt x="3220" y="2211"/>
                      </a:lnTo>
                      <a:lnTo>
                        <a:pt x="3248" y="2120"/>
                      </a:lnTo>
                      <a:lnTo>
                        <a:pt x="3270" y="2025"/>
                      </a:lnTo>
                      <a:lnTo>
                        <a:pt x="3283" y="1945"/>
                      </a:lnTo>
                      <a:lnTo>
                        <a:pt x="3294" y="1862"/>
                      </a:lnTo>
                      <a:lnTo>
                        <a:pt x="3299" y="1778"/>
                      </a:lnTo>
                      <a:lnTo>
                        <a:pt x="3300" y="1745"/>
                      </a:lnTo>
                      <a:lnTo>
                        <a:pt x="3301" y="1710"/>
                      </a:lnTo>
                      <a:lnTo>
                        <a:pt x="3299" y="1613"/>
                      </a:lnTo>
                      <a:lnTo>
                        <a:pt x="3290" y="1518"/>
                      </a:lnTo>
                      <a:lnTo>
                        <a:pt x="3276" y="1425"/>
                      </a:lnTo>
                      <a:lnTo>
                        <a:pt x="3256" y="1334"/>
                      </a:lnTo>
                      <a:lnTo>
                        <a:pt x="3232" y="1244"/>
                      </a:lnTo>
                      <a:lnTo>
                        <a:pt x="3202" y="1156"/>
                      </a:lnTo>
                      <a:lnTo>
                        <a:pt x="3168" y="1070"/>
                      </a:lnTo>
                      <a:lnTo>
                        <a:pt x="3166" y="1070"/>
                      </a:lnTo>
                      <a:lnTo>
                        <a:pt x="3136" y="1007"/>
                      </a:lnTo>
                      <a:lnTo>
                        <a:pt x="3104" y="944"/>
                      </a:lnTo>
                      <a:lnTo>
                        <a:pt x="3068" y="883"/>
                      </a:lnTo>
                      <a:lnTo>
                        <a:pt x="3031" y="824"/>
                      </a:lnTo>
                      <a:lnTo>
                        <a:pt x="2980" y="752"/>
                      </a:lnTo>
                      <a:lnTo>
                        <a:pt x="2926" y="685"/>
                      </a:lnTo>
                      <a:lnTo>
                        <a:pt x="2869" y="620"/>
                      </a:lnTo>
                      <a:lnTo>
                        <a:pt x="2851" y="603"/>
                      </a:lnTo>
                      <a:lnTo>
                        <a:pt x="2834" y="585"/>
                      </a:lnTo>
                      <a:lnTo>
                        <a:pt x="2801" y="552"/>
                      </a:lnTo>
                      <a:lnTo>
                        <a:pt x="2798" y="552"/>
                      </a:lnTo>
                      <a:lnTo>
                        <a:pt x="2798" y="550"/>
                      </a:lnTo>
                      <a:lnTo>
                        <a:pt x="2771" y="523"/>
                      </a:lnTo>
                      <a:lnTo>
                        <a:pt x="2741" y="499"/>
                      </a:lnTo>
                      <a:lnTo>
                        <a:pt x="2740" y="498"/>
                      </a:lnTo>
                      <a:lnTo>
                        <a:pt x="2740" y="497"/>
                      </a:lnTo>
                      <a:lnTo>
                        <a:pt x="2739" y="497"/>
                      </a:lnTo>
                      <a:lnTo>
                        <a:pt x="2739" y="497"/>
                      </a:lnTo>
                      <a:lnTo>
                        <a:pt x="2709" y="473"/>
                      </a:lnTo>
                      <a:lnTo>
                        <a:pt x="2678" y="448"/>
                      </a:lnTo>
                      <a:lnTo>
                        <a:pt x="2678" y="446"/>
                      </a:lnTo>
                      <a:lnTo>
                        <a:pt x="2645" y="424"/>
                      </a:lnTo>
                      <a:lnTo>
                        <a:pt x="2614" y="401"/>
                      </a:lnTo>
                      <a:lnTo>
                        <a:pt x="2612" y="401"/>
                      </a:lnTo>
                      <a:lnTo>
                        <a:pt x="2579" y="378"/>
                      </a:lnTo>
                      <a:lnTo>
                        <a:pt x="2546" y="357"/>
                      </a:lnTo>
                      <a:lnTo>
                        <a:pt x="2463" y="309"/>
                      </a:lnTo>
                      <a:lnTo>
                        <a:pt x="2377" y="266"/>
                      </a:lnTo>
                      <a:lnTo>
                        <a:pt x="2289" y="228"/>
                      </a:lnTo>
                      <a:lnTo>
                        <a:pt x="2216" y="201"/>
                      </a:lnTo>
                      <a:lnTo>
                        <a:pt x="2143" y="180"/>
                      </a:lnTo>
                      <a:lnTo>
                        <a:pt x="2141" y="179"/>
                      </a:lnTo>
                      <a:lnTo>
                        <a:pt x="2139" y="178"/>
                      </a:lnTo>
                      <a:lnTo>
                        <a:pt x="2137" y="178"/>
                      </a:lnTo>
                      <a:lnTo>
                        <a:pt x="2135" y="178"/>
                      </a:lnTo>
                      <a:lnTo>
                        <a:pt x="2098" y="167"/>
                      </a:lnTo>
                      <a:lnTo>
                        <a:pt x="2092" y="167"/>
                      </a:lnTo>
                      <a:lnTo>
                        <a:pt x="2045" y="154"/>
                      </a:lnTo>
                      <a:lnTo>
                        <a:pt x="1999" y="147"/>
                      </a:lnTo>
                      <a:lnTo>
                        <a:pt x="1999" y="147"/>
                      </a:lnTo>
                      <a:lnTo>
                        <a:pt x="1999" y="147"/>
                      </a:lnTo>
                      <a:lnTo>
                        <a:pt x="1998" y="146"/>
                      </a:lnTo>
                      <a:lnTo>
                        <a:pt x="1997" y="145"/>
                      </a:lnTo>
                      <a:lnTo>
                        <a:pt x="1943" y="136"/>
                      </a:lnTo>
                      <a:lnTo>
                        <a:pt x="1888" y="129"/>
                      </a:lnTo>
                      <a:lnTo>
                        <a:pt x="1888" y="129"/>
                      </a:lnTo>
                      <a:lnTo>
                        <a:pt x="1887" y="129"/>
                      </a:lnTo>
                      <a:lnTo>
                        <a:pt x="1885" y="129"/>
                      </a:lnTo>
                      <a:lnTo>
                        <a:pt x="1881" y="129"/>
                      </a:lnTo>
                      <a:lnTo>
                        <a:pt x="1877" y="129"/>
                      </a:lnTo>
                      <a:lnTo>
                        <a:pt x="1831" y="124"/>
                      </a:lnTo>
                      <a:lnTo>
                        <a:pt x="1782" y="120"/>
                      </a:lnTo>
                      <a:lnTo>
                        <a:pt x="1719" y="120"/>
                      </a:lnTo>
                      <a:lnTo>
                        <a:pt x="1718" y="120"/>
                      </a:lnTo>
                      <a:lnTo>
                        <a:pt x="1718" y="120"/>
                      </a:lnTo>
                      <a:lnTo>
                        <a:pt x="1717" y="120"/>
                      </a:lnTo>
                      <a:lnTo>
                        <a:pt x="1715" y="120"/>
                      </a:lnTo>
                      <a:close/>
                      <a:moveTo>
                        <a:pt x="1710" y="0"/>
                      </a:moveTo>
                      <a:lnTo>
                        <a:pt x="1819" y="4"/>
                      </a:lnTo>
                      <a:lnTo>
                        <a:pt x="1924" y="14"/>
                      </a:lnTo>
                      <a:lnTo>
                        <a:pt x="2029" y="30"/>
                      </a:lnTo>
                      <a:lnTo>
                        <a:pt x="2131" y="52"/>
                      </a:lnTo>
                      <a:lnTo>
                        <a:pt x="2230" y="81"/>
                      </a:lnTo>
                      <a:lnTo>
                        <a:pt x="2328" y="115"/>
                      </a:lnTo>
                      <a:lnTo>
                        <a:pt x="2422" y="156"/>
                      </a:lnTo>
                      <a:lnTo>
                        <a:pt x="2513" y="201"/>
                      </a:lnTo>
                      <a:lnTo>
                        <a:pt x="2602" y="251"/>
                      </a:lnTo>
                      <a:lnTo>
                        <a:pt x="2687" y="306"/>
                      </a:lnTo>
                      <a:lnTo>
                        <a:pt x="2768" y="367"/>
                      </a:lnTo>
                      <a:lnTo>
                        <a:pt x="2846" y="432"/>
                      </a:lnTo>
                      <a:lnTo>
                        <a:pt x="2919" y="501"/>
                      </a:lnTo>
                      <a:lnTo>
                        <a:pt x="2989" y="575"/>
                      </a:lnTo>
                      <a:lnTo>
                        <a:pt x="3054" y="652"/>
                      </a:lnTo>
                      <a:lnTo>
                        <a:pt x="3113" y="734"/>
                      </a:lnTo>
                      <a:lnTo>
                        <a:pt x="3169" y="818"/>
                      </a:lnTo>
                      <a:lnTo>
                        <a:pt x="3220" y="906"/>
                      </a:lnTo>
                      <a:lnTo>
                        <a:pt x="3265" y="998"/>
                      </a:lnTo>
                      <a:lnTo>
                        <a:pt x="3305" y="1092"/>
                      </a:lnTo>
                      <a:lnTo>
                        <a:pt x="3339" y="1189"/>
                      </a:lnTo>
                      <a:lnTo>
                        <a:pt x="3368" y="1289"/>
                      </a:lnTo>
                      <a:lnTo>
                        <a:pt x="3391" y="1392"/>
                      </a:lnTo>
                      <a:lnTo>
                        <a:pt x="3407" y="1495"/>
                      </a:lnTo>
                      <a:lnTo>
                        <a:pt x="3417" y="1602"/>
                      </a:lnTo>
                      <a:lnTo>
                        <a:pt x="3420" y="1710"/>
                      </a:lnTo>
                      <a:lnTo>
                        <a:pt x="3417" y="1818"/>
                      </a:lnTo>
                      <a:lnTo>
                        <a:pt x="3407" y="1925"/>
                      </a:lnTo>
                      <a:lnTo>
                        <a:pt x="3391" y="2029"/>
                      </a:lnTo>
                      <a:lnTo>
                        <a:pt x="3368" y="2131"/>
                      </a:lnTo>
                      <a:lnTo>
                        <a:pt x="3339" y="2231"/>
                      </a:lnTo>
                      <a:lnTo>
                        <a:pt x="3305" y="2328"/>
                      </a:lnTo>
                      <a:lnTo>
                        <a:pt x="3265" y="2422"/>
                      </a:lnTo>
                      <a:lnTo>
                        <a:pt x="3220" y="2514"/>
                      </a:lnTo>
                      <a:lnTo>
                        <a:pt x="3169" y="2602"/>
                      </a:lnTo>
                      <a:lnTo>
                        <a:pt x="3113" y="2687"/>
                      </a:lnTo>
                      <a:lnTo>
                        <a:pt x="3054" y="2768"/>
                      </a:lnTo>
                      <a:lnTo>
                        <a:pt x="2989" y="2845"/>
                      </a:lnTo>
                      <a:lnTo>
                        <a:pt x="2919" y="2919"/>
                      </a:lnTo>
                      <a:lnTo>
                        <a:pt x="2846" y="2988"/>
                      </a:lnTo>
                      <a:lnTo>
                        <a:pt x="2768" y="3053"/>
                      </a:lnTo>
                      <a:lnTo>
                        <a:pt x="2687" y="3114"/>
                      </a:lnTo>
                      <a:lnTo>
                        <a:pt x="2602" y="3169"/>
                      </a:lnTo>
                      <a:lnTo>
                        <a:pt x="2513" y="3219"/>
                      </a:lnTo>
                      <a:lnTo>
                        <a:pt x="2422" y="3266"/>
                      </a:lnTo>
                      <a:lnTo>
                        <a:pt x="2328" y="3305"/>
                      </a:lnTo>
                      <a:lnTo>
                        <a:pt x="2230" y="3339"/>
                      </a:lnTo>
                      <a:lnTo>
                        <a:pt x="2131" y="3368"/>
                      </a:lnTo>
                      <a:lnTo>
                        <a:pt x="2029" y="3390"/>
                      </a:lnTo>
                      <a:lnTo>
                        <a:pt x="1924" y="3407"/>
                      </a:lnTo>
                      <a:lnTo>
                        <a:pt x="1819" y="3416"/>
                      </a:lnTo>
                      <a:lnTo>
                        <a:pt x="1710" y="3420"/>
                      </a:lnTo>
                      <a:lnTo>
                        <a:pt x="1602" y="3416"/>
                      </a:lnTo>
                      <a:lnTo>
                        <a:pt x="1496" y="3407"/>
                      </a:lnTo>
                      <a:lnTo>
                        <a:pt x="1391" y="3390"/>
                      </a:lnTo>
                      <a:lnTo>
                        <a:pt x="1289" y="3368"/>
                      </a:lnTo>
                      <a:lnTo>
                        <a:pt x="1190" y="3339"/>
                      </a:lnTo>
                      <a:lnTo>
                        <a:pt x="1092" y="3305"/>
                      </a:lnTo>
                      <a:lnTo>
                        <a:pt x="998" y="3266"/>
                      </a:lnTo>
                      <a:lnTo>
                        <a:pt x="907" y="3219"/>
                      </a:lnTo>
                      <a:lnTo>
                        <a:pt x="818" y="3169"/>
                      </a:lnTo>
                      <a:lnTo>
                        <a:pt x="733" y="3114"/>
                      </a:lnTo>
                      <a:lnTo>
                        <a:pt x="653" y="3053"/>
                      </a:lnTo>
                      <a:lnTo>
                        <a:pt x="575" y="2988"/>
                      </a:lnTo>
                      <a:lnTo>
                        <a:pt x="501" y="2919"/>
                      </a:lnTo>
                      <a:lnTo>
                        <a:pt x="431" y="2845"/>
                      </a:lnTo>
                      <a:lnTo>
                        <a:pt x="366" y="2768"/>
                      </a:lnTo>
                      <a:lnTo>
                        <a:pt x="307" y="2687"/>
                      </a:lnTo>
                      <a:lnTo>
                        <a:pt x="251" y="2602"/>
                      </a:lnTo>
                      <a:lnTo>
                        <a:pt x="200" y="2514"/>
                      </a:lnTo>
                      <a:lnTo>
                        <a:pt x="155" y="2422"/>
                      </a:lnTo>
                      <a:lnTo>
                        <a:pt x="115" y="2328"/>
                      </a:lnTo>
                      <a:lnTo>
                        <a:pt x="81" y="2231"/>
                      </a:lnTo>
                      <a:lnTo>
                        <a:pt x="53" y="2131"/>
                      </a:lnTo>
                      <a:lnTo>
                        <a:pt x="30" y="2029"/>
                      </a:lnTo>
                      <a:lnTo>
                        <a:pt x="13" y="1925"/>
                      </a:lnTo>
                      <a:lnTo>
                        <a:pt x="3" y="1818"/>
                      </a:lnTo>
                      <a:lnTo>
                        <a:pt x="0" y="1710"/>
                      </a:lnTo>
                      <a:lnTo>
                        <a:pt x="3" y="1602"/>
                      </a:lnTo>
                      <a:lnTo>
                        <a:pt x="13" y="1495"/>
                      </a:lnTo>
                      <a:lnTo>
                        <a:pt x="30" y="1392"/>
                      </a:lnTo>
                      <a:lnTo>
                        <a:pt x="53" y="1289"/>
                      </a:lnTo>
                      <a:lnTo>
                        <a:pt x="81" y="1189"/>
                      </a:lnTo>
                      <a:lnTo>
                        <a:pt x="115" y="1092"/>
                      </a:lnTo>
                      <a:lnTo>
                        <a:pt x="155" y="998"/>
                      </a:lnTo>
                      <a:lnTo>
                        <a:pt x="200" y="906"/>
                      </a:lnTo>
                      <a:lnTo>
                        <a:pt x="251" y="818"/>
                      </a:lnTo>
                      <a:lnTo>
                        <a:pt x="307" y="734"/>
                      </a:lnTo>
                      <a:lnTo>
                        <a:pt x="366" y="652"/>
                      </a:lnTo>
                      <a:lnTo>
                        <a:pt x="431" y="575"/>
                      </a:lnTo>
                      <a:lnTo>
                        <a:pt x="501" y="501"/>
                      </a:lnTo>
                      <a:lnTo>
                        <a:pt x="575" y="432"/>
                      </a:lnTo>
                      <a:lnTo>
                        <a:pt x="653" y="367"/>
                      </a:lnTo>
                      <a:lnTo>
                        <a:pt x="733" y="306"/>
                      </a:lnTo>
                      <a:lnTo>
                        <a:pt x="818" y="251"/>
                      </a:lnTo>
                      <a:lnTo>
                        <a:pt x="907" y="201"/>
                      </a:lnTo>
                      <a:lnTo>
                        <a:pt x="998" y="156"/>
                      </a:lnTo>
                      <a:lnTo>
                        <a:pt x="1092" y="115"/>
                      </a:lnTo>
                      <a:lnTo>
                        <a:pt x="1190" y="81"/>
                      </a:lnTo>
                      <a:lnTo>
                        <a:pt x="1289" y="52"/>
                      </a:lnTo>
                      <a:lnTo>
                        <a:pt x="1391" y="30"/>
                      </a:lnTo>
                      <a:lnTo>
                        <a:pt x="1496" y="14"/>
                      </a:lnTo>
                      <a:lnTo>
                        <a:pt x="1602" y="4"/>
                      </a:lnTo>
                      <a:lnTo>
                        <a:pt x="171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02" name="Freeform 39"/>
                <p:cNvSpPr>
                  <a:spLocks/>
                </p:cNvSpPr>
                <p:nvPr/>
              </p:nvSpPr>
              <p:spPr bwMode="auto">
                <a:xfrm>
                  <a:off x="5791" y="865"/>
                  <a:ext cx="220" cy="220"/>
                </a:xfrm>
                <a:custGeom>
                  <a:avLst/>
                  <a:gdLst>
                    <a:gd name="T0" fmla="*/ 0 w 2203"/>
                    <a:gd name="T1" fmla="*/ 0 h 2202"/>
                    <a:gd name="T2" fmla="*/ 1855 w 2203"/>
                    <a:gd name="T3" fmla="*/ 497 h 2202"/>
                    <a:gd name="T4" fmla="*/ 1422 w 2203"/>
                    <a:gd name="T5" fmla="*/ 929 h 2202"/>
                    <a:gd name="T6" fmla="*/ 1521 w 2203"/>
                    <a:gd name="T7" fmla="*/ 1030 h 2202"/>
                    <a:gd name="T8" fmla="*/ 2203 w 2203"/>
                    <a:gd name="T9" fmla="*/ 1711 h 2202"/>
                    <a:gd name="T10" fmla="*/ 1711 w 2203"/>
                    <a:gd name="T11" fmla="*/ 2202 h 2202"/>
                    <a:gd name="T12" fmla="*/ 1029 w 2203"/>
                    <a:gd name="T13" fmla="*/ 1521 h 2202"/>
                    <a:gd name="T14" fmla="*/ 930 w 2203"/>
                    <a:gd name="T15" fmla="*/ 1421 h 2202"/>
                    <a:gd name="T16" fmla="*/ 497 w 2203"/>
                    <a:gd name="T17" fmla="*/ 1855 h 2202"/>
                    <a:gd name="T18" fmla="*/ 0 w 2203"/>
                    <a:gd name="T19" fmla="*/ 0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3" h="2202">
                      <a:moveTo>
                        <a:pt x="0" y="0"/>
                      </a:moveTo>
                      <a:lnTo>
                        <a:pt x="1855" y="497"/>
                      </a:lnTo>
                      <a:lnTo>
                        <a:pt x="1422" y="929"/>
                      </a:lnTo>
                      <a:lnTo>
                        <a:pt x="1521" y="1030"/>
                      </a:lnTo>
                      <a:lnTo>
                        <a:pt x="2203" y="1711"/>
                      </a:lnTo>
                      <a:lnTo>
                        <a:pt x="1711" y="2202"/>
                      </a:lnTo>
                      <a:lnTo>
                        <a:pt x="1029" y="1521"/>
                      </a:lnTo>
                      <a:lnTo>
                        <a:pt x="930" y="1421"/>
                      </a:lnTo>
                      <a:lnTo>
                        <a:pt x="497" y="1855"/>
                      </a:lnTo>
                      <a:lnTo>
                        <a:pt x="0" y="0"/>
                      </a:lnTo>
                      <a:close/>
                    </a:path>
                  </a:pathLst>
                </a:custGeom>
                <a:solidFill>
                  <a:srgbClr val="FFFFFF"/>
                </a:solidFill>
                <a:ln w="19050">
                  <a:solidFill>
                    <a:srgbClr val="442359"/>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sp>
        <p:nvSpPr>
          <p:cNvPr id="3" name="Slide Number Placeholder 2"/>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3</a:t>
            </a:fld>
            <a:endParaRPr dirty="0">
              <a:gradFill>
                <a:gsLst>
                  <a:gs pos="0">
                    <a:srgbClr val="505050"/>
                  </a:gs>
                  <a:gs pos="100000">
                    <a:srgbClr val="505050"/>
                  </a:gs>
                </a:gsLst>
                <a:lin ang="5400000" scaled="0"/>
              </a:gradFill>
            </a:endParaRPr>
          </a:p>
        </p:txBody>
      </p:sp>
      <p:grpSp>
        <p:nvGrpSpPr>
          <p:cNvPr id="9" name="Group 8"/>
          <p:cNvGrpSpPr/>
          <p:nvPr/>
        </p:nvGrpSpPr>
        <p:grpSpPr>
          <a:xfrm>
            <a:off x="443839" y="1542307"/>
            <a:ext cx="2383732" cy="4489451"/>
            <a:chOff x="443020" y="1542030"/>
            <a:chExt cx="2384070" cy="4490088"/>
          </a:xfrm>
        </p:grpSpPr>
        <p:sp>
          <p:nvSpPr>
            <p:cNvPr id="225" name="Text Placeholder 12"/>
            <p:cNvSpPr txBox="1">
              <a:spLocks/>
            </p:cNvSpPr>
            <p:nvPr/>
          </p:nvSpPr>
          <p:spPr>
            <a:xfrm>
              <a:off x="443020" y="5128470"/>
              <a:ext cx="2384070" cy="903648"/>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599" spc="0" dirty="0">
                  <a:solidFill>
                    <a:srgbClr val="FFFFFF"/>
                  </a:solidFill>
                  <a:latin typeface="Segoe UI" pitchFamily="34" charset="0"/>
                  <a:ea typeface="Segoe UI" pitchFamily="34" charset="0"/>
                  <a:cs typeface="Segoe UI" pitchFamily="34" charset="0"/>
                </a:rPr>
                <a:t>Users expect to be able to </a:t>
              </a:r>
              <a:r>
                <a:rPr lang="en-US" sz="1599" b="1" spc="0" dirty="0">
                  <a:solidFill>
                    <a:srgbClr val="FFFFFF"/>
                  </a:solidFill>
                  <a:latin typeface="Segoe UI" pitchFamily="34" charset="0"/>
                  <a:ea typeface="Segoe UI" pitchFamily="34" charset="0"/>
                  <a:cs typeface="Segoe UI" pitchFamily="34" charset="0"/>
                </a:rPr>
                <a:t>work in any location </a:t>
              </a:r>
              <a:r>
                <a:rPr lang="en-US" sz="1599" spc="0" dirty="0">
                  <a:solidFill>
                    <a:srgbClr val="FFFFFF"/>
                  </a:solidFill>
                  <a:latin typeface="Segoe UI" pitchFamily="34" charset="0"/>
                  <a:ea typeface="Segoe UI" pitchFamily="34" charset="0"/>
                  <a:cs typeface="Segoe UI" pitchFamily="34" charset="0"/>
                </a:rPr>
                <a:t>and have access to all their work resources.</a:t>
              </a:r>
            </a:p>
          </p:txBody>
        </p:sp>
        <p:sp>
          <p:nvSpPr>
            <p:cNvPr id="232" name="Text Placeholder 12"/>
            <p:cNvSpPr txBox="1">
              <a:spLocks/>
            </p:cNvSpPr>
            <p:nvPr/>
          </p:nvSpPr>
          <p:spPr>
            <a:xfrm>
              <a:off x="1098248" y="4527800"/>
              <a:ext cx="930174"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Users</a:t>
              </a:r>
            </a:p>
          </p:txBody>
        </p:sp>
        <p:sp>
          <p:nvSpPr>
            <p:cNvPr id="7" name="Freeform 5"/>
            <p:cNvSpPr>
              <a:spLocks noEditPoints="1"/>
            </p:cNvSpPr>
            <p:nvPr/>
          </p:nvSpPr>
          <p:spPr bwMode="auto">
            <a:xfrm>
              <a:off x="735012" y="1542030"/>
              <a:ext cx="1627187" cy="2442597"/>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6" name="Group 5"/>
          <p:cNvGrpSpPr/>
          <p:nvPr/>
        </p:nvGrpSpPr>
        <p:grpSpPr>
          <a:xfrm>
            <a:off x="2439137" y="2344969"/>
            <a:ext cx="908074" cy="995776"/>
            <a:chOff x="2438600" y="2344805"/>
            <a:chExt cx="908202" cy="995918"/>
          </a:xfrm>
          <a:solidFill>
            <a:srgbClr val="FFFFFF"/>
          </a:solidFill>
        </p:grpSpPr>
        <p:sp>
          <p:nvSpPr>
            <p:cNvPr id="60" name="Left-Right Arrow 59"/>
            <p:cNvSpPr/>
            <p:nvPr/>
          </p:nvSpPr>
          <p:spPr bwMode="auto">
            <a:xfrm rot="20751099">
              <a:off x="2438600" y="2344805"/>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1" name="Left-Right Arrow 60"/>
            <p:cNvSpPr/>
            <p:nvPr/>
          </p:nvSpPr>
          <p:spPr bwMode="auto">
            <a:xfrm>
              <a:off x="2472154" y="2727456"/>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3" name="Left-Right Arrow 62"/>
            <p:cNvSpPr/>
            <p:nvPr/>
          </p:nvSpPr>
          <p:spPr bwMode="auto">
            <a:xfrm rot="772051">
              <a:off x="2458387" y="309887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5" name="Group 4"/>
          <p:cNvGrpSpPr/>
          <p:nvPr/>
        </p:nvGrpSpPr>
        <p:grpSpPr>
          <a:xfrm>
            <a:off x="5364737" y="2323087"/>
            <a:ext cx="1198857" cy="1019958"/>
            <a:chOff x="5499184" y="2265769"/>
            <a:chExt cx="957967" cy="1020103"/>
          </a:xfrm>
          <a:solidFill>
            <a:srgbClr val="FFFFFF"/>
          </a:solidFill>
        </p:grpSpPr>
        <p:sp>
          <p:nvSpPr>
            <p:cNvPr id="64" name="Left-Right Arrow 63"/>
            <p:cNvSpPr/>
            <p:nvPr/>
          </p:nvSpPr>
          <p:spPr bwMode="auto">
            <a:xfrm rot="20751099">
              <a:off x="5499184" y="226576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5" name="Left-Right Arrow 64"/>
            <p:cNvSpPr/>
            <p:nvPr/>
          </p:nvSpPr>
          <p:spPr bwMode="auto">
            <a:xfrm rot="20610885">
              <a:off x="5547900" y="257857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6" name="Left-Right Arrow 65"/>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7" name="Left-Right Arrow 66"/>
            <p:cNvSpPr/>
            <p:nvPr/>
          </p:nvSpPr>
          <p:spPr bwMode="auto">
            <a:xfrm rot="2249269">
              <a:off x="5510157" y="2373128"/>
              <a:ext cx="946994"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69" name="Left-Right Arrow 68"/>
            <p:cNvSpPr/>
            <p:nvPr/>
          </p:nvSpPr>
          <p:spPr bwMode="auto">
            <a:xfrm rot="20312622">
              <a:off x="5533564" y="304402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10" name="Group 9"/>
          <p:cNvGrpSpPr/>
          <p:nvPr/>
        </p:nvGrpSpPr>
        <p:grpSpPr>
          <a:xfrm>
            <a:off x="8617163" y="2076265"/>
            <a:ext cx="1155918" cy="1459193"/>
            <a:chOff x="8617504" y="2076063"/>
            <a:chExt cx="1156082" cy="1459400"/>
          </a:xfrm>
          <a:solidFill>
            <a:srgbClr val="FFFFFF"/>
          </a:solidFill>
        </p:grpSpPr>
        <p:grpSp>
          <p:nvGrpSpPr>
            <p:cNvPr id="77" name="Group 76"/>
            <p:cNvGrpSpPr/>
            <p:nvPr/>
          </p:nvGrpSpPr>
          <p:grpSpPr>
            <a:xfrm>
              <a:off x="8626065" y="2076063"/>
              <a:ext cx="1113051" cy="677203"/>
              <a:chOff x="5533564" y="2627719"/>
              <a:chExt cx="889276" cy="677203"/>
            </a:xfrm>
            <a:grpFill/>
          </p:grpSpPr>
          <p:sp>
            <p:nvSpPr>
              <p:cNvPr id="78" name="Left-Right Arrow 77"/>
              <p:cNvSpPr/>
              <p:nvPr/>
            </p:nvSpPr>
            <p:spPr bwMode="auto">
              <a:xfrm rot="1109394">
                <a:off x="5537234" y="2627719"/>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9" name="Left-Right Arrow 78"/>
              <p:cNvSpPr/>
              <p:nvPr/>
            </p:nvSpPr>
            <p:spPr bwMode="auto">
              <a:xfrm rot="20610885">
                <a:off x="5547900" y="2645245"/>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0" name="Left-Right Arrow 79"/>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83" name="Left-Right Arrow 82"/>
              <p:cNvSpPr/>
              <p:nvPr/>
            </p:nvSpPr>
            <p:spPr bwMode="auto">
              <a:xfrm rot="20675659">
                <a:off x="5533564" y="306307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nvGrpSpPr>
            <p:cNvPr id="70" name="Group 69"/>
            <p:cNvGrpSpPr/>
            <p:nvPr/>
          </p:nvGrpSpPr>
          <p:grpSpPr>
            <a:xfrm>
              <a:off x="8617504" y="2848735"/>
              <a:ext cx="1156082" cy="686728"/>
              <a:chOff x="5499184" y="2618194"/>
              <a:chExt cx="923656" cy="686728"/>
            </a:xfrm>
            <a:grpFill/>
          </p:grpSpPr>
          <p:sp>
            <p:nvSpPr>
              <p:cNvPr id="71" name="Left-Right Arrow 70"/>
              <p:cNvSpPr/>
              <p:nvPr/>
            </p:nvSpPr>
            <p:spPr bwMode="auto">
              <a:xfrm rot="20751099">
                <a:off x="5499184" y="2618194"/>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3" name="Left-Right Arrow 72"/>
              <p:cNvSpPr/>
              <p:nvPr/>
            </p:nvSpPr>
            <p:spPr bwMode="auto">
              <a:xfrm rot="668595">
                <a:off x="5548192" y="3026960"/>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6" name="Left-Right Arrow 75"/>
              <p:cNvSpPr/>
              <p:nvPr/>
            </p:nvSpPr>
            <p:spPr bwMode="auto">
              <a:xfrm rot="20675659">
                <a:off x="5533564" y="3063078"/>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75" name="Left-Right Arrow 74"/>
              <p:cNvSpPr/>
              <p:nvPr/>
            </p:nvSpPr>
            <p:spPr bwMode="auto">
              <a:xfrm rot="690585">
                <a:off x="5537633" y="2645244"/>
                <a:ext cx="874648" cy="241844"/>
              </a:xfrm>
              <a:prstGeom prst="leftRightArrow">
                <a:avLst/>
              </a:prstGeom>
              <a:grp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grpSp>
      <p:grpSp>
        <p:nvGrpSpPr>
          <p:cNvPr id="30" name="Group 29"/>
          <p:cNvGrpSpPr/>
          <p:nvPr/>
        </p:nvGrpSpPr>
        <p:grpSpPr>
          <a:xfrm>
            <a:off x="9376635" y="1481372"/>
            <a:ext cx="2603388" cy="4550386"/>
            <a:chOff x="9377082" y="1481086"/>
            <a:chExt cx="2603757" cy="4551032"/>
          </a:xfrm>
        </p:grpSpPr>
        <p:sp>
          <p:nvSpPr>
            <p:cNvPr id="235" name="Text Placeholder 12"/>
            <p:cNvSpPr txBox="1">
              <a:spLocks/>
            </p:cNvSpPr>
            <p:nvPr/>
          </p:nvSpPr>
          <p:spPr>
            <a:xfrm>
              <a:off x="10189392" y="4527800"/>
              <a:ext cx="1013706"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Data</a:t>
              </a:r>
            </a:p>
          </p:txBody>
        </p:sp>
        <p:sp>
          <p:nvSpPr>
            <p:cNvPr id="107" name="Text Placeholder 12"/>
            <p:cNvSpPr txBox="1">
              <a:spLocks/>
            </p:cNvSpPr>
            <p:nvPr/>
          </p:nvSpPr>
          <p:spPr>
            <a:xfrm>
              <a:off x="9377082" y="5128470"/>
              <a:ext cx="2603757" cy="903648"/>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Users need to be productive while </a:t>
              </a:r>
              <a:r>
                <a:rPr lang="en-US" sz="1599" b="1" spc="0" dirty="0">
                  <a:solidFill>
                    <a:srgbClr val="FFFFFF"/>
                  </a:solidFill>
                  <a:latin typeface="Segoe UI" pitchFamily="34" charset="0"/>
                  <a:ea typeface="Segoe UI" pitchFamily="34" charset="0"/>
                  <a:cs typeface="Segoe UI" pitchFamily="34" charset="0"/>
                </a:rPr>
                <a:t>maintaining compliance and reducing risk.</a:t>
              </a:r>
            </a:p>
          </p:txBody>
        </p:sp>
        <p:sp>
          <p:nvSpPr>
            <p:cNvPr id="84" name="Freeform 331"/>
            <p:cNvSpPr>
              <a:spLocks noChangeAspect="1" noEditPoints="1"/>
            </p:cNvSpPr>
            <p:nvPr/>
          </p:nvSpPr>
          <p:spPr bwMode="auto">
            <a:xfrm>
              <a:off x="10003498" y="2357157"/>
              <a:ext cx="792531" cy="77729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85" name="Freeform 346"/>
            <p:cNvSpPr>
              <a:spLocks noChangeAspect="1" noEditPoints="1"/>
            </p:cNvSpPr>
            <p:nvPr/>
          </p:nvSpPr>
          <p:spPr bwMode="auto">
            <a:xfrm>
              <a:off x="10978938" y="2441397"/>
              <a:ext cx="810401" cy="462802"/>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87" name="Freeform 37"/>
            <p:cNvSpPr>
              <a:spLocks noEditPoints="1"/>
            </p:cNvSpPr>
            <p:nvPr/>
          </p:nvSpPr>
          <p:spPr bwMode="auto">
            <a:xfrm>
              <a:off x="10764801" y="1524029"/>
              <a:ext cx="1024538" cy="679243"/>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grpSp>
          <p:nvGrpSpPr>
            <p:cNvPr id="11" name="Group 4"/>
            <p:cNvGrpSpPr>
              <a:grpSpLocks noChangeAspect="1"/>
            </p:cNvGrpSpPr>
            <p:nvPr/>
          </p:nvGrpSpPr>
          <p:grpSpPr bwMode="auto">
            <a:xfrm>
              <a:off x="10477500" y="3221038"/>
              <a:ext cx="1071563" cy="712787"/>
              <a:chOff x="6600" y="2029"/>
              <a:chExt cx="675" cy="449"/>
            </a:xfrm>
          </p:grpSpPr>
          <p:sp>
            <p:nvSpPr>
              <p:cNvPr id="16" name="Freeform 7"/>
              <p:cNvSpPr>
                <a:spLocks noEditPoints="1"/>
              </p:cNvSpPr>
              <p:nvPr/>
            </p:nvSpPr>
            <p:spPr bwMode="auto">
              <a:xfrm>
                <a:off x="6600" y="2029"/>
                <a:ext cx="675" cy="449"/>
              </a:xfrm>
              <a:custGeom>
                <a:avLst/>
                <a:gdLst>
                  <a:gd name="T0" fmla="*/ 2408 w 3374"/>
                  <a:gd name="T1" fmla="*/ 115 h 2243"/>
                  <a:gd name="T2" fmla="*/ 1598 w 3374"/>
                  <a:gd name="T3" fmla="*/ 115 h 2243"/>
                  <a:gd name="T4" fmla="*/ 1035 w 3374"/>
                  <a:gd name="T5" fmla="*/ 115 h 2243"/>
                  <a:gd name="T6" fmla="*/ 534 w 3374"/>
                  <a:gd name="T7" fmla="*/ 117 h 2243"/>
                  <a:gd name="T8" fmla="*/ 534 w 3374"/>
                  <a:gd name="T9" fmla="*/ 308 h 2243"/>
                  <a:gd name="T10" fmla="*/ 533 w 3374"/>
                  <a:gd name="T11" fmla="*/ 433 h 2243"/>
                  <a:gd name="T12" fmla="*/ 509 w 3374"/>
                  <a:gd name="T13" fmla="*/ 494 h 2243"/>
                  <a:gd name="T14" fmla="*/ 450 w 3374"/>
                  <a:gd name="T15" fmla="*/ 522 h 2243"/>
                  <a:gd name="T16" fmla="*/ 400 w 3374"/>
                  <a:gd name="T17" fmla="*/ 528 h 2243"/>
                  <a:gd name="T18" fmla="*/ 392 w 3374"/>
                  <a:gd name="T19" fmla="*/ 528 h 2243"/>
                  <a:gd name="T20" fmla="*/ 102 w 3374"/>
                  <a:gd name="T21" fmla="*/ 528 h 2243"/>
                  <a:gd name="T22" fmla="*/ 102 w 3374"/>
                  <a:gd name="T23" fmla="*/ 531 h 2243"/>
                  <a:gd name="T24" fmla="*/ 102 w 3374"/>
                  <a:gd name="T25" fmla="*/ 547 h 2243"/>
                  <a:gd name="T26" fmla="*/ 102 w 3374"/>
                  <a:gd name="T27" fmla="*/ 749 h 2243"/>
                  <a:gd name="T28" fmla="*/ 102 w 3374"/>
                  <a:gd name="T29" fmla="*/ 1121 h 2243"/>
                  <a:gd name="T30" fmla="*/ 102 w 3374"/>
                  <a:gd name="T31" fmla="*/ 1453 h 2243"/>
                  <a:gd name="T32" fmla="*/ 102 w 3374"/>
                  <a:gd name="T33" fmla="*/ 1892 h 2243"/>
                  <a:gd name="T34" fmla="*/ 122 w 3374"/>
                  <a:gd name="T35" fmla="*/ 2087 h 2243"/>
                  <a:gd name="T36" fmla="*/ 192 w 3374"/>
                  <a:gd name="T37" fmla="*/ 2137 h 2243"/>
                  <a:gd name="T38" fmla="*/ 3272 w 3374"/>
                  <a:gd name="T39" fmla="*/ 2141 h 2243"/>
                  <a:gd name="T40" fmla="*/ 3272 w 3374"/>
                  <a:gd name="T41" fmla="*/ 2115 h 2243"/>
                  <a:gd name="T42" fmla="*/ 3272 w 3374"/>
                  <a:gd name="T43" fmla="*/ 1771 h 2243"/>
                  <a:gd name="T44" fmla="*/ 3272 w 3374"/>
                  <a:gd name="T45" fmla="*/ 1003 h 2243"/>
                  <a:gd name="T46" fmla="*/ 3272 w 3374"/>
                  <a:gd name="T47" fmla="*/ 522 h 2243"/>
                  <a:gd name="T48" fmla="*/ 3264 w 3374"/>
                  <a:gd name="T49" fmla="*/ 189 h 2243"/>
                  <a:gd name="T50" fmla="*/ 3203 w 3374"/>
                  <a:gd name="T51" fmla="*/ 124 h 2243"/>
                  <a:gd name="T52" fmla="*/ 3158 w 3374"/>
                  <a:gd name="T53" fmla="*/ 115 h 2243"/>
                  <a:gd name="T54" fmla="*/ 3148 w 3374"/>
                  <a:gd name="T55" fmla="*/ 115 h 2243"/>
                  <a:gd name="T56" fmla="*/ 3007 w 3374"/>
                  <a:gd name="T57" fmla="*/ 115 h 2243"/>
                  <a:gd name="T58" fmla="*/ 2873 w 3374"/>
                  <a:gd name="T59" fmla="*/ 115 h 2243"/>
                  <a:gd name="T60" fmla="*/ 2678 w 3374"/>
                  <a:gd name="T61" fmla="*/ 115 h 2243"/>
                  <a:gd name="T62" fmla="*/ 462 w 3374"/>
                  <a:gd name="T63" fmla="*/ 0 h 2243"/>
                  <a:gd name="T64" fmla="*/ 1048 w 3374"/>
                  <a:gd name="T65" fmla="*/ 0 h 2243"/>
                  <a:gd name="T66" fmla="*/ 3274 w 3374"/>
                  <a:gd name="T67" fmla="*/ 20 h 2243"/>
                  <a:gd name="T68" fmla="*/ 3353 w 3374"/>
                  <a:gd name="T69" fmla="*/ 93 h 2243"/>
                  <a:gd name="T70" fmla="*/ 3374 w 3374"/>
                  <a:gd name="T71" fmla="*/ 178 h 2243"/>
                  <a:gd name="T72" fmla="*/ 3374 w 3374"/>
                  <a:gd name="T73" fmla="*/ 213 h 2243"/>
                  <a:gd name="T74" fmla="*/ 3374 w 3374"/>
                  <a:gd name="T75" fmla="*/ 456 h 2243"/>
                  <a:gd name="T76" fmla="*/ 3374 w 3374"/>
                  <a:gd name="T77" fmla="*/ 697 h 2243"/>
                  <a:gd name="T78" fmla="*/ 3374 w 3374"/>
                  <a:gd name="T79" fmla="*/ 2243 h 2243"/>
                  <a:gd name="T80" fmla="*/ 2833 w 3374"/>
                  <a:gd name="T81" fmla="*/ 2243 h 2243"/>
                  <a:gd name="T82" fmla="*/ 142 w 3374"/>
                  <a:gd name="T83" fmla="*/ 2241 h 2243"/>
                  <a:gd name="T84" fmla="*/ 54 w 3374"/>
                  <a:gd name="T85" fmla="*/ 2195 h 2243"/>
                  <a:gd name="T86" fmla="*/ 3 w 3374"/>
                  <a:gd name="T87" fmla="*/ 2099 h 2243"/>
                  <a:gd name="T88" fmla="*/ 0 w 3374"/>
                  <a:gd name="T89" fmla="*/ 2034 h 2243"/>
                  <a:gd name="T90" fmla="*/ 1 w 3374"/>
                  <a:gd name="T91" fmla="*/ 1899 h 2243"/>
                  <a:gd name="T92" fmla="*/ 2 w 3374"/>
                  <a:gd name="T93" fmla="*/ 1684 h 2243"/>
                  <a:gd name="T94" fmla="*/ 2 w 3374"/>
                  <a:gd name="T95" fmla="*/ 1412 h 2243"/>
                  <a:gd name="T96" fmla="*/ 3 w 3374"/>
                  <a:gd name="T97" fmla="*/ 1112 h 2243"/>
                  <a:gd name="T98" fmla="*/ 2 w 3374"/>
                  <a:gd name="T99" fmla="*/ 807 h 2243"/>
                  <a:gd name="T100" fmla="*/ 1 w 3374"/>
                  <a:gd name="T101" fmla="*/ 525 h 2243"/>
                  <a:gd name="T102" fmla="*/ 16 w 3374"/>
                  <a:gd name="T103" fmla="*/ 443 h 2243"/>
                  <a:gd name="T104" fmla="*/ 81 w 3374"/>
                  <a:gd name="T105" fmla="*/ 374 h 2243"/>
                  <a:gd name="T106" fmla="*/ 175 w 3374"/>
                  <a:gd name="T107" fmla="*/ 273 h 2243"/>
                  <a:gd name="T108" fmla="*/ 282 w 3374"/>
                  <a:gd name="T109" fmla="*/ 157 h 2243"/>
                  <a:gd name="T110" fmla="*/ 383 w 3374"/>
                  <a:gd name="T111" fmla="*/ 47 h 2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74" h="2243">
                    <a:moveTo>
                      <a:pt x="2617" y="115"/>
                    </a:moveTo>
                    <a:lnTo>
                      <a:pt x="2552" y="115"/>
                    </a:lnTo>
                    <a:lnTo>
                      <a:pt x="2482" y="115"/>
                    </a:lnTo>
                    <a:lnTo>
                      <a:pt x="2408" y="115"/>
                    </a:lnTo>
                    <a:lnTo>
                      <a:pt x="2241" y="115"/>
                    </a:lnTo>
                    <a:lnTo>
                      <a:pt x="2149" y="115"/>
                    </a:lnTo>
                    <a:lnTo>
                      <a:pt x="2052" y="115"/>
                    </a:lnTo>
                    <a:lnTo>
                      <a:pt x="1598" y="115"/>
                    </a:lnTo>
                    <a:lnTo>
                      <a:pt x="1468" y="115"/>
                    </a:lnTo>
                    <a:lnTo>
                      <a:pt x="1331" y="115"/>
                    </a:lnTo>
                    <a:lnTo>
                      <a:pt x="1186" y="115"/>
                    </a:lnTo>
                    <a:lnTo>
                      <a:pt x="1035" y="115"/>
                    </a:lnTo>
                    <a:lnTo>
                      <a:pt x="875" y="115"/>
                    </a:lnTo>
                    <a:lnTo>
                      <a:pt x="534" y="115"/>
                    </a:lnTo>
                    <a:lnTo>
                      <a:pt x="534" y="116"/>
                    </a:lnTo>
                    <a:lnTo>
                      <a:pt x="534" y="117"/>
                    </a:lnTo>
                    <a:lnTo>
                      <a:pt x="534" y="121"/>
                    </a:lnTo>
                    <a:lnTo>
                      <a:pt x="534" y="232"/>
                    </a:lnTo>
                    <a:lnTo>
                      <a:pt x="534" y="266"/>
                    </a:lnTo>
                    <a:lnTo>
                      <a:pt x="534" y="308"/>
                    </a:lnTo>
                    <a:lnTo>
                      <a:pt x="534" y="412"/>
                    </a:lnTo>
                    <a:lnTo>
                      <a:pt x="534" y="414"/>
                    </a:lnTo>
                    <a:lnTo>
                      <a:pt x="534" y="422"/>
                    </a:lnTo>
                    <a:lnTo>
                      <a:pt x="533" y="433"/>
                    </a:lnTo>
                    <a:lnTo>
                      <a:pt x="531" y="448"/>
                    </a:lnTo>
                    <a:lnTo>
                      <a:pt x="526" y="463"/>
                    </a:lnTo>
                    <a:lnTo>
                      <a:pt x="520" y="480"/>
                    </a:lnTo>
                    <a:lnTo>
                      <a:pt x="509" y="494"/>
                    </a:lnTo>
                    <a:lnTo>
                      <a:pt x="495" y="506"/>
                    </a:lnTo>
                    <a:lnTo>
                      <a:pt x="482" y="512"/>
                    </a:lnTo>
                    <a:lnTo>
                      <a:pt x="466" y="517"/>
                    </a:lnTo>
                    <a:lnTo>
                      <a:pt x="450" y="522"/>
                    </a:lnTo>
                    <a:lnTo>
                      <a:pt x="435" y="525"/>
                    </a:lnTo>
                    <a:lnTo>
                      <a:pt x="420" y="527"/>
                    </a:lnTo>
                    <a:lnTo>
                      <a:pt x="408" y="528"/>
                    </a:lnTo>
                    <a:lnTo>
                      <a:pt x="400" y="528"/>
                    </a:lnTo>
                    <a:lnTo>
                      <a:pt x="398" y="528"/>
                    </a:lnTo>
                    <a:lnTo>
                      <a:pt x="397" y="528"/>
                    </a:lnTo>
                    <a:lnTo>
                      <a:pt x="395" y="528"/>
                    </a:lnTo>
                    <a:lnTo>
                      <a:pt x="392" y="528"/>
                    </a:lnTo>
                    <a:lnTo>
                      <a:pt x="281" y="528"/>
                    </a:lnTo>
                    <a:lnTo>
                      <a:pt x="246" y="528"/>
                    </a:lnTo>
                    <a:lnTo>
                      <a:pt x="206" y="528"/>
                    </a:lnTo>
                    <a:lnTo>
                      <a:pt x="102" y="528"/>
                    </a:lnTo>
                    <a:lnTo>
                      <a:pt x="102" y="529"/>
                    </a:lnTo>
                    <a:lnTo>
                      <a:pt x="102" y="529"/>
                    </a:lnTo>
                    <a:lnTo>
                      <a:pt x="102" y="529"/>
                    </a:lnTo>
                    <a:lnTo>
                      <a:pt x="102" y="531"/>
                    </a:lnTo>
                    <a:lnTo>
                      <a:pt x="102" y="533"/>
                    </a:lnTo>
                    <a:lnTo>
                      <a:pt x="102" y="536"/>
                    </a:lnTo>
                    <a:lnTo>
                      <a:pt x="102" y="541"/>
                    </a:lnTo>
                    <a:lnTo>
                      <a:pt x="102" y="547"/>
                    </a:lnTo>
                    <a:lnTo>
                      <a:pt x="102" y="555"/>
                    </a:lnTo>
                    <a:lnTo>
                      <a:pt x="102" y="566"/>
                    </a:lnTo>
                    <a:lnTo>
                      <a:pt x="102" y="714"/>
                    </a:lnTo>
                    <a:lnTo>
                      <a:pt x="102" y="749"/>
                    </a:lnTo>
                    <a:lnTo>
                      <a:pt x="102" y="788"/>
                    </a:lnTo>
                    <a:lnTo>
                      <a:pt x="102" y="990"/>
                    </a:lnTo>
                    <a:lnTo>
                      <a:pt x="102" y="1052"/>
                    </a:lnTo>
                    <a:lnTo>
                      <a:pt x="102" y="1121"/>
                    </a:lnTo>
                    <a:lnTo>
                      <a:pt x="102" y="1195"/>
                    </a:lnTo>
                    <a:lnTo>
                      <a:pt x="102" y="1275"/>
                    </a:lnTo>
                    <a:lnTo>
                      <a:pt x="102" y="1361"/>
                    </a:lnTo>
                    <a:lnTo>
                      <a:pt x="102" y="1453"/>
                    </a:lnTo>
                    <a:lnTo>
                      <a:pt x="102" y="1552"/>
                    </a:lnTo>
                    <a:lnTo>
                      <a:pt x="102" y="1658"/>
                    </a:lnTo>
                    <a:lnTo>
                      <a:pt x="102" y="1771"/>
                    </a:lnTo>
                    <a:lnTo>
                      <a:pt x="102" y="1892"/>
                    </a:lnTo>
                    <a:lnTo>
                      <a:pt x="102" y="2019"/>
                    </a:lnTo>
                    <a:lnTo>
                      <a:pt x="104" y="2043"/>
                    </a:lnTo>
                    <a:lnTo>
                      <a:pt x="111" y="2067"/>
                    </a:lnTo>
                    <a:lnTo>
                      <a:pt x="122" y="2087"/>
                    </a:lnTo>
                    <a:lnTo>
                      <a:pt x="135" y="2105"/>
                    </a:lnTo>
                    <a:lnTo>
                      <a:pt x="151" y="2120"/>
                    </a:lnTo>
                    <a:lnTo>
                      <a:pt x="171" y="2131"/>
                    </a:lnTo>
                    <a:lnTo>
                      <a:pt x="192" y="2137"/>
                    </a:lnTo>
                    <a:lnTo>
                      <a:pt x="216" y="2141"/>
                    </a:lnTo>
                    <a:lnTo>
                      <a:pt x="3272" y="2141"/>
                    </a:lnTo>
                    <a:lnTo>
                      <a:pt x="3272" y="2141"/>
                    </a:lnTo>
                    <a:lnTo>
                      <a:pt x="3272" y="2141"/>
                    </a:lnTo>
                    <a:lnTo>
                      <a:pt x="3272" y="2140"/>
                    </a:lnTo>
                    <a:lnTo>
                      <a:pt x="3272" y="2128"/>
                    </a:lnTo>
                    <a:lnTo>
                      <a:pt x="3272" y="2123"/>
                    </a:lnTo>
                    <a:lnTo>
                      <a:pt x="3272" y="2115"/>
                    </a:lnTo>
                    <a:lnTo>
                      <a:pt x="3272" y="1903"/>
                    </a:lnTo>
                    <a:lnTo>
                      <a:pt x="3272" y="1863"/>
                    </a:lnTo>
                    <a:lnTo>
                      <a:pt x="3272" y="1819"/>
                    </a:lnTo>
                    <a:lnTo>
                      <a:pt x="3272" y="1771"/>
                    </a:lnTo>
                    <a:lnTo>
                      <a:pt x="3272" y="1718"/>
                    </a:lnTo>
                    <a:lnTo>
                      <a:pt x="3272" y="1661"/>
                    </a:lnTo>
                    <a:lnTo>
                      <a:pt x="3272" y="1598"/>
                    </a:lnTo>
                    <a:lnTo>
                      <a:pt x="3272" y="1003"/>
                    </a:lnTo>
                    <a:lnTo>
                      <a:pt x="3272" y="894"/>
                    </a:lnTo>
                    <a:lnTo>
                      <a:pt x="3272" y="777"/>
                    </a:lnTo>
                    <a:lnTo>
                      <a:pt x="3272" y="653"/>
                    </a:lnTo>
                    <a:lnTo>
                      <a:pt x="3272" y="522"/>
                    </a:lnTo>
                    <a:lnTo>
                      <a:pt x="3272" y="383"/>
                    </a:lnTo>
                    <a:lnTo>
                      <a:pt x="3272" y="237"/>
                    </a:lnTo>
                    <a:lnTo>
                      <a:pt x="3270" y="212"/>
                    </a:lnTo>
                    <a:lnTo>
                      <a:pt x="3264" y="189"/>
                    </a:lnTo>
                    <a:lnTo>
                      <a:pt x="3253" y="168"/>
                    </a:lnTo>
                    <a:lnTo>
                      <a:pt x="3239" y="150"/>
                    </a:lnTo>
                    <a:lnTo>
                      <a:pt x="3223" y="135"/>
                    </a:lnTo>
                    <a:lnTo>
                      <a:pt x="3203" y="124"/>
                    </a:lnTo>
                    <a:lnTo>
                      <a:pt x="3182" y="117"/>
                    </a:lnTo>
                    <a:lnTo>
                      <a:pt x="3158" y="115"/>
                    </a:lnTo>
                    <a:lnTo>
                      <a:pt x="3158" y="115"/>
                    </a:lnTo>
                    <a:lnTo>
                      <a:pt x="3158" y="115"/>
                    </a:lnTo>
                    <a:lnTo>
                      <a:pt x="3156" y="115"/>
                    </a:lnTo>
                    <a:lnTo>
                      <a:pt x="3155" y="115"/>
                    </a:lnTo>
                    <a:lnTo>
                      <a:pt x="3152" y="115"/>
                    </a:lnTo>
                    <a:lnTo>
                      <a:pt x="3148" y="115"/>
                    </a:lnTo>
                    <a:lnTo>
                      <a:pt x="3143" y="115"/>
                    </a:lnTo>
                    <a:lnTo>
                      <a:pt x="3055" y="115"/>
                    </a:lnTo>
                    <a:lnTo>
                      <a:pt x="3032" y="115"/>
                    </a:lnTo>
                    <a:lnTo>
                      <a:pt x="3007" y="115"/>
                    </a:lnTo>
                    <a:lnTo>
                      <a:pt x="2979" y="115"/>
                    </a:lnTo>
                    <a:lnTo>
                      <a:pt x="2948" y="115"/>
                    </a:lnTo>
                    <a:lnTo>
                      <a:pt x="2912" y="115"/>
                    </a:lnTo>
                    <a:lnTo>
                      <a:pt x="2873" y="115"/>
                    </a:lnTo>
                    <a:lnTo>
                      <a:pt x="2831" y="115"/>
                    </a:lnTo>
                    <a:lnTo>
                      <a:pt x="2784" y="115"/>
                    </a:lnTo>
                    <a:lnTo>
                      <a:pt x="2733" y="115"/>
                    </a:lnTo>
                    <a:lnTo>
                      <a:pt x="2678" y="115"/>
                    </a:lnTo>
                    <a:lnTo>
                      <a:pt x="2617" y="115"/>
                    </a:lnTo>
                    <a:close/>
                    <a:moveTo>
                      <a:pt x="425" y="0"/>
                    </a:moveTo>
                    <a:lnTo>
                      <a:pt x="458" y="0"/>
                    </a:lnTo>
                    <a:lnTo>
                      <a:pt x="462" y="0"/>
                    </a:lnTo>
                    <a:lnTo>
                      <a:pt x="474" y="0"/>
                    </a:lnTo>
                    <a:lnTo>
                      <a:pt x="924" y="0"/>
                    </a:lnTo>
                    <a:lnTo>
                      <a:pt x="984" y="0"/>
                    </a:lnTo>
                    <a:lnTo>
                      <a:pt x="1048" y="0"/>
                    </a:lnTo>
                    <a:lnTo>
                      <a:pt x="3202" y="0"/>
                    </a:lnTo>
                    <a:lnTo>
                      <a:pt x="3226" y="3"/>
                    </a:lnTo>
                    <a:lnTo>
                      <a:pt x="3250" y="9"/>
                    </a:lnTo>
                    <a:lnTo>
                      <a:pt x="3274" y="20"/>
                    </a:lnTo>
                    <a:lnTo>
                      <a:pt x="3296" y="33"/>
                    </a:lnTo>
                    <a:lnTo>
                      <a:pt x="3318" y="50"/>
                    </a:lnTo>
                    <a:lnTo>
                      <a:pt x="3336" y="71"/>
                    </a:lnTo>
                    <a:lnTo>
                      <a:pt x="3353" y="93"/>
                    </a:lnTo>
                    <a:lnTo>
                      <a:pt x="3364" y="120"/>
                    </a:lnTo>
                    <a:lnTo>
                      <a:pt x="3372" y="148"/>
                    </a:lnTo>
                    <a:lnTo>
                      <a:pt x="3374" y="178"/>
                    </a:lnTo>
                    <a:lnTo>
                      <a:pt x="3374" y="178"/>
                    </a:lnTo>
                    <a:lnTo>
                      <a:pt x="3374" y="179"/>
                    </a:lnTo>
                    <a:lnTo>
                      <a:pt x="3374" y="180"/>
                    </a:lnTo>
                    <a:lnTo>
                      <a:pt x="3374" y="203"/>
                    </a:lnTo>
                    <a:lnTo>
                      <a:pt x="3374" y="213"/>
                    </a:lnTo>
                    <a:lnTo>
                      <a:pt x="3374" y="224"/>
                    </a:lnTo>
                    <a:lnTo>
                      <a:pt x="3374" y="238"/>
                    </a:lnTo>
                    <a:lnTo>
                      <a:pt x="3374" y="417"/>
                    </a:lnTo>
                    <a:lnTo>
                      <a:pt x="3374" y="456"/>
                    </a:lnTo>
                    <a:lnTo>
                      <a:pt x="3374" y="500"/>
                    </a:lnTo>
                    <a:lnTo>
                      <a:pt x="3374" y="625"/>
                    </a:lnTo>
                    <a:lnTo>
                      <a:pt x="3374" y="659"/>
                    </a:lnTo>
                    <a:lnTo>
                      <a:pt x="3374" y="697"/>
                    </a:lnTo>
                    <a:lnTo>
                      <a:pt x="3374" y="1670"/>
                    </a:lnTo>
                    <a:lnTo>
                      <a:pt x="3374" y="1801"/>
                    </a:lnTo>
                    <a:lnTo>
                      <a:pt x="3374" y="1885"/>
                    </a:lnTo>
                    <a:lnTo>
                      <a:pt x="3374" y="2243"/>
                    </a:lnTo>
                    <a:lnTo>
                      <a:pt x="3374" y="2243"/>
                    </a:lnTo>
                    <a:lnTo>
                      <a:pt x="3373" y="2243"/>
                    </a:lnTo>
                    <a:lnTo>
                      <a:pt x="3371" y="2243"/>
                    </a:lnTo>
                    <a:lnTo>
                      <a:pt x="2833" y="2243"/>
                    </a:lnTo>
                    <a:lnTo>
                      <a:pt x="2779" y="2243"/>
                    </a:lnTo>
                    <a:lnTo>
                      <a:pt x="2719" y="2243"/>
                    </a:lnTo>
                    <a:lnTo>
                      <a:pt x="166" y="2243"/>
                    </a:lnTo>
                    <a:lnTo>
                      <a:pt x="142" y="2241"/>
                    </a:lnTo>
                    <a:lnTo>
                      <a:pt x="119" y="2235"/>
                    </a:lnTo>
                    <a:lnTo>
                      <a:pt x="96" y="2225"/>
                    </a:lnTo>
                    <a:lnTo>
                      <a:pt x="74" y="2211"/>
                    </a:lnTo>
                    <a:lnTo>
                      <a:pt x="54" y="2195"/>
                    </a:lnTo>
                    <a:lnTo>
                      <a:pt x="36" y="2175"/>
                    </a:lnTo>
                    <a:lnTo>
                      <a:pt x="21" y="2153"/>
                    </a:lnTo>
                    <a:lnTo>
                      <a:pt x="10" y="2127"/>
                    </a:lnTo>
                    <a:lnTo>
                      <a:pt x="3" y="2099"/>
                    </a:lnTo>
                    <a:lnTo>
                      <a:pt x="0" y="2068"/>
                    </a:lnTo>
                    <a:lnTo>
                      <a:pt x="0" y="2064"/>
                    </a:lnTo>
                    <a:lnTo>
                      <a:pt x="0" y="2052"/>
                    </a:lnTo>
                    <a:lnTo>
                      <a:pt x="0" y="2034"/>
                    </a:lnTo>
                    <a:lnTo>
                      <a:pt x="0" y="2009"/>
                    </a:lnTo>
                    <a:lnTo>
                      <a:pt x="0" y="1978"/>
                    </a:lnTo>
                    <a:lnTo>
                      <a:pt x="1" y="1941"/>
                    </a:lnTo>
                    <a:lnTo>
                      <a:pt x="1" y="1899"/>
                    </a:lnTo>
                    <a:lnTo>
                      <a:pt x="1" y="1852"/>
                    </a:lnTo>
                    <a:lnTo>
                      <a:pt x="1" y="1799"/>
                    </a:lnTo>
                    <a:lnTo>
                      <a:pt x="1" y="1743"/>
                    </a:lnTo>
                    <a:lnTo>
                      <a:pt x="2" y="1684"/>
                    </a:lnTo>
                    <a:lnTo>
                      <a:pt x="2" y="1620"/>
                    </a:lnTo>
                    <a:lnTo>
                      <a:pt x="2" y="1553"/>
                    </a:lnTo>
                    <a:lnTo>
                      <a:pt x="2" y="1484"/>
                    </a:lnTo>
                    <a:lnTo>
                      <a:pt x="2" y="1412"/>
                    </a:lnTo>
                    <a:lnTo>
                      <a:pt x="2" y="1339"/>
                    </a:lnTo>
                    <a:lnTo>
                      <a:pt x="2" y="1264"/>
                    </a:lnTo>
                    <a:lnTo>
                      <a:pt x="3" y="1189"/>
                    </a:lnTo>
                    <a:lnTo>
                      <a:pt x="3" y="1112"/>
                    </a:lnTo>
                    <a:lnTo>
                      <a:pt x="2" y="1035"/>
                    </a:lnTo>
                    <a:lnTo>
                      <a:pt x="2" y="959"/>
                    </a:lnTo>
                    <a:lnTo>
                      <a:pt x="2" y="883"/>
                    </a:lnTo>
                    <a:lnTo>
                      <a:pt x="2" y="807"/>
                    </a:lnTo>
                    <a:lnTo>
                      <a:pt x="2" y="734"/>
                    </a:lnTo>
                    <a:lnTo>
                      <a:pt x="1" y="662"/>
                    </a:lnTo>
                    <a:lnTo>
                      <a:pt x="1" y="592"/>
                    </a:lnTo>
                    <a:lnTo>
                      <a:pt x="1" y="525"/>
                    </a:lnTo>
                    <a:lnTo>
                      <a:pt x="0" y="460"/>
                    </a:lnTo>
                    <a:lnTo>
                      <a:pt x="2" y="458"/>
                    </a:lnTo>
                    <a:lnTo>
                      <a:pt x="7" y="452"/>
                    </a:lnTo>
                    <a:lnTo>
                      <a:pt x="16" y="443"/>
                    </a:lnTo>
                    <a:lnTo>
                      <a:pt x="29" y="429"/>
                    </a:lnTo>
                    <a:lnTo>
                      <a:pt x="43" y="414"/>
                    </a:lnTo>
                    <a:lnTo>
                      <a:pt x="60" y="395"/>
                    </a:lnTo>
                    <a:lnTo>
                      <a:pt x="81" y="374"/>
                    </a:lnTo>
                    <a:lnTo>
                      <a:pt x="102" y="350"/>
                    </a:lnTo>
                    <a:lnTo>
                      <a:pt x="125" y="326"/>
                    </a:lnTo>
                    <a:lnTo>
                      <a:pt x="149" y="299"/>
                    </a:lnTo>
                    <a:lnTo>
                      <a:pt x="175" y="273"/>
                    </a:lnTo>
                    <a:lnTo>
                      <a:pt x="201" y="244"/>
                    </a:lnTo>
                    <a:lnTo>
                      <a:pt x="228" y="215"/>
                    </a:lnTo>
                    <a:lnTo>
                      <a:pt x="255" y="186"/>
                    </a:lnTo>
                    <a:lnTo>
                      <a:pt x="282" y="157"/>
                    </a:lnTo>
                    <a:lnTo>
                      <a:pt x="309" y="128"/>
                    </a:lnTo>
                    <a:lnTo>
                      <a:pt x="334" y="99"/>
                    </a:lnTo>
                    <a:lnTo>
                      <a:pt x="359" y="73"/>
                    </a:lnTo>
                    <a:lnTo>
                      <a:pt x="383" y="47"/>
                    </a:lnTo>
                    <a:lnTo>
                      <a:pt x="405" y="23"/>
                    </a:lnTo>
                    <a:lnTo>
                      <a:pt x="425"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9" name="Freeform 8"/>
              <p:cNvSpPr>
                <a:spLocks noEditPoints="1"/>
              </p:cNvSpPr>
              <p:nvPr/>
            </p:nvSpPr>
            <p:spPr bwMode="auto">
              <a:xfrm>
                <a:off x="6664" y="2144"/>
                <a:ext cx="549" cy="240"/>
              </a:xfrm>
              <a:custGeom>
                <a:avLst/>
                <a:gdLst>
                  <a:gd name="T0" fmla="*/ 2724 w 2744"/>
                  <a:gd name="T1" fmla="*/ 1101 h 1201"/>
                  <a:gd name="T2" fmla="*/ 2692 w 2744"/>
                  <a:gd name="T3" fmla="*/ 1201 h 1201"/>
                  <a:gd name="T4" fmla="*/ 2393 w 2744"/>
                  <a:gd name="T5" fmla="*/ 1201 h 1201"/>
                  <a:gd name="T6" fmla="*/ 1991 w 2744"/>
                  <a:gd name="T7" fmla="*/ 1145 h 1201"/>
                  <a:gd name="T8" fmla="*/ 1183 w 2744"/>
                  <a:gd name="T9" fmla="*/ 1090 h 1201"/>
                  <a:gd name="T10" fmla="*/ 1744 w 2744"/>
                  <a:gd name="T11" fmla="*/ 1128 h 1201"/>
                  <a:gd name="T12" fmla="*/ 1693 w 2744"/>
                  <a:gd name="T13" fmla="*/ 1201 h 1201"/>
                  <a:gd name="T14" fmla="*/ 1211 w 2744"/>
                  <a:gd name="T15" fmla="*/ 1201 h 1201"/>
                  <a:gd name="T16" fmla="*/ 1010 w 2744"/>
                  <a:gd name="T17" fmla="*/ 1114 h 1201"/>
                  <a:gd name="T18" fmla="*/ 258 w 2744"/>
                  <a:gd name="T19" fmla="*/ 1090 h 1201"/>
                  <a:gd name="T20" fmla="*/ 751 w 2744"/>
                  <a:gd name="T21" fmla="*/ 1163 h 1201"/>
                  <a:gd name="T22" fmla="*/ 595 w 2744"/>
                  <a:gd name="T23" fmla="*/ 1201 h 1201"/>
                  <a:gd name="T24" fmla="*/ 53 w 2744"/>
                  <a:gd name="T25" fmla="*/ 1201 h 1201"/>
                  <a:gd name="T26" fmla="*/ 37 w 2744"/>
                  <a:gd name="T27" fmla="*/ 1093 h 1201"/>
                  <a:gd name="T28" fmla="*/ 2724 w 2744"/>
                  <a:gd name="T29" fmla="*/ 826 h 1201"/>
                  <a:gd name="T30" fmla="*/ 2692 w 2744"/>
                  <a:gd name="T31" fmla="*/ 930 h 1201"/>
                  <a:gd name="T32" fmla="*/ 2525 w 2744"/>
                  <a:gd name="T33" fmla="*/ 930 h 1201"/>
                  <a:gd name="T34" fmla="*/ 2014 w 2744"/>
                  <a:gd name="T35" fmla="*/ 919 h 1201"/>
                  <a:gd name="T36" fmla="*/ 2125 w 2744"/>
                  <a:gd name="T37" fmla="*/ 814 h 1201"/>
                  <a:gd name="T38" fmla="*/ 1744 w 2744"/>
                  <a:gd name="T39" fmla="*/ 854 h 1201"/>
                  <a:gd name="T40" fmla="*/ 1693 w 2744"/>
                  <a:gd name="T41" fmla="*/ 930 h 1201"/>
                  <a:gd name="T42" fmla="*/ 1446 w 2744"/>
                  <a:gd name="T43" fmla="*/ 930 h 1201"/>
                  <a:gd name="T44" fmla="*/ 1001 w 2744"/>
                  <a:gd name="T45" fmla="*/ 891 h 1201"/>
                  <a:gd name="T46" fmla="*/ 158 w 2744"/>
                  <a:gd name="T47" fmla="*/ 814 h 1201"/>
                  <a:gd name="T48" fmla="*/ 751 w 2744"/>
                  <a:gd name="T49" fmla="*/ 891 h 1201"/>
                  <a:gd name="T50" fmla="*/ 670 w 2744"/>
                  <a:gd name="T51" fmla="*/ 930 h 1201"/>
                  <a:gd name="T52" fmla="*/ 283 w 2744"/>
                  <a:gd name="T53" fmla="*/ 930 h 1201"/>
                  <a:gd name="T54" fmla="*/ 3 w 2744"/>
                  <a:gd name="T55" fmla="*/ 854 h 1201"/>
                  <a:gd name="T56" fmla="*/ 2709 w 2744"/>
                  <a:gd name="T57" fmla="*/ 548 h 1201"/>
                  <a:gd name="T58" fmla="*/ 2692 w 2744"/>
                  <a:gd name="T59" fmla="*/ 655 h 1201"/>
                  <a:gd name="T60" fmla="*/ 2014 w 2744"/>
                  <a:gd name="T61" fmla="*/ 555 h 1201"/>
                  <a:gd name="T62" fmla="*/ 1746 w 2744"/>
                  <a:gd name="T63" fmla="*/ 600 h 1201"/>
                  <a:gd name="T64" fmla="*/ 1010 w 2744"/>
                  <a:gd name="T65" fmla="*/ 632 h 1201"/>
                  <a:gd name="T66" fmla="*/ 701 w 2744"/>
                  <a:gd name="T67" fmla="*/ 545 h 1201"/>
                  <a:gd name="T68" fmla="*/ 717 w 2744"/>
                  <a:gd name="T69" fmla="*/ 652 h 1201"/>
                  <a:gd name="T70" fmla="*/ 11 w 2744"/>
                  <a:gd name="T71" fmla="*/ 568 h 1201"/>
                  <a:gd name="T72" fmla="*/ 2709 w 2744"/>
                  <a:gd name="T73" fmla="*/ 278 h 1201"/>
                  <a:gd name="T74" fmla="*/ 2692 w 2744"/>
                  <a:gd name="T75" fmla="*/ 385 h 1201"/>
                  <a:gd name="T76" fmla="*/ 2393 w 2744"/>
                  <a:gd name="T77" fmla="*/ 385 h 1201"/>
                  <a:gd name="T78" fmla="*/ 2014 w 2744"/>
                  <a:gd name="T79" fmla="*/ 286 h 1201"/>
                  <a:gd name="T80" fmla="*/ 1725 w 2744"/>
                  <a:gd name="T81" fmla="*/ 286 h 1201"/>
                  <a:gd name="T82" fmla="*/ 1694 w 2744"/>
                  <a:gd name="T83" fmla="*/ 385 h 1201"/>
                  <a:gd name="T84" fmla="*/ 1050 w 2744"/>
                  <a:gd name="T85" fmla="*/ 385 h 1201"/>
                  <a:gd name="T86" fmla="*/ 1035 w 2744"/>
                  <a:gd name="T87" fmla="*/ 278 h 1201"/>
                  <a:gd name="T88" fmla="*/ 744 w 2744"/>
                  <a:gd name="T89" fmla="*/ 297 h 1201"/>
                  <a:gd name="T90" fmla="*/ 701 w 2744"/>
                  <a:gd name="T91" fmla="*/ 385 h 1201"/>
                  <a:gd name="T92" fmla="*/ 37 w 2744"/>
                  <a:gd name="T93" fmla="*/ 382 h 1201"/>
                  <a:gd name="T94" fmla="*/ 53 w 2744"/>
                  <a:gd name="T95" fmla="*/ 274 h 1201"/>
                  <a:gd name="T96" fmla="*/ 2735 w 2744"/>
                  <a:gd name="T97" fmla="*/ 22 h 1201"/>
                  <a:gd name="T98" fmla="*/ 2692 w 2744"/>
                  <a:gd name="T99" fmla="*/ 109 h 1201"/>
                  <a:gd name="T100" fmla="*/ 2486 w 2744"/>
                  <a:gd name="T101" fmla="*/ 109 h 1201"/>
                  <a:gd name="T102" fmla="*/ 2003 w 2744"/>
                  <a:gd name="T103" fmla="*/ 87 h 1201"/>
                  <a:gd name="T104" fmla="*/ 2150 w 2744"/>
                  <a:gd name="T105" fmla="*/ 0 h 1201"/>
                  <a:gd name="T106" fmla="*/ 1725 w 2744"/>
                  <a:gd name="T107" fmla="*/ 10 h 1201"/>
                  <a:gd name="T108" fmla="*/ 1694 w 2744"/>
                  <a:gd name="T109" fmla="*/ 109 h 1201"/>
                  <a:gd name="T110" fmla="*/ 1528 w 2744"/>
                  <a:gd name="T111" fmla="*/ 109 h 1201"/>
                  <a:gd name="T112" fmla="*/ 1021 w 2744"/>
                  <a:gd name="T113" fmla="*/ 99 h 1201"/>
                  <a:gd name="T114" fmla="*/ 1131 w 2744"/>
                  <a:gd name="T115" fmla="*/ 0 h 1201"/>
                  <a:gd name="T116" fmla="*/ 717 w 2744"/>
                  <a:gd name="T117" fmla="*/ 2 h 1201"/>
                  <a:gd name="T118" fmla="*/ 701 w 2744"/>
                  <a:gd name="T119" fmla="*/ 109 h 1201"/>
                  <a:gd name="T120" fmla="*/ 585 w 2744"/>
                  <a:gd name="T121" fmla="*/ 109 h 1201"/>
                  <a:gd name="T122" fmla="*/ 358 w 2744"/>
                  <a:gd name="T123" fmla="*/ 56 h 1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44" h="1201">
                    <a:moveTo>
                      <a:pt x="2150" y="1090"/>
                    </a:moveTo>
                    <a:lnTo>
                      <a:pt x="2178" y="1090"/>
                    </a:lnTo>
                    <a:lnTo>
                      <a:pt x="2211" y="1090"/>
                    </a:lnTo>
                    <a:lnTo>
                      <a:pt x="2250" y="1090"/>
                    </a:lnTo>
                    <a:lnTo>
                      <a:pt x="2293" y="1090"/>
                    </a:lnTo>
                    <a:lnTo>
                      <a:pt x="2343" y="1090"/>
                    </a:lnTo>
                    <a:lnTo>
                      <a:pt x="2692" y="1090"/>
                    </a:lnTo>
                    <a:lnTo>
                      <a:pt x="2709" y="1093"/>
                    </a:lnTo>
                    <a:lnTo>
                      <a:pt x="2724" y="1101"/>
                    </a:lnTo>
                    <a:lnTo>
                      <a:pt x="2735" y="1114"/>
                    </a:lnTo>
                    <a:lnTo>
                      <a:pt x="2742" y="1128"/>
                    </a:lnTo>
                    <a:lnTo>
                      <a:pt x="2744" y="1145"/>
                    </a:lnTo>
                    <a:lnTo>
                      <a:pt x="2742" y="1163"/>
                    </a:lnTo>
                    <a:lnTo>
                      <a:pt x="2735" y="1178"/>
                    </a:lnTo>
                    <a:lnTo>
                      <a:pt x="2724" y="1189"/>
                    </a:lnTo>
                    <a:lnTo>
                      <a:pt x="2709" y="1198"/>
                    </a:lnTo>
                    <a:lnTo>
                      <a:pt x="2692" y="1201"/>
                    </a:lnTo>
                    <a:lnTo>
                      <a:pt x="2692" y="1201"/>
                    </a:lnTo>
                    <a:lnTo>
                      <a:pt x="2692" y="1201"/>
                    </a:lnTo>
                    <a:lnTo>
                      <a:pt x="2691" y="1201"/>
                    </a:lnTo>
                    <a:lnTo>
                      <a:pt x="2611" y="1201"/>
                    </a:lnTo>
                    <a:lnTo>
                      <a:pt x="2587" y="1201"/>
                    </a:lnTo>
                    <a:lnTo>
                      <a:pt x="2559" y="1201"/>
                    </a:lnTo>
                    <a:lnTo>
                      <a:pt x="2525" y="1201"/>
                    </a:lnTo>
                    <a:lnTo>
                      <a:pt x="2486" y="1201"/>
                    </a:lnTo>
                    <a:lnTo>
                      <a:pt x="2443" y="1201"/>
                    </a:lnTo>
                    <a:lnTo>
                      <a:pt x="2393" y="1201"/>
                    </a:lnTo>
                    <a:lnTo>
                      <a:pt x="2275" y="1201"/>
                    </a:lnTo>
                    <a:lnTo>
                      <a:pt x="2205" y="1201"/>
                    </a:lnTo>
                    <a:lnTo>
                      <a:pt x="2128" y="1201"/>
                    </a:lnTo>
                    <a:lnTo>
                      <a:pt x="2045" y="1201"/>
                    </a:lnTo>
                    <a:lnTo>
                      <a:pt x="2028" y="1198"/>
                    </a:lnTo>
                    <a:lnTo>
                      <a:pt x="2014" y="1189"/>
                    </a:lnTo>
                    <a:lnTo>
                      <a:pt x="2003" y="1178"/>
                    </a:lnTo>
                    <a:lnTo>
                      <a:pt x="1994" y="1163"/>
                    </a:lnTo>
                    <a:lnTo>
                      <a:pt x="1991" y="1145"/>
                    </a:lnTo>
                    <a:lnTo>
                      <a:pt x="1994" y="1128"/>
                    </a:lnTo>
                    <a:lnTo>
                      <a:pt x="2003" y="1114"/>
                    </a:lnTo>
                    <a:lnTo>
                      <a:pt x="2014" y="1101"/>
                    </a:lnTo>
                    <a:lnTo>
                      <a:pt x="2028" y="1093"/>
                    </a:lnTo>
                    <a:lnTo>
                      <a:pt x="2045" y="1090"/>
                    </a:lnTo>
                    <a:lnTo>
                      <a:pt x="2125" y="1090"/>
                    </a:lnTo>
                    <a:lnTo>
                      <a:pt x="2150" y="1090"/>
                    </a:lnTo>
                    <a:close/>
                    <a:moveTo>
                      <a:pt x="1155" y="1090"/>
                    </a:moveTo>
                    <a:lnTo>
                      <a:pt x="1183" y="1090"/>
                    </a:lnTo>
                    <a:lnTo>
                      <a:pt x="1216" y="1090"/>
                    </a:lnTo>
                    <a:lnTo>
                      <a:pt x="1255" y="1090"/>
                    </a:lnTo>
                    <a:lnTo>
                      <a:pt x="1298" y="1090"/>
                    </a:lnTo>
                    <a:lnTo>
                      <a:pt x="1348" y="1090"/>
                    </a:lnTo>
                    <a:lnTo>
                      <a:pt x="1694" y="1090"/>
                    </a:lnTo>
                    <a:lnTo>
                      <a:pt x="1711" y="1093"/>
                    </a:lnTo>
                    <a:lnTo>
                      <a:pt x="1725" y="1101"/>
                    </a:lnTo>
                    <a:lnTo>
                      <a:pt x="1737" y="1114"/>
                    </a:lnTo>
                    <a:lnTo>
                      <a:pt x="1744" y="1128"/>
                    </a:lnTo>
                    <a:lnTo>
                      <a:pt x="1746" y="1145"/>
                    </a:lnTo>
                    <a:lnTo>
                      <a:pt x="1744" y="1163"/>
                    </a:lnTo>
                    <a:lnTo>
                      <a:pt x="1737" y="1178"/>
                    </a:lnTo>
                    <a:lnTo>
                      <a:pt x="1725" y="1189"/>
                    </a:lnTo>
                    <a:lnTo>
                      <a:pt x="1711" y="1198"/>
                    </a:lnTo>
                    <a:lnTo>
                      <a:pt x="1694" y="1201"/>
                    </a:lnTo>
                    <a:lnTo>
                      <a:pt x="1694" y="1201"/>
                    </a:lnTo>
                    <a:lnTo>
                      <a:pt x="1694" y="1201"/>
                    </a:lnTo>
                    <a:lnTo>
                      <a:pt x="1693" y="1201"/>
                    </a:lnTo>
                    <a:lnTo>
                      <a:pt x="1614" y="1201"/>
                    </a:lnTo>
                    <a:lnTo>
                      <a:pt x="1589" y="1201"/>
                    </a:lnTo>
                    <a:lnTo>
                      <a:pt x="1562" y="1201"/>
                    </a:lnTo>
                    <a:lnTo>
                      <a:pt x="1528" y="1201"/>
                    </a:lnTo>
                    <a:lnTo>
                      <a:pt x="1490" y="1201"/>
                    </a:lnTo>
                    <a:lnTo>
                      <a:pt x="1446" y="1201"/>
                    </a:lnTo>
                    <a:lnTo>
                      <a:pt x="1397" y="1201"/>
                    </a:lnTo>
                    <a:lnTo>
                      <a:pt x="1280" y="1201"/>
                    </a:lnTo>
                    <a:lnTo>
                      <a:pt x="1211" y="1201"/>
                    </a:lnTo>
                    <a:lnTo>
                      <a:pt x="1134" y="1201"/>
                    </a:lnTo>
                    <a:lnTo>
                      <a:pt x="1050" y="1201"/>
                    </a:lnTo>
                    <a:lnTo>
                      <a:pt x="1035" y="1198"/>
                    </a:lnTo>
                    <a:lnTo>
                      <a:pt x="1021" y="1189"/>
                    </a:lnTo>
                    <a:lnTo>
                      <a:pt x="1010" y="1178"/>
                    </a:lnTo>
                    <a:lnTo>
                      <a:pt x="1001" y="1163"/>
                    </a:lnTo>
                    <a:lnTo>
                      <a:pt x="998" y="1145"/>
                    </a:lnTo>
                    <a:lnTo>
                      <a:pt x="1001" y="1128"/>
                    </a:lnTo>
                    <a:lnTo>
                      <a:pt x="1010" y="1114"/>
                    </a:lnTo>
                    <a:lnTo>
                      <a:pt x="1021" y="1101"/>
                    </a:lnTo>
                    <a:lnTo>
                      <a:pt x="1035" y="1093"/>
                    </a:lnTo>
                    <a:lnTo>
                      <a:pt x="1050" y="1090"/>
                    </a:lnTo>
                    <a:lnTo>
                      <a:pt x="1131" y="1090"/>
                    </a:lnTo>
                    <a:lnTo>
                      <a:pt x="1155" y="1090"/>
                    </a:lnTo>
                    <a:close/>
                    <a:moveTo>
                      <a:pt x="158" y="1090"/>
                    </a:moveTo>
                    <a:lnTo>
                      <a:pt x="186" y="1090"/>
                    </a:lnTo>
                    <a:lnTo>
                      <a:pt x="220" y="1090"/>
                    </a:lnTo>
                    <a:lnTo>
                      <a:pt x="258" y="1090"/>
                    </a:lnTo>
                    <a:lnTo>
                      <a:pt x="302" y="1090"/>
                    </a:lnTo>
                    <a:lnTo>
                      <a:pt x="352" y="1090"/>
                    </a:lnTo>
                    <a:lnTo>
                      <a:pt x="701" y="1090"/>
                    </a:lnTo>
                    <a:lnTo>
                      <a:pt x="717" y="1093"/>
                    </a:lnTo>
                    <a:lnTo>
                      <a:pt x="732" y="1101"/>
                    </a:lnTo>
                    <a:lnTo>
                      <a:pt x="744" y="1114"/>
                    </a:lnTo>
                    <a:lnTo>
                      <a:pt x="751" y="1128"/>
                    </a:lnTo>
                    <a:lnTo>
                      <a:pt x="753" y="1145"/>
                    </a:lnTo>
                    <a:lnTo>
                      <a:pt x="751" y="1163"/>
                    </a:lnTo>
                    <a:lnTo>
                      <a:pt x="744" y="1178"/>
                    </a:lnTo>
                    <a:lnTo>
                      <a:pt x="732" y="1189"/>
                    </a:lnTo>
                    <a:lnTo>
                      <a:pt x="717" y="1198"/>
                    </a:lnTo>
                    <a:lnTo>
                      <a:pt x="701" y="1201"/>
                    </a:lnTo>
                    <a:lnTo>
                      <a:pt x="701" y="1201"/>
                    </a:lnTo>
                    <a:lnTo>
                      <a:pt x="701" y="1201"/>
                    </a:lnTo>
                    <a:lnTo>
                      <a:pt x="699" y="1201"/>
                    </a:lnTo>
                    <a:lnTo>
                      <a:pt x="620" y="1201"/>
                    </a:lnTo>
                    <a:lnTo>
                      <a:pt x="595" y="1201"/>
                    </a:lnTo>
                    <a:lnTo>
                      <a:pt x="567" y="1201"/>
                    </a:lnTo>
                    <a:lnTo>
                      <a:pt x="534" y="1201"/>
                    </a:lnTo>
                    <a:lnTo>
                      <a:pt x="495" y="1201"/>
                    </a:lnTo>
                    <a:lnTo>
                      <a:pt x="451" y="1201"/>
                    </a:lnTo>
                    <a:lnTo>
                      <a:pt x="402" y="1201"/>
                    </a:lnTo>
                    <a:lnTo>
                      <a:pt x="283" y="1201"/>
                    </a:lnTo>
                    <a:lnTo>
                      <a:pt x="214" y="1201"/>
                    </a:lnTo>
                    <a:lnTo>
                      <a:pt x="137" y="1201"/>
                    </a:lnTo>
                    <a:lnTo>
                      <a:pt x="53" y="1201"/>
                    </a:lnTo>
                    <a:lnTo>
                      <a:pt x="37" y="1198"/>
                    </a:lnTo>
                    <a:lnTo>
                      <a:pt x="23" y="1189"/>
                    </a:lnTo>
                    <a:lnTo>
                      <a:pt x="11" y="1178"/>
                    </a:lnTo>
                    <a:lnTo>
                      <a:pt x="3" y="1163"/>
                    </a:lnTo>
                    <a:lnTo>
                      <a:pt x="0" y="1145"/>
                    </a:lnTo>
                    <a:lnTo>
                      <a:pt x="3" y="1128"/>
                    </a:lnTo>
                    <a:lnTo>
                      <a:pt x="11" y="1114"/>
                    </a:lnTo>
                    <a:lnTo>
                      <a:pt x="23" y="1101"/>
                    </a:lnTo>
                    <a:lnTo>
                      <a:pt x="37" y="1093"/>
                    </a:lnTo>
                    <a:lnTo>
                      <a:pt x="53" y="1090"/>
                    </a:lnTo>
                    <a:lnTo>
                      <a:pt x="134" y="1090"/>
                    </a:lnTo>
                    <a:lnTo>
                      <a:pt x="158" y="1090"/>
                    </a:lnTo>
                    <a:close/>
                    <a:moveTo>
                      <a:pt x="2150" y="814"/>
                    </a:moveTo>
                    <a:lnTo>
                      <a:pt x="2178" y="814"/>
                    </a:lnTo>
                    <a:lnTo>
                      <a:pt x="2211" y="814"/>
                    </a:lnTo>
                    <a:lnTo>
                      <a:pt x="2692" y="814"/>
                    </a:lnTo>
                    <a:lnTo>
                      <a:pt x="2709" y="818"/>
                    </a:lnTo>
                    <a:lnTo>
                      <a:pt x="2724" y="826"/>
                    </a:lnTo>
                    <a:lnTo>
                      <a:pt x="2735" y="838"/>
                    </a:lnTo>
                    <a:lnTo>
                      <a:pt x="2742" y="854"/>
                    </a:lnTo>
                    <a:lnTo>
                      <a:pt x="2744" y="873"/>
                    </a:lnTo>
                    <a:lnTo>
                      <a:pt x="2742" y="891"/>
                    </a:lnTo>
                    <a:lnTo>
                      <a:pt x="2735" y="907"/>
                    </a:lnTo>
                    <a:lnTo>
                      <a:pt x="2724" y="919"/>
                    </a:lnTo>
                    <a:lnTo>
                      <a:pt x="2709" y="927"/>
                    </a:lnTo>
                    <a:lnTo>
                      <a:pt x="2692" y="930"/>
                    </a:lnTo>
                    <a:lnTo>
                      <a:pt x="2692" y="930"/>
                    </a:lnTo>
                    <a:lnTo>
                      <a:pt x="2692" y="930"/>
                    </a:lnTo>
                    <a:lnTo>
                      <a:pt x="2691" y="930"/>
                    </a:lnTo>
                    <a:lnTo>
                      <a:pt x="2671" y="930"/>
                    </a:lnTo>
                    <a:lnTo>
                      <a:pt x="2661" y="930"/>
                    </a:lnTo>
                    <a:lnTo>
                      <a:pt x="2648" y="930"/>
                    </a:lnTo>
                    <a:lnTo>
                      <a:pt x="2611" y="930"/>
                    </a:lnTo>
                    <a:lnTo>
                      <a:pt x="2587" y="930"/>
                    </a:lnTo>
                    <a:lnTo>
                      <a:pt x="2559" y="930"/>
                    </a:lnTo>
                    <a:lnTo>
                      <a:pt x="2525" y="930"/>
                    </a:lnTo>
                    <a:lnTo>
                      <a:pt x="2486" y="930"/>
                    </a:lnTo>
                    <a:lnTo>
                      <a:pt x="2443" y="930"/>
                    </a:lnTo>
                    <a:lnTo>
                      <a:pt x="2393" y="930"/>
                    </a:lnTo>
                    <a:lnTo>
                      <a:pt x="2275" y="930"/>
                    </a:lnTo>
                    <a:lnTo>
                      <a:pt x="2205" y="930"/>
                    </a:lnTo>
                    <a:lnTo>
                      <a:pt x="2128" y="930"/>
                    </a:lnTo>
                    <a:lnTo>
                      <a:pt x="2045" y="930"/>
                    </a:lnTo>
                    <a:lnTo>
                      <a:pt x="2028" y="927"/>
                    </a:lnTo>
                    <a:lnTo>
                      <a:pt x="2014" y="919"/>
                    </a:lnTo>
                    <a:lnTo>
                      <a:pt x="2003" y="907"/>
                    </a:lnTo>
                    <a:lnTo>
                      <a:pt x="1994" y="891"/>
                    </a:lnTo>
                    <a:lnTo>
                      <a:pt x="1991" y="873"/>
                    </a:lnTo>
                    <a:lnTo>
                      <a:pt x="1994" y="854"/>
                    </a:lnTo>
                    <a:lnTo>
                      <a:pt x="2003" y="838"/>
                    </a:lnTo>
                    <a:lnTo>
                      <a:pt x="2014" y="826"/>
                    </a:lnTo>
                    <a:lnTo>
                      <a:pt x="2028" y="818"/>
                    </a:lnTo>
                    <a:lnTo>
                      <a:pt x="2045" y="814"/>
                    </a:lnTo>
                    <a:lnTo>
                      <a:pt x="2125" y="814"/>
                    </a:lnTo>
                    <a:lnTo>
                      <a:pt x="2150" y="814"/>
                    </a:lnTo>
                    <a:close/>
                    <a:moveTo>
                      <a:pt x="1155" y="814"/>
                    </a:moveTo>
                    <a:lnTo>
                      <a:pt x="1183" y="814"/>
                    </a:lnTo>
                    <a:lnTo>
                      <a:pt x="1216" y="814"/>
                    </a:lnTo>
                    <a:lnTo>
                      <a:pt x="1694" y="814"/>
                    </a:lnTo>
                    <a:lnTo>
                      <a:pt x="1711" y="818"/>
                    </a:lnTo>
                    <a:lnTo>
                      <a:pt x="1725" y="826"/>
                    </a:lnTo>
                    <a:lnTo>
                      <a:pt x="1737" y="838"/>
                    </a:lnTo>
                    <a:lnTo>
                      <a:pt x="1744" y="854"/>
                    </a:lnTo>
                    <a:lnTo>
                      <a:pt x="1746" y="873"/>
                    </a:lnTo>
                    <a:lnTo>
                      <a:pt x="1744" y="891"/>
                    </a:lnTo>
                    <a:lnTo>
                      <a:pt x="1737" y="907"/>
                    </a:lnTo>
                    <a:lnTo>
                      <a:pt x="1725" y="919"/>
                    </a:lnTo>
                    <a:lnTo>
                      <a:pt x="1711" y="927"/>
                    </a:lnTo>
                    <a:lnTo>
                      <a:pt x="1694" y="930"/>
                    </a:lnTo>
                    <a:lnTo>
                      <a:pt x="1694" y="930"/>
                    </a:lnTo>
                    <a:lnTo>
                      <a:pt x="1694" y="930"/>
                    </a:lnTo>
                    <a:lnTo>
                      <a:pt x="1693" y="930"/>
                    </a:lnTo>
                    <a:lnTo>
                      <a:pt x="1673" y="930"/>
                    </a:lnTo>
                    <a:lnTo>
                      <a:pt x="1663" y="930"/>
                    </a:lnTo>
                    <a:lnTo>
                      <a:pt x="1650" y="930"/>
                    </a:lnTo>
                    <a:lnTo>
                      <a:pt x="1614" y="930"/>
                    </a:lnTo>
                    <a:lnTo>
                      <a:pt x="1589" y="930"/>
                    </a:lnTo>
                    <a:lnTo>
                      <a:pt x="1562" y="930"/>
                    </a:lnTo>
                    <a:lnTo>
                      <a:pt x="1528" y="930"/>
                    </a:lnTo>
                    <a:lnTo>
                      <a:pt x="1490" y="930"/>
                    </a:lnTo>
                    <a:lnTo>
                      <a:pt x="1446" y="930"/>
                    </a:lnTo>
                    <a:lnTo>
                      <a:pt x="1397" y="930"/>
                    </a:lnTo>
                    <a:lnTo>
                      <a:pt x="1280" y="930"/>
                    </a:lnTo>
                    <a:lnTo>
                      <a:pt x="1211" y="930"/>
                    </a:lnTo>
                    <a:lnTo>
                      <a:pt x="1134" y="930"/>
                    </a:lnTo>
                    <a:lnTo>
                      <a:pt x="1050" y="930"/>
                    </a:lnTo>
                    <a:lnTo>
                      <a:pt x="1035" y="927"/>
                    </a:lnTo>
                    <a:lnTo>
                      <a:pt x="1021" y="919"/>
                    </a:lnTo>
                    <a:lnTo>
                      <a:pt x="1010" y="907"/>
                    </a:lnTo>
                    <a:lnTo>
                      <a:pt x="1001" y="891"/>
                    </a:lnTo>
                    <a:lnTo>
                      <a:pt x="998" y="873"/>
                    </a:lnTo>
                    <a:lnTo>
                      <a:pt x="1001" y="854"/>
                    </a:lnTo>
                    <a:lnTo>
                      <a:pt x="1010" y="838"/>
                    </a:lnTo>
                    <a:lnTo>
                      <a:pt x="1021" y="826"/>
                    </a:lnTo>
                    <a:lnTo>
                      <a:pt x="1035" y="818"/>
                    </a:lnTo>
                    <a:lnTo>
                      <a:pt x="1050" y="814"/>
                    </a:lnTo>
                    <a:lnTo>
                      <a:pt x="1131" y="814"/>
                    </a:lnTo>
                    <a:lnTo>
                      <a:pt x="1155" y="814"/>
                    </a:lnTo>
                    <a:close/>
                    <a:moveTo>
                      <a:pt x="158" y="814"/>
                    </a:moveTo>
                    <a:lnTo>
                      <a:pt x="186" y="814"/>
                    </a:lnTo>
                    <a:lnTo>
                      <a:pt x="220" y="814"/>
                    </a:lnTo>
                    <a:lnTo>
                      <a:pt x="701" y="814"/>
                    </a:lnTo>
                    <a:lnTo>
                      <a:pt x="717" y="818"/>
                    </a:lnTo>
                    <a:lnTo>
                      <a:pt x="732" y="826"/>
                    </a:lnTo>
                    <a:lnTo>
                      <a:pt x="744" y="838"/>
                    </a:lnTo>
                    <a:lnTo>
                      <a:pt x="751" y="854"/>
                    </a:lnTo>
                    <a:lnTo>
                      <a:pt x="753" y="873"/>
                    </a:lnTo>
                    <a:lnTo>
                      <a:pt x="751" y="891"/>
                    </a:lnTo>
                    <a:lnTo>
                      <a:pt x="744" y="907"/>
                    </a:lnTo>
                    <a:lnTo>
                      <a:pt x="732" y="919"/>
                    </a:lnTo>
                    <a:lnTo>
                      <a:pt x="717" y="927"/>
                    </a:lnTo>
                    <a:lnTo>
                      <a:pt x="701" y="930"/>
                    </a:lnTo>
                    <a:lnTo>
                      <a:pt x="701" y="930"/>
                    </a:lnTo>
                    <a:lnTo>
                      <a:pt x="701" y="930"/>
                    </a:lnTo>
                    <a:lnTo>
                      <a:pt x="699" y="930"/>
                    </a:lnTo>
                    <a:lnTo>
                      <a:pt x="680" y="930"/>
                    </a:lnTo>
                    <a:lnTo>
                      <a:pt x="670" y="930"/>
                    </a:lnTo>
                    <a:lnTo>
                      <a:pt x="657" y="930"/>
                    </a:lnTo>
                    <a:lnTo>
                      <a:pt x="620" y="930"/>
                    </a:lnTo>
                    <a:lnTo>
                      <a:pt x="595" y="930"/>
                    </a:lnTo>
                    <a:lnTo>
                      <a:pt x="567" y="930"/>
                    </a:lnTo>
                    <a:lnTo>
                      <a:pt x="534" y="930"/>
                    </a:lnTo>
                    <a:lnTo>
                      <a:pt x="495" y="930"/>
                    </a:lnTo>
                    <a:lnTo>
                      <a:pt x="451" y="930"/>
                    </a:lnTo>
                    <a:lnTo>
                      <a:pt x="402" y="930"/>
                    </a:lnTo>
                    <a:lnTo>
                      <a:pt x="283" y="930"/>
                    </a:lnTo>
                    <a:lnTo>
                      <a:pt x="214" y="930"/>
                    </a:lnTo>
                    <a:lnTo>
                      <a:pt x="137" y="930"/>
                    </a:lnTo>
                    <a:lnTo>
                      <a:pt x="53" y="930"/>
                    </a:lnTo>
                    <a:lnTo>
                      <a:pt x="37" y="927"/>
                    </a:lnTo>
                    <a:lnTo>
                      <a:pt x="23" y="919"/>
                    </a:lnTo>
                    <a:lnTo>
                      <a:pt x="11" y="907"/>
                    </a:lnTo>
                    <a:lnTo>
                      <a:pt x="3" y="891"/>
                    </a:lnTo>
                    <a:lnTo>
                      <a:pt x="0" y="873"/>
                    </a:lnTo>
                    <a:lnTo>
                      <a:pt x="3" y="854"/>
                    </a:lnTo>
                    <a:lnTo>
                      <a:pt x="11" y="838"/>
                    </a:lnTo>
                    <a:lnTo>
                      <a:pt x="23" y="826"/>
                    </a:lnTo>
                    <a:lnTo>
                      <a:pt x="37" y="818"/>
                    </a:lnTo>
                    <a:lnTo>
                      <a:pt x="53" y="814"/>
                    </a:lnTo>
                    <a:lnTo>
                      <a:pt x="134" y="814"/>
                    </a:lnTo>
                    <a:lnTo>
                      <a:pt x="158" y="814"/>
                    </a:lnTo>
                    <a:close/>
                    <a:moveTo>
                      <a:pt x="2045" y="545"/>
                    </a:moveTo>
                    <a:lnTo>
                      <a:pt x="2692" y="545"/>
                    </a:lnTo>
                    <a:lnTo>
                      <a:pt x="2709" y="548"/>
                    </a:lnTo>
                    <a:lnTo>
                      <a:pt x="2724" y="555"/>
                    </a:lnTo>
                    <a:lnTo>
                      <a:pt x="2735" y="568"/>
                    </a:lnTo>
                    <a:lnTo>
                      <a:pt x="2742" y="582"/>
                    </a:lnTo>
                    <a:lnTo>
                      <a:pt x="2744" y="600"/>
                    </a:lnTo>
                    <a:lnTo>
                      <a:pt x="2742" y="617"/>
                    </a:lnTo>
                    <a:lnTo>
                      <a:pt x="2735" y="632"/>
                    </a:lnTo>
                    <a:lnTo>
                      <a:pt x="2724" y="644"/>
                    </a:lnTo>
                    <a:lnTo>
                      <a:pt x="2709" y="652"/>
                    </a:lnTo>
                    <a:lnTo>
                      <a:pt x="2692" y="655"/>
                    </a:lnTo>
                    <a:lnTo>
                      <a:pt x="2045" y="655"/>
                    </a:lnTo>
                    <a:lnTo>
                      <a:pt x="2028" y="652"/>
                    </a:lnTo>
                    <a:lnTo>
                      <a:pt x="2014" y="644"/>
                    </a:lnTo>
                    <a:lnTo>
                      <a:pt x="2003" y="632"/>
                    </a:lnTo>
                    <a:lnTo>
                      <a:pt x="1994" y="617"/>
                    </a:lnTo>
                    <a:lnTo>
                      <a:pt x="1991" y="600"/>
                    </a:lnTo>
                    <a:lnTo>
                      <a:pt x="1994" y="582"/>
                    </a:lnTo>
                    <a:lnTo>
                      <a:pt x="2003" y="568"/>
                    </a:lnTo>
                    <a:lnTo>
                      <a:pt x="2014" y="555"/>
                    </a:lnTo>
                    <a:lnTo>
                      <a:pt x="2028" y="548"/>
                    </a:lnTo>
                    <a:lnTo>
                      <a:pt x="2045" y="545"/>
                    </a:lnTo>
                    <a:close/>
                    <a:moveTo>
                      <a:pt x="1050" y="545"/>
                    </a:moveTo>
                    <a:lnTo>
                      <a:pt x="1694" y="545"/>
                    </a:lnTo>
                    <a:lnTo>
                      <a:pt x="1711" y="548"/>
                    </a:lnTo>
                    <a:lnTo>
                      <a:pt x="1725" y="555"/>
                    </a:lnTo>
                    <a:lnTo>
                      <a:pt x="1737" y="568"/>
                    </a:lnTo>
                    <a:lnTo>
                      <a:pt x="1744" y="582"/>
                    </a:lnTo>
                    <a:lnTo>
                      <a:pt x="1746" y="600"/>
                    </a:lnTo>
                    <a:lnTo>
                      <a:pt x="1744" y="617"/>
                    </a:lnTo>
                    <a:lnTo>
                      <a:pt x="1737" y="632"/>
                    </a:lnTo>
                    <a:lnTo>
                      <a:pt x="1725" y="644"/>
                    </a:lnTo>
                    <a:lnTo>
                      <a:pt x="1711" y="652"/>
                    </a:lnTo>
                    <a:lnTo>
                      <a:pt x="1694" y="655"/>
                    </a:lnTo>
                    <a:lnTo>
                      <a:pt x="1050" y="655"/>
                    </a:lnTo>
                    <a:lnTo>
                      <a:pt x="1035" y="652"/>
                    </a:lnTo>
                    <a:lnTo>
                      <a:pt x="1021" y="644"/>
                    </a:lnTo>
                    <a:lnTo>
                      <a:pt x="1010" y="632"/>
                    </a:lnTo>
                    <a:lnTo>
                      <a:pt x="1001" y="617"/>
                    </a:lnTo>
                    <a:lnTo>
                      <a:pt x="998" y="600"/>
                    </a:lnTo>
                    <a:lnTo>
                      <a:pt x="1001" y="582"/>
                    </a:lnTo>
                    <a:lnTo>
                      <a:pt x="1010" y="568"/>
                    </a:lnTo>
                    <a:lnTo>
                      <a:pt x="1021" y="555"/>
                    </a:lnTo>
                    <a:lnTo>
                      <a:pt x="1035" y="548"/>
                    </a:lnTo>
                    <a:lnTo>
                      <a:pt x="1050" y="545"/>
                    </a:lnTo>
                    <a:close/>
                    <a:moveTo>
                      <a:pt x="53" y="545"/>
                    </a:moveTo>
                    <a:lnTo>
                      <a:pt x="701" y="545"/>
                    </a:lnTo>
                    <a:lnTo>
                      <a:pt x="717" y="548"/>
                    </a:lnTo>
                    <a:lnTo>
                      <a:pt x="732" y="555"/>
                    </a:lnTo>
                    <a:lnTo>
                      <a:pt x="744" y="568"/>
                    </a:lnTo>
                    <a:lnTo>
                      <a:pt x="751" y="582"/>
                    </a:lnTo>
                    <a:lnTo>
                      <a:pt x="753" y="600"/>
                    </a:lnTo>
                    <a:lnTo>
                      <a:pt x="751" y="617"/>
                    </a:lnTo>
                    <a:lnTo>
                      <a:pt x="744" y="632"/>
                    </a:lnTo>
                    <a:lnTo>
                      <a:pt x="732" y="644"/>
                    </a:lnTo>
                    <a:lnTo>
                      <a:pt x="717" y="652"/>
                    </a:lnTo>
                    <a:lnTo>
                      <a:pt x="701" y="655"/>
                    </a:lnTo>
                    <a:lnTo>
                      <a:pt x="53" y="655"/>
                    </a:lnTo>
                    <a:lnTo>
                      <a:pt x="37" y="652"/>
                    </a:lnTo>
                    <a:lnTo>
                      <a:pt x="23" y="644"/>
                    </a:lnTo>
                    <a:lnTo>
                      <a:pt x="11" y="632"/>
                    </a:lnTo>
                    <a:lnTo>
                      <a:pt x="3" y="617"/>
                    </a:lnTo>
                    <a:lnTo>
                      <a:pt x="0" y="600"/>
                    </a:lnTo>
                    <a:lnTo>
                      <a:pt x="3" y="582"/>
                    </a:lnTo>
                    <a:lnTo>
                      <a:pt x="11" y="568"/>
                    </a:lnTo>
                    <a:lnTo>
                      <a:pt x="23" y="555"/>
                    </a:lnTo>
                    <a:lnTo>
                      <a:pt x="37" y="548"/>
                    </a:lnTo>
                    <a:lnTo>
                      <a:pt x="53" y="545"/>
                    </a:lnTo>
                    <a:close/>
                    <a:moveTo>
                      <a:pt x="2045" y="274"/>
                    </a:moveTo>
                    <a:lnTo>
                      <a:pt x="2125" y="274"/>
                    </a:lnTo>
                    <a:lnTo>
                      <a:pt x="2150" y="274"/>
                    </a:lnTo>
                    <a:lnTo>
                      <a:pt x="2178" y="274"/>
                    </a:lnTo>
                    <a:lnTo>
                      <a:pt x="2692" y="274"/>
                    </a:lnTo>
                    <a:lnTo>
                      <a:pt x="2709" y="278"/>
                    </a:lnTo>
                    <a:lnTo>
                      <a:pt x="2724" y="286"/>
                    </a:lnTo>
                    <a:lnTo>
                      <a:pt x="2735" y="297"/>
                    </a:lnTo>
                    <a:lnTo>
                      <a:pt x="2742" y="312"/>
                    </a:lnTo>
                    <a:lnTo>
                      <a:pt x="2744" y="330"/>
                    </a:lnTo>
                    <a:lnTo>
                      <a:pt x="2742" y="347"/>
                    </a:lnTo>
                    <a:lnTo>
                      <a:pt x="2735" y="362"/>
                    </a:lnTo>
                    <a:lnTo>
                      <a:pt x="2724" y="374"/>
                    </a:lnTo>
                    <a:lnTo>
                      <a:pt x="2709" y="382"/>
                    </a:lnTo>
                    <a:lnTo>
                      <a:pt x="2692" y="385"/>
                    </a:lnTo>
                    <a:lnTo>
                      <a:pt x="2692" y="385"/>
                    </a:lnTo>
                    <a:lnTo>
                      <a:pt x="2692" y="385"/>
                    </a:lnTo>
                    <a:lnTo>
                      <a:pt x="2691" y="385"/>
                    </a:lnTo>
                    <a:lnTo>
                      <a:pt x="2587" y="385"/>
                    </a:lnTo>
                    <a:lnTo>
                      <a:pt x="2559" y="385"/>
                    </a:lnTo>
                    <a:lnTo>
                      <a:pt x="2525" y="385"/>
                    </a:lnTo>
                    <a:lnTo>
                      <a:pt x="2486" y="385"/>
                    </a:lnTo>
                    <a:lnTo>
                      <a:pt x="2443" y="385"/>
                    </a:lnTo>
                    <a:lnTo>
                      <a:pt x="2393" y="385"/>
                    </a:lnTo>
                    <a:lnTo>
                      <a:pt x="2045" y="385"/>
                    </a:lnTo>
                    <a:lnTo>
                      <a:pt x="2028" y="382"/>
                    </a:lnTo>
                    <a:lnTo>
                      <a:pt x="2014" y="374"/>
                    </a:lnTo>
                    <a:lnTo>
                      <a:pt x="2003" y="362"/>
                    </a:lnTo>
                    <a:lnTo>
                      <a:pt x="1994" y="347"/>
                    </a:lnTo>
                    <a:lnTo>
                      <a:pt x="1991" y="330"/>
                    </a:lnTo>
                    <a:lnTo>
                      <a:pt x="1994" y="312"/>
                    </a:lnTo>
                    <a:lnTo>
                      <a:pt x="2003" y="297"/>
                    </a:lnTo>
                    <a:lnTo>
                      <a:pt x="2014" y="286"/>
                    </a:lnTo>
                    <a:lnTo>
                      <a:pt x="2028" y="278"/>
                    </a:lnTo>
                    <a:lnTo>
                      <a:pt x="2045" y="274"/>
                    </a:lnTo>
                    <a:close/>
                    <a:moveTo>
                      <a:pt x="1050" y="274"/>
                    </a:moveTo>
                    <a:lnTo>
                      <a:pt x="1131" y="274"/>
                    </a:lnTo>
                    <a:lnTo>
                      <a:pt x="1155" y="274"/>
                    </a:lnTo>
                    <a:lnTo>
                      <a:pt x="1183" y="274"/>
                    </a:lnTo>
                    <a:lnTo>
                      <a:pt x="1694" y="274"/>
                    </a:lnTo>
                    <a:lnTo>
                      <a:pt x="1711" y="278"/>
                    </a:lnTo>
                    <a:lnTo>
                      <a:pt x="1725" y="286"/>
                    </a:lnTo>
                    <a:lnTo>
                      <a:pt x="1737" y="297"/>
                    </a:lnTo>
                    <a:lnTo>
                      <a:pt x="1744" y="312"/>
                    </a:lnTo>
                    <a:lnTo>
                      <a:pt x="1746" y="330"/>
                    </a:lnTo>
                    <a:lnTo>
                      <a:pt x="1744" y="347"/>
                    </a:lnTo>
                    <a:lnTo>
                      <a:pt x="1737" y="362"/>
                    </a:lnTo>
                    <a:lnTo>
                      <a:pt x="1725" y="374"/>
                    </a:lnTo>
                    <a:lnTo>
                      <a:pt x="1711" y="382"/>
                    </a:lnTo>
                    <a:lnTo>
                      <a:pt x="1694" y="385"/>
                    </a:lnTo>
                    <a:lnTo>
                      <a:pt x="1694" y="385"/>
                    </a:lnTo>
                    <a:lnTo>
                      <a:pt x="1694" y="385"/>
                    </a:lnTo>
                    <a:lnTo>
                      <a:pt x="1693" y="385"/>
                    </a:lnTo>
                    <a:lnTo>
                      <a:pt x="1589" y="385"/>
                    </a:lnTo>
                    <a:lnTo>
                      <a:pt x="1562" y="385"/>
                    </a:lnTo>
                    <a:lnTo>
                      <a:pt x="1528" y="385"/>
                    </a:lnTo>
                    <a:lnTo>
                      <a:pt x="1490" y="385"/>
                    </a:lnTo>
                    <a:lnTo>
                      <a:pt x="1446" y="385"/>
                    </a:lnTo>
                    <a:lnTo>
                      <a:pt x="1397" y="385"/>
                    </a:lnTo>
                    <a:lnTo>
                      <a:pt x="1050" y="385"/>
                    </a:lnTo>
                    <a:lnTo>
                      <a:pt x="1035" y="382"/>
                    </a:lnTo>
                    <a:lnTo>
                      <a:pt x="1021" y="374"/>
                    </a:lnTo>
                    <a:lnTo>
                      <a:pt x="1010" y="362"/>
                    </a:lnTo>
                    <a:lnTo>
                      <a:pt x="1001" y="347"/>
                    </a:lnTo>
                    <a:lnTo>
                      <a:pt x="998" y="330"/>
                    </a:lnTo>
                    <a:lnTo>
                      <a:pt x="1001" y="312"/>
                    </a:lnTo>
                    <a:lnTo>
                      <a:pt x="1010" y="297"/>
                    </a:lnTo>
                    <a:lnTo>
                      <a:pt x="1021" y="286"/>
                    </a:lnTo>
                    <a:lnTo>
                      <a:pt x="1035" y="278"/>
                    </a:lnTo>
                    <a:lnTo>
                      <a:pt x="1050" y="274"/>
                    </a:lnTo>
                    <a:close/>
                    <a:moveTo>
                      <a:pt x="53" y="274"/>
                    </a:moveTo>
                    <a:lnTo>
                      <a:pt x="134" y="274"/>
                    </a:lnTo>
                    <a:lnTo>
                      <a:pt x="158" y="274"/>
                    </a:lnTo>
                    <a:lnTo>
                      <a:pt x="186" y="274"/>
                    </a:lnTo>
                    <a:lnTo>
                      <a:pt x="701" y="274"/>
                    </a:lnTo>
                    <a:lnTo>
                      <a:pt x="717" y="278"/>
                    </a:lnTo>
                    <a:lnTo>
                      <a:pt x="732" y="286"/>
                    </a:lnTo>
                    <a:lnTo>
                      <a:pt x="744" y="297"/>
                    </a:lnTo>
                    <a:lnTo>
                      <a:pt x="751" y="312"/>
                    </a:lnTo>
                    <a:lnTo>
                      <a:pt x="753" y="330"/>
                    </a:lnTo>
                    <a:lnTo>
                      <a:pt x="751" y="347"/>
                    </a:lnTo>
                    <a:lnTo>
                      <a:pt x="744" y="362"/>
                    </a:lnTo>
                    <a:lnTo>
                      <a:pt x="732" y="374"/>
                    </a:lnTo>
                    <a:lnTo>
                      <a:pt x="717" y="382"/>
                    </a:lnTo>
                    <a:lnTo>
                      <a:pt x="701" y="385"/>
                    </a:lnTo>
                    <a:lnTo>
                      <a:pt x="701" y="385"/>
                    </a:lnTo>
                    <a:lnTo>
                      <a:pt x="701" y="385"/>
                    </a:lnTo>
                    <a:lnTo>
                      <a:pt x="699" y="385"/>
                    </a:lnTo>
                    <a:lnTo>
                      <a:pt x="595" y="385"/>
                    </a:lnTo>
                    <a:lnTo>
                      <a:pt x="567" y="385"/>
                    </a:lnTo>
                    <a:lnTo>
                      <a:pt x="534" y="385"/>
                    </a:lnTo>
                    <a:lnTo>
                      <a:pt x="495" y="385"/>
                    </a:lnTo>
                    <a:lnTo>
                      <a:pt x="451" y="385"/>
                    </a:lnTo>
                    <a:lnTo>
                      <a:pt x="402" y="385"/>
                    </a:lnTo>
                    <a:lnTo>
                      <a:pt x="53" y="385"/>
                    </a:lnTo>
                    <a:lnTo>
                      <a:pt x="37" y="382"/>
                    </a:lnTo>
                    <a:lnTo>
                      <a:pt x="23" y="374"/>
                    </a:lnTo>
                    <a:lnTo>
                      <a:pt x="11" y="362"/>
                    </a:lnTo>
                    <a:lnTo>
                      <a:pt x="3" y="347"/>
                    </a:lnTo>
                    <a:lnTo>
                      <a:pt x="0" y="330"/>
                    </a:lnTo>
                    <a:lnTo>
                      <a:pt x="3" y="312"/>
                    </a:lnTo>
                    <a:lnTo>
                      <a:pt x="11" y="297"/>
                    </a:lnTo>
                    <a:lnTo>
                      <a:pt x="23" y="286"/>
                    </a:lnTo>
                    <a:lnTo>
                      <a:pt x="37" y="278"/>
                    </a:lnTo>
                    <a:lnTo>
                      <a:pt x="53" y="274"/>
                    </a:lnTo>
                    <a:close/>
                    <a:moveTo>
                      <a:pt x="2178" y="0"/>
                    </a:moveTo>
                    <a:lnTo>
                      <a:pt x="2211" y="0"/>
                    </a:lnTo>
                    <a:lnTo>
                      <a:pt x="2250" y="0"/>
                    </a:lnTo>
                    <a:lnTo>
                      <a:pt x="2293" y="0"/>
                    </a:lnTo>
                    <a:lnTo>
                      <a:pt x="2343" y="0"/>
                    </a:lnTo>
                    <a:lnTo>
                      <a:pt x="2692" y="0"/>
                    </a:lnTo>
                    <a:lnTo>
                      <a:pt x="2709" y="2"/>
                    </a:lnTo>
                    <a:lnTo>
                      <a:pt x="2724" y="10"/>
                    </a:lnTo>
                    <a:lnTo>
                      <a:pt x="2735" y="22"/>
                    </a:lnTo>
                    <a:lnTo>
                      <a:pt x="2742" y="38"/>
                    </a:lnTo>
                    <a:lnTo>
                      <a:pt x="2744" y="56"/>
                    </a:lnTo>
                    <a:lnTo>
                      <a:pt x="2742" y="73"/>
                    </a:lnTo>
                    <a:lnTo>
                      <a:pt x="2735" y="87"/>
                    </a:lnTo>
                    <a:lnTo>
                      <a:pt x="2724" y="99"/>
                    </a:lnTo>
                    <a:lnTo>
                      <a:pt x="2709" y="106"/>
                    </a:lnTo>
                    <a:lnTo>
                      <a:pt x="2692" y="109"/>
                    </a:lnTo>
                    <a:lnTo>
                      <a:pt x="2692" y="109"/>
                    </a:lnTo>
                    <a:lnTo>
                      <a:pt x="2692" y="109"/>
                    </a:lnTo>
                    <a:lnTo>
                      <a:pt x="2691" y="109"/>
                    </a:lnTo>
                    <a:lnTo>
                      <a:pt x="2671" y="109"/>
                    </a:lnTo>
                    <a:lnTo>
                      <a:pt x="2661" y="109"/>
                    </a:lnTo>
                    <a:lnTo>
                      <a:pt x="2648" y="109"/>
                    </a:lnTo>
                    <a:lnTo>
                      <a:pt x="2611" y="109"/>
                    </a:lnTo>
                    <a:lnTo>
                      <a:pt x="2587" y="109"/>
                    </a:lnTo>
                    <a:lnTo>
                      <a:pt x="2559" y="109"/>
                    </a:lnTo>
                    <a:lnTo>
                      <a:pt x="2525" y="109"/>
                    </a:lnTo>
                    <a:lnTo>
                      <a:pt x="2486" y="109"/>
                    </a:lnTo>
                    <a:lnTo>
                      <a:pt x="2443" y="109"/>
                    </a:lnTo>
                    <a:lnTo>
                      <a:pt x="2393" y="109"/>
                    </a:lnTo>
                    <a:lnTo>
                      <a:pt x="2275" y="109"/>
                    </a:lnTo>
                    <a:lnTo>
                      <a:pt x="2205" y="109"/>
                    </a:lnTo>
                    <a:lnTo>
                      <a:pt x="2128" y="109"/>
                    </a:lnTo>
                    <a:lnTo>
                      <a:pt x="2045" y="109"/>
                    </a:lnTo>
                    <a:lnTo>
                      <a:pt x="2028" y="106"/>
                    </a:lnTo>
                    <a:lnTo>
                      <a:pt x="2014" y="99"/>
                    </a:lnTo>
                    <a:lnTo>
                      <a:pt x="2003" y="87"/>
                    </a:lnTo>
                    <a:lnTo>
                      <a:pt x="1994" y="73"/>
                    </a:lnTo>
                    <a:lnTo>
                      <a:pt x="1991" y="56"/>
                    </a:lnTo>
                    <a:lnTo>
                      <a:pt x="1994" y="38"/>
                    </a:lnTo>
                    <a:lnTo>
                      <a:pt x="2003" y="22"/>
                    </a:lnTo>
                    <a:lnTo>
                      <a:pt x="2014" y="10"/>
                    </a:lnTo>
                    <a:lnTo>
                      <a:pt x="2028" y="2"/>
                    </a:lnTo>
                    <a:lnTo>
                      <a:pt x="2045" y="0"/>
                    </a:lnTo>
                    <a:lnTo>
                      <a:pt x="2125" y="0"/>
                    </a:lnTo>
                    <a:lnTo>
                      <a:pt x="2150" y="0"/>
                    </a:lnTo>
                    <a:lnTo>
                      <a:pt x="2178" y="0"/>
                    </a:lnTo>
                    <a:close/>
                    <a:moveTo>
                      <a:pt x="1183" y="0"/>
                    </a:moveTo>
                    <a:lnTo>
                      <a:pt x="1216" y="0"/>
                    </a:lnTo>
                    <a:lnTo>
                      <a:pt x="1255" y="0"/>
                    </a:lnTo>
                    <a:lnTo>
                      <a:pt x="1298" y="0"/>
                    </a:lnTo>
                    <a:lnTo>
                      <a:pt x="1348" y="0"/>
                    </a:lnTo>
                    <a:lnTo>
                      <a:pt x="1694" y="0"/>
                    </a:lnTo>
                    <a:lnTo>
                      <a:pt x="1711" y="2"/>
                    </a:lnTo>
                    <a:lnTo>
                      <a:pt x="1725" y="10"/>
                    </a:lnTo>
                    <a:lnTo>
                      <a:pt x="1737" y="22"/>
                    </a:lnTo>
                    <a:lnTo>
                      <a:pt x="1744" y="38"/>
                    </a:lnTo>
                    <a:lnTo>
                      <a:pt x="1746" y="56"/>
                    </a:lnTo>
                    <a:lnTo>
                      <a:pt x="1744" y="73"/>
                    </a:lnTo>
                    <a:lnTo>
                      <a:pt x="1737" y="87"/>
                    </a:lnTo>
                    <a:lnTo>
                      <a:pt x="1725" y="99"/>
                    </a:lnTo>
                    <a:lnTo>
                      <a:pt x="1711" y="106"/>
                    </a:lnTo>
                    <a:lnTo>
                      <a:pt x="1694" y="109"/>
                    </a:lnTo>
                    <a:lnTo>
                      <a:pt x="1694" y="109"/>
                    </a:lnTo>
                    <a:lnTo>
                      <a:pt x="1694" y="109"/>
                    </a:lnTo>
                    <a:lnTo>
                      <a:pt x="1693" y="109"/>
                    </a:lnTo>
                    <a:lnTo>
                      <a:pt x="1673" y="109"/>
                    </a:lnTo>
                    <a:lnTo>
                      <a:pt x="1663" y="109"/>
                    </a:lnTo>
                    <a:lnTo>
                      <a:pt x="1650" y="109"/>
                    </a:lnTo>
                    <a:lnTo>
                      <a:pt x="1614" y="109"/>
                    </a:lnTo>
                    <a:lnTo>
                      <a:pt x="1589" y="109"/>
                    </a:lnTo>
                    <a:lnTo>
                      <a:pt x="1562" y="109"/>
                    </a:lnTo>
                    <a:lnTo>
                      <a:pt x="1528" y="109"/>
                    </a:lnTo>
                    <a:lnTo>
                      <a:pt x="1490" y="109"/>
                    </a:lnTo>
                    <a:lnTo>
                      <a:pt x="1446" y="109"/>
                    </a:lnTo>
                    <a:lnTo>
                      <a:pt x="1397" y="109"/>
                    </a:lnTo>
                    <a:lnTo>
                      <a:pt x="1280" y="109"/>
                    </a:lnTo>
                    <a:lnTo>
                      <a:pt x="1211" y="109"/>
                    </a:lnTo>
                    <a:lnTo>
                      <a:pt x="1134" y="109"/>
                    </a:lnTo>
                    <a:lnTo>
                      <a:pt x="1050" y="109"/>
                    </a:lnTo>
                    <a:lnTo>
                      <a:pt x="1035" y="106"/>
                    </a:lnTo>
                    <a:lnTo>
                      <a:pt x="1021" y="99"/>
                    </a:lnTo>
                    <a:lnTo>
                      <a:pt x="1010" y="87"/>
                    </a:lnTo>
                    <a:lnTo>
                      <a:pt x="1001" y="73"/>
                    </a:lnTo>
                    <a:lnTo>
                      <a:pt x="998" y="56"/>
                    </a:lnTo>
                    <a:lnTo>
                      <a:pt x="1001" y="38"/>
                    </a:lnTo>
                    <a:lnTo>
                      <a:pt x="1010" y="22"/>
                    </a:lnTo>
                    <a:lnTo>
                      <a:pt x="1021" y="10"/>
                    </a:lnTo>
                    <a:lnTo>
                      <a:pt x="1035" y="2"/>
                    </a:lnTo>
                    <a:lnTo>
                      <a:pt x="1050" y="0"/>
                    </a:lnTo>
                    <a:lnTo>
                      <a:pt x="1131" y="0"/>
                    </a:lnTo>
                    <a:lnTo>
                      <a:pt x="1155" y="0"/>
                    </a:lnTo>
                    <a:lnTo>
                      <a:pt x="1183" y="0"/>
                    </a:lnTo>
                    <a:close/>
                    <a:moveTo>
                      <a:pt x="410" y="0"/>
                    </a:moveTo>
                    <a:lnTo>
                      <a:pt x="414" y="0"/>
                    </a:lnTo>
                    <a:lnTo>
                      <a:pt x="524" y="0"/>
                    </a:lnTo>
                    <a:lnTo>
                      <a:pt x="558" y="0"/>
                    </a:lnTo>
                    <a:lnTo>
                      <a:pt x="598" y="0"/>
                    </a:lnTo>
                    <a:lnTo>
                      <a:pt x="701" y="0"/>
                    </a:lnTo>
                    <a:lnTo>
                      <a:pt x="717" y="2"/>
                    </a:lnTo>
                    <a:lnTo>
                      <a:pt x="732" y="10"/>
                    </a:lnTo>
                    <a:lnTo>
                      <a:pt x="744" y="22"/>
                    </a:lnTo>
                    <a:lnTo>
                      <a:pt x="751" y="38"/>
                    </a:lnTo>
                    <a:lnTo>
                      <a:pt x="753" y="56"/>
                    </a:lnTo>
                    <a:lnTo>
                      <a:pt x="751" y="73"/>
                    </a:lnTo>
                    <a:lnTo>
                      <a:pt x="744" y="87"/>
                    </a:lnTo>
                    <a:lnTo>
                      <a:pt x="732" y="99"/>
                    </a:lnTo>
                    <a:lnTo>
                      <a:pt x="717" y="106"/>
                    </a:lnTo>
                    <a:lnTo>
                      <a:pt x="701" y="109"/>
                    </a:lnTo>
                    <a:lnTo>
                      <a:pt x="701" y="109"/>
                    </a:lnTo>
                    <a:lnTo>
                      <a:pt x="700" y="109"/>
                    </a:lnTo>
                    <a:lnTo>
                      <a:pt x="699" y="109"/>
                    </a:lnTo>
                    <a:lnTo>
                      <a:pt x="696" y="109"/>
                    </a:lnTo>
                    <a:lnTo>
                      <a:pt x="682" y="109"/>
                    </a:lnTo>
                    <a:lnTo>
                      <a:pt x="671" y="109"/>
                    </a:lnTo>
                    <a:lnTo>
                      <a:pt x="657" y="109"/>
                    </a:lnTo>
                    <a:lnTo>
                      <a:pt x="637" y="109"/>
                    </a:lnTo>
                    <a:lnTo>
                      <a:pt x="585" y="109"/>
                    </a:lnTo>
                    <a:lnTo>
                      <a:pt x="551" y="109"/>
                    </a:lnTo>
                    <a:lnTo>
                      <a:pt x="510" y="109"/>
                    </a:lnTo>
                    <a:lnTo>
                      <a:pt x="463" y="109"/>
                    </a:lnTo>
                    <a:lnTo>
                      <a:pt x="408" y="109"/>
                    </a:lnTo>
                    <a:lnTo>
                      <a:pt x="393" y="106"/>
                    </a:lnTo>
                    <a:lnTo>
                      <a:pt x="379" y="99"/>
                    </a:lnTo>
                    <a:lnTo>
                      <a:pt x="368" y="87"/>
                    </a:lnTo>
                    <a:lnTo>
                      <a:pt x="361" y="73"/>
                    </a:lnTo>
                    <a:lnTo>
                      <a:pt x="358" y="56"/>
                    </a:lnTo>
                    <a:lnTo>
                      <a:pt x="361" y="38"/>
                    </a:lnTo>
                    <a:lnTo>
                      <a:pt x="368" y="22"/>
                    </a:lnTo>
                    <a:lnTo>
                      <a:pt x="379" y="10"/>
                    </a:lnTo>
                    <a:lnTo>
                      <a:pt x="393" y="2"/>
                    </a:lnTo>
                    <a:lnTo>
                      <a:pt x="408" y="0"/>
                    </a:lnTo>
                    <a:lnTo>
                      <a:pt x="409" y="0"/>
                    </a:lnTo>
                    <a:lnTo>
                      <a:pt x="41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nvGrpSpPr>
            <p:cNvPr id="20" name="Group 11"/>
            <p:cNvGrpSpPr>
              <a:grpSpLocks noChangeAspect="1"/>
            </p:cNvGrpSpPr>
            <p:nvPr/>
          </p:nvGrpSpPr>
          <p:grpSpPr bwMode="auto">
            <a:xfrm>
              <a:off x="10077439" y="1481086"/>
              <a:ext cx="460375" cy="733425"/>
              <a:chOff x="6348" y="941"/>
              <a:chExt cx="290" cy="462"/>
            </a:xfrm>
            <a:solidFill>
              <a:srgbClr val="FFFFFF"/>
            </a:solidFill>
          </p:grpSpPr>
          <p:sp>
            <p:nvSpPr>
              <p:cNvPr id="24" name="Freeform 14"/>
              <p:cNvSpPr>
                <a:spLocks noEditPoints="1"/>
              </p:cNvSpPr>
              <p:nvPr/>
            </p:nvSpPr>
            <p:spPr bwMode="auto">
              <a:xfrm>
                <a:off x="6348" y="941"/>
                <a:ext cx="290" cy="462"/>
              </a:xfrm>
              <a:custGeom>
                <a:avLst/>
                <a:gdLst>
                  <a:gd name="T0" fmla="*/ 879 w 2325"/>
                  <a:gd name="T1" fmla="*/ 680 h 3695"/>
                  <a:gd name="T2" fmla="*/ 876 w 2325"/>
                  <a:gd name="T3" fmla="*/ 718 h 3695"/>
                  <a:gd name="T4" fmla="*/ 860 w 2325"/>
                  <a:gd name="T5" fmla="*/ 779 h 3695"/>
                  <a:gd name="T6" fmla="*/ 815 w 2325"/>
                  <a:gd name="T7" fmla="*/ 833 h 3695"/>
                  <a:gd name="T8" fmla="*/ 750 w 2325"/>
                  <a:gd name="T9" fmla="*/ 857 h 3695"/>
                  <a:gd name="T10" fmla="*/ 684 w 2325"/>
                  <a:gd name="T11" fmla="*/ 867 h 3695"/>
                  <a:gd name="T12" fmla="*/ 654 w 2325"/>
                  <a:gd name="T13" fmla="*/ 869 h 3695"/>
                  <a:gd name="T14" fmla="*/ 652 w 2325"/>
                  <a:gd name="T15" fmla="*/ 869 h 3695"/>
                  <a:gd name="T16" fmla="*/ 603 w 2325"/>
                  <a:gd name="T17" fmla="*/ 869 h 3695"/>
                  <a:gd name="T18" fmla="*/ 531 w 2325"/>
                  <a:gd name="T19" fmla="*/ 869 h 3695"/>
                  <a:gd name="T20" fmla="*/ 241 w 2325"/>
                  <a:gd name="T21" fmla="*/ 869 h 3695"/>
                  <a:gd name="T22" fmla="*/ 168 w 2325"/>
                  <a:gd name="T23" fmla="*/ 870 h 3695"/>
                  <a:gd name="T24" fmla="*/ 168 w 2325"/>
                  <a:gd name="T25" fmla="*/ 874 h 3695"/>
                  <a:gd name="T26" fmla="*/ 168 w 2325"/>
                  <a:gd name="T27" fmla="*/ 888 h 3695"/>
                  <a:gd name="T28" fmla="*/ 168 w 2325"/>
                  <a:gd name="T29" fmla="*/ 917 h 3695"/>
                  <a:gd name="T30" fmla="*/ 168 w 2325"/>
                  <a:gd name="T31" fmla="*/ 1045 h 3695"/>
                  <a:gd name="T32" fmla="*/ 168 w 2325"/>
                  <a:gd name="T33" fmla="*/ 1155 h 3695"/>
                  <a:gd name="T34" fmla="*/ 168 w 2325"/>
                  <a:gd name="T35" fmla="*/ 1427 h 3695"/>
                  <a:gd name="T36" fmla="*/ 168 w 2325"/>
                  <a:gd name="T37" fmla="*/ 1652 h 3695"/>
                  <a:gd name="T38" fmla="*/ 168 w 2325"/>
                  <a:gd name="T39" fmla="*/ 1932 h 3695"/>
                  <a:gd name="T40" fmla="*/ 168 w 2325"/>
                  <a:gd name="T41" fmla="*/ 2270 h 3695"/>
                  <a:gd name="T42" fmla="*/ 168 w 2325"/>
                  <a:gd name="T43" fmla="*/ 2675 h 3695"/>
                  <a:gd name="T44" fmla="*/ 168 w 2325"/>
                  <a:gd name="T45" fmla="*/ 3151 h 3695"/>
                  <a:gd name="T46" fmla="*/ 180 w 2325"/>
                  <a:gd name="T47" fmla="*/ 3397 h 3695"/>
                  <a:gd name="T48" fmla="*/ 234 w 2325"/>
                  <a:gd name="T49" fmla="*/ 3480 h 3695"/>
                  <a:gd name="T50" fmla="*/ 321 w 2325"/>
                  <a:gd name="T51" fmla="*/ 3524 h 3695"/>
                  <a:gd name="T52" fmla="*/ 2157 w 2325"/>
                  <a:gd name="T53" fmla="*/ 3527 h 3695"/>
                  <a:gd name="T54" fmla="*/ 2157 w 2325"/>
                  <a:gd name="T55" fmla="*/ 3523 h 3695"/>
                  <a:gd name="T56" fmla="*/ 2157 w 2325"/>
                  <a:gd name="T57" fmla="*/ 3439 h 3695"/>
                  <a:gd name="T58" fmla="*/ 2157 w 2325"/>
                  <a:gd name="T59" fmla="*/ 3339 h 3695"/>
                  <a:gd name="T60" fmla="*/ 2157 w 2325"/>
                  <a:gd name="T61" fmla="*/ 2892 h 3695"/>
                  <a:gd name="T62" fmla="*/ 2157 w 2325"/>
                  <a:gd name="T63" fmla="*/ 2471 h 3695"/>
                  <a:gd name="T64" fmla="*/ 2157 w 2325"/>
                  <a:gd name="T65" fmla="*/ 2145 h 3695"/>
                  <a:gd name="T66" fmla="*/ 2157 w 2325"/>
                  <a:gd name="T67" fmla="*/ 1757 h 3695"/>
                  <a:gd name="T68" fmla="*/ 2157 w 2325"/>
                  <a:gd name="T69" fmla="*/ 1305 h 3695"/>
                  <a:gd name="T70" fmla="*/ 2157 w 2325"/>
                  <a:gd name="T71" fmla="*/ 781 h 3695"/>
                  <a:gd name="T72" fmla="*/ 2145 w 2325"/>
                  <a:gd name="T73" fmla="*/ 318 h 3695"/>
                  <a:gd name="T74" fmla="*/ 2091 w 2325"/>
                  <a:gd name="T75" fmla="*/ 235 h 3695"/>
                  <a:gd name="T76" fmla="*/ 2004 w 2325"/>
                  <a:gd name="T77" fmla="*/ 192 h 3695"/>
                  <a:gd name="T78" fmla="*/ 788 w 2325"/>
                  <a:gd name="T79" fmla="*/ 0 h 3695"/>
                  <a:gd name="T80" fmla="*/ 2107 w 2325"/>
                  <a:gd name="T81" fmla="*/ 10 h 3695"/>
                  <a:gd name="T82" fmla="*/ 2203 w 2325"/>
                  <a:gd name="T83" fmla="*/ 57 h 3695"/>
                  <a:gd name="T84" fmla="*/ 2280 w 2325"/>
                  <a:gd name="T85" fmla="*/ 140 h 3695"/>
                  <a:gd name="T86" fmla="*/ 2321 w 2325"/>
                  <a:gd name="T87" fmla="*/ 251 h 3695"/>
                  <a:gd name="T88" fmla="*/ 2325 w 2325"/>
                  <a:gd name="T89" fmla="*/ 341 h 3695"/>
                  <a:gd name="T90" fmla="*/ 2325 w 2325"/>
                  <a:gd name="T91" fmla="*/ 898 h 3695"/>
                  <a:gd name="T92" fmla="*/ 2325 w 2325"/>
                  <a:gd name="T93" fmla="*/ 2000 h 3695"/>
                  <a:gd name="T94" fmla="*/ 2325 w 2325"/>
                  <a:gd name="T95" fmla="*/ 3540 h 3695"/>
                  <a:gd name="T96" fmla="*/ 2321 w 2325"/>
                  <a:gd name="T97" fmla="*/ 3566 h 3695"/>
                  <a:gd name="T98" fmla="*/ 2308 w 2325"/>
                  <a:gd name="T99" fmla="*/ 3609 h 3695"/>
                  <a:gd name="T100" fmla="*/ 2275 w 2325"/>
                  <a:gd name="T101" fmla="*/ 3655 h 3695"/>
                  <a:gd name="T102" fmla="*/ 2215 w 2325"/>
                  <a:gd name="T103" fmla="*/ 3687 h 3695"/>
                  <a:gd name="T104" fmla="*/ 272 w 2325"/>
                  <a:gd name="T105" fmla="*/ 3695 h 3695"/>
                  <a:gd name="T106" fmla="*/ 176 w 2325"/>
                  <a:gd name="T107" fmla="*/ 3675 h 3695"/>
                  <a:gd name="T108" fmla="*/ 89 w 2325"/>
                  <a:gd name="T109" fmla="*/ 3617 h 3695"/>
                  <a:gd name="T110" fmla="*/ 24 w 2325"/>
                  <a:gd name="T111" fmla="*/ 3526 h 3695"/>
                  <a:gd name="T112" fmla="*/ 0 w 2325"/>
                  <a:gd name="T113" fmla="*/ 3406 h 3695"/>
                  <a:gd name="T114" fmla="*/ 184 w 2325"/>
                  <a:gd name="T115" fmla="*/ 590 h 3695"/>
                  <a:gd name="T116" fmla="*/ 436 w 2325"/>
                  <a:gd name="T117" fmla="*/ 347 h 3695"/>
                  <a:gd name="T118" fmla="*/ 659 w 2325"/>
                  <a:gd name="T119" fmla="*/ 128 h 3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25" h="3695">
                    <a:moveTo>
                      <a:pt x="879" y="188"/>
                    </a:moveTo>
                    <a:lnTo>
                      <a:pt x="879" y="678"/>
                    </a:lnTo>
                    <a:lnTo>
                      <a:pt x="879" y="680"/>
                    </a:lnTo>
                    <a:lnTo>
                      <a:pt x="879" y="689"/>
                    </a:lnTo>
                    <a:lnTo>
                      <a:pt x="877" y="702"/>
                    </a:lnTo>
                    <a:lnTo>
                      <a:pt x="876" y="718"/>
                    </a:lnTo>
                    <a:lnTo>
                      <a:pt x="873" y="737"/>
                    </a:lnTo>
                    <a:lnTo>
                      <a:pt x="867" y="758"/>
                    </a:lnTo>
                    <a:lnTo>
                      <a:pt x="860" y="779"/>
                    </a:lnTo>
                    <a:lnTo>
                      <a:pt x="848" y="799"/>
                    </a:lnTo>
                    <a:lnTo>
                      <a:pt x="834" y="818"/>
                    </a:lnTo>
                    <a:lnTo>
                      <a:pt x="815" y="833"/>
                    </a:lnTo>
                    <a:lnTo>
                      <a:pt x="796" y="843"/>
                    </a:lnTo>
                    <a:lnTo>
                      <a:pt x="774" y="851"/>
                    </a:lnTo>
                    <a:lnTo>
                      <a:pt x="750" y="857"/>
                    </a:lnTo>
                    <a:lnTo>
                      <a:pt x="727" y="861"/>
                    </a:lnTo>
                    <a:lnTo>
                      <a:pt x="703" y="865"/>
                    </a:lnTo>
                    <a:lnTo>
                      <a:pt x="684" y="867"/>
                    </a:lnTo>
                    <a:lnTo>
                      <a:pt x="669" y="869"/>
                    </a:lnTo>
                    <a:lnTo>
                      <a:pt x="658" y="869"/>
                    </a:lnTo>
                    <a:lnTo>
                      <a:pt x="654" y="869"/>
                    </a:lnTo>
                    <a:lnTo>
                      <a:pt x="654" y="869"/>
                    </a:lnTo>
                    <a:lnTo>
                      <a:pt x="653" y="869"/>
                    </a:lnTo>
                    <a:lnTo>
                      <a:pt x="652" y="869"/>
                    </a:lnTo>
                    <a:lnTo>
                      <a:pt x="650" y="869"/>
                    </a:lnTo>
                    <a:lnTo>
                      <a:pt x="645" y="869"/>
                    </a:lnTo>
                    <a:lnTo>
                      <a:pt x="603" y="869"/>
                    </a:lnTo>
                    <a:lnTo>
                      <a:pt x="583" y="869"/>
                    </a:lnTo>
                    <a:lnTo>
                      <a:pt x="559" y="869"/>
                    </a:lnTo>
                    <a:lnTo>
                      <a:pt x="531" y="869"/>
                    </a:lnTo>
                    <a:lnTo>
                      <a:pt x="498" y="869"/>
                    </a:lnTo>
                    <a:lnTo>
                      <a:pt x="306" y="869"/>
                    </a:lnTo>
                    <a:lnTo>
                      <a:pt x="241" y="869"/>
                    </a:lnTo>
                    <a:lnTo>
                      <a:pt x="168" y="869"/>
                    </a:lnTo>
                    <a:lnTo>
                      <a:pt x="168" y="869"/>
                    </a:lnTo>
                    <a:lnTo>
                      <a:pt x="168" y="870"/>
                    </a:lnTo>
                    <a:lnTo>
                      <a:pt x="168" y="870"/>
                    </a:lnTo>
                    <a:lnTo>
                      <a:pt x="168" y="871"/>
                    </a:lnTo>
                    <a:lnTo>
                      <a:pt x="168" y="874"/>
                    </a:lnTo>
                    <a:lnTo>
                      <a:pt x="168" y="877"/>
                    </a:lnTo>
                    <a:lnTo>
                      <a:pt x="168" y="882"/>
                    </a:lnTo>
                    <a:lnTo>
                      <a:pt x="168" y="888"/>
                    </a:lnTo>
                    <a:lnTo>
                      <a:pt x="168" y="896"/>
                    </a:lnTo>
                    <a:lnTo>
                      <a:pt x="168" y="905"/>
                    </a:lnTo>
                    <a:lnTo>
                      <a:pt x="168" y="917"/>
                    </a:lnTo>
                    <a:lnTo>
                      <a:pt x="168" y="990"/>
                    </a:lnTo>
                    <a:lnTo>
                      <a:pt x="168" y="1016"/>
                    </a:lnTo>
                    <a:lnTo>
                      <a:pt x="168" y="1045"/>
                    </a:lnTo>
                    <a:lnTo>
                      <a:pt x="168" y="1078"/>
                    </a:lnTo>
                    <a:lnTo>
                      <a:pt x="168" y="1115"/>
                    </a:lnTo>
                    <a:lnTo>
                      <a:pt x="168" y="1155"/>
                    </a:lnTo>
                    <a:lnTo>
                      <a:pt x="168" y="1304"/>
                    </a:lnTo>
                    <a:lnTo>
                      <a:pt x="168" y="1362"/>
                    </a:lnTo>
                    <a:lnTo>
                      <a:pt x="168" y="1427"/>
                    </a:lnTo>
                    <a:lnTo>
                      <a:pt x="168" y="1496"/>
                    </a:lnTo>
                    <a:lnTo>
                      <a:pt x="168" y="1571"/>
                    </a:lnTo>
                    <a:lnTo>
                      <a:pt x="168" y="1652"/>
                    </a:lnTo>
                    <a:lnTo>
                      <a:pt x="168" y="1739"/>
                    </a:lnTo>
                    <a:lnTo>
                      <a:pt x="168" y="1832"/>
                    </a:lnTo>
                    <a:lnTo>
                      <a:pt x="168" y="1932"/>
                    </a:lnTo>
                    <a:lnTo>
                      <a:pt x="168" y="2037"/>
                    </a:lnTo>
                    <a:lnTo>
                      <a:pt x="168" y="2151"/>
                    </a:lnTo>
                    <a:lnTo>
                      <a:pt x="168" y="2270"/>
                    </a:lnTo>
                    <a:lnTo>
                      <a:pt x="168" y="2398"/>
                    </a:lnTo>
                    <a:lnTo>
                      <a:pt x="168" y="2532"/>
                    </a:lnTo>
                    <a:lnTo>
                      <a:pt x="168" y="2675"/>
                    </a:lnTo>
                    <a:lnTo>
                      <a:pt x="168" y="2826"/>
                    </a:lnTo>
                    <a:lnTo>
                      <a:pt x="168" y="2984"/>
                    </a:lnTo>
                    <a:lnTo>
                      <a:pt x="168" y="3151"/>
                    </a:lnTo>
                    <a:lnTo>
                      <a:pt x="168" y="3327"/>
                    </a:lnTo>
                    <a:lnTo>
                      <a:pt x="171" y="3362"/>
                    </a:lnTo>
                    <a:lnTo>
                      <a:pt x="180" y="3397"/>
                    </a:lnTo>
                    <a:lnTo>
                      <a:pt x="193" y="3428"/>
                    </a:lnTo>
                    <a:lnTo>
                      <a:pt x="212" y="3456"/>
                    </a:lnTo>
                    <a:lnTo>
                      <a:pt x="234" y="3480"/>
                    </a:lnTo>
                    <a:lnTo>
                      <a:pt x="260" y="3500"/>
                    </a:lnTo>
                    <a:lnTo>
                      <a:pt x="289" y="3515"/>
                    </a:lnTo>
                    <a:lnTo>
                      <a:pt x="321" y="3524"/>
                    </a:lnTo>
                    <a:lnTo>
                      <a:pt x="355" y="3527"/>
                    </a:lnTo>
                    <a:lnTo>
                      <a:pt x="2157" y="3527"/>
                    </a:lnTo>
                    <a:lnTo>
                      <a:pt x="2157" y="3527"/>
                    </a:lnTo>
                    <a:lnTo>
                      <a:pt x="2157" y="3526"/>
                    </a:lnTo>
                    <a:lnTo>
                      <a:pt x="2157" y="3525"/>
                    </a:lnTo>
                    <a:lnTo>
                      <a:pt x="2157" y="3523"/>
                    </a:lnTo>
                    <a:lnTo>
                      <a:pt x="2157" y="3471"/>
                    </a:lnTo>
                    <a:lnTo>
                      <a:pt x="2157" y="3456"/>
                    </a:lnTo>
                    <a:lnTo>
                      <a:pt x="2157" y="3439"/>
                    </a:lnTo>
                    <a:lnTo>
                      <a:pt x="2157" y="3395"/>
                    </a:lnTo>
                    <a:lnTo>
                      <a:pt x="2157" y="3368"/>
                    </a:lnTo>
                    <a:lnTo>
                      <a:pt x="2157" y="3339"/>
                    </a:lnTo>
                    <a:lnTo>
                      <a:pt x="2157" y="3023"/>
                    </a:lnTo>
                    <a:lnTo>
                      <a:pt x="2157" y="2960"/>
                    </a:lnTo>
                    <a:lnTo>
                      <a:pt x="2157" y="2892"/>
                    </a:lnTo>
                    <a:lnTo>
                      <a:pt x="2157" y="2819"/>
                    </a:lnTo>
                    <a:lnTo>
                      <a:pt x="2157" y="2566"/>
                    </a:lnTo>
                    <a:lnTo>
                      <a:pt x="2157" y="2471"/>
                    </a:lnTo>
                    <a:lnTo>
                      <a:pt x="2157" y="2368"/>
                    </a:lnTo>
                    <a:lnTo>
                      <a:pt x="2157" y="2259"/>
                    </a:lnTo>
                    <a:lnTo>
                      <a:pt x="2157" y="2145"/>
                    </a:lnTo>
                    <a:lnTo>
                      <a:pt x="2157" y="2023"/>
                    </a:lnTo>
                    <a:lnTo>
                      <a:pt x="2157" y="1894"/>
                    </a:lnTo>
                    <a:lnTo>
                      <a:pt x="2157" y="1757"/>
                    </a:lnTo>
                    <a:lnTo>
                      <a:pt x="2157" y="1614"/>
                    </a:lnTo>
                    <a:lnTo>
                      <a:pt x="2157" y="1464"/>
                    </a:lnTo>
                    <a:lnTo>
                      <a:pt x="2157" y="1305"/>
                    </a:lnTo>
                    <a:lnTo>
                      <a:pt x="2157" y="1138"/>
                    </a:lnTo>
                    <a:lnTo>
                      <a:pt x="2157" y="963"/>
                    </a:lnTo>
                    <a:lnTo>
                      <a:pt x="2157" y="781"/>
                    </a:lnTo>
                    <a:lnTo>
                      <a:pt x="2157" y="389"/>
                    </a:lnTo>
                    <a:lnTo>
                      <a:pt x="2154" y="353"/>
                    </a:lnTo>
                    <a:lnTo>
                      <a:pt x="2145" y="318"/>
                    </a:lnTo>
                    <a:lnTo>
                      <a:pt x="2131" y="287"/>
                    </a:lnTo>
                    <a:lnTo>
                      <a:pt x="2114" y="259"/>
                    </a:lnTo>
                    <a:lnTo>
                      <a:pt x="2091" y="235"/>
                    </a:lnTo>
                    <a:lnTo>
                      <a:pt x="2064" y="215"/>
                    </a:lnTo>
                    <a:lnTo>
                      <a:pt x="2035" y="201"/>
                    </a:lnTo>
                    <a:lnTo>
                      <a:pt x="2004" y="192"/>
                    </a:lnTo>
                    <a:lnTo>
                      <a:pt x="1969" y="188"/>
                    </a:lnTo>
                    <a:lnTo>
                      <a:pt x="879" y="188"/>
                    </a:lnTo>
                    <a:close/>
                    <a:moveTo>
                      <a:pt x="788" y="0"/>
                    </a:moveTo>
                    <a:lnTo>
                      <a:pt x="2041" y="0"/>
                    </a:lnTo>
                    <a:lnTo>
                      <a:pt x="2073" y="2"/>
                    </a:lnTo>
                    <a:lnTo>
                      <a:pt x="2107" y="10"/>
                    </a:lnTo>
                    <a:lnTo>
                      <a:pt x="2140" y="21"/>
                    </a:lnTo>
                    <a:lnTo>
                      <a:pt x="2173" y="38"/>
                    </a:lnTo>
                    <a:lnTo>
                      <a:pt x="2203" y="57"/>
                    </a:lnTo>
                    <a:lnTo>
                      <a:pt x="2232" y="82"/>
                    </a:lnTo>
                    <a:lnTo>
                      <a:pt x="2258" y="109"/>
                    </a:lnTo>
                    <a:lnTo>
                      <a:pt x="2280" y="140"/>
                    </a:lnTo>
                    <a:lnTo>
                      <a:pt x="2299" y="174"/>
                    </a:lnTo>
                    <a:lnTo>
                      <a:pt x="2312" y="211"/>
                    </a:lnTo>
                    <a:lnTo>
                      <a:pt x="2321" y="251"/>
                    </a:lnTo>
                    <a:lnTo>
                      <a:pt x="2325" y="292"/>
                    </a:lnTo>
                    <a:lnTo>
                      <a:pt x="2325" y="329"/>
                    </a:lnTo>
                    <a:lnTo>
                      <a:pt x="2325" y="341"/>
                    </a:lnTo>
                    <a:lnTo>
                      <a:pt x="2325" y="355"/>
                    </a:lnTo>
                    <a:lnTo>
                      <a:pt x="2325" y="832"/>
                    </a:lnTo>
                    <a:lnTo>
                      <a:pt x="2325" y="898"/>
                    </a:lnTo>
                    <a:lnTo>
                      <a:pt x="2325" y="969"/>
                    </a:lnTo>
                    <a:lnTo>
                      <a:pt x="2325" y="1868"/>
                    </a:lnTo>
                    <a:lnTo>
                      <a:pt x="2325" y="2000"/>
                    </a:lnTo>
                    <a:lnTo>
                      <a:pt x="2325" y="2140"/>
                    </a:lnTo>
                    <a:lnTo>
                      <a:pt x="2325" y="3538"/>
                    </a:lnTo>
                    <a:lnTo>
                      <a:pt x="2325" y="3540"/>
                    </a:lnTo>
                    <a:lnTo>
                      <a:pt x="2325" y="3546"/>
                    </a:lnTo>
                    <a:lnTo>
                      <a:pt x="2323" y="3555"/>
                    </a:lnTo>
                    <a:lnTo>
                      <a:pt x="2321" y="3566"/>
                    </a:lnTo>
                    <a:lnTo>
                      <a:pt x="2319" y="3579"/>
                    </a:lnTo>
                    <a:lnTo>
                      <a:pt x="2314" y="3593"/>
                    </a:lnTo>
                    <a:lnTo>
                      <a:pt x="2308" y="3609"/>
                    </a:lnTo>
                    <a:lnTo>
                      <a:pt x="2299" y="3624"/>
                    </a:lnTo>
                    <a:lnTo>
                      <a:pt x="2289" y="3640"/>
                    </a:lnTo>
                    <a:lnTo>
                      <a:pt x="2275" y="3655"/>
                    </a:lnTo>
                    <a:lnTo>
                      <a:pt x="2259" y="3667"/>
                    </a:lnTo>
                    <a:lnTo>
                      <a:pt x="2239" y="3678"/>
                    </a:lnTo>
                    <a:lnTo>
                      <a:pt x="2215" y="3687"/>
                    </a:lnTo>
                    <a:lnTo>
                      <a:pt x="2188" y="3693"/>
                    </a:lnTo>
                    <a:lnTo>
                      <a:pt x="2157" y="3695"/>
                    </a:lnTo>
                    <a:lnTo>
                      <a:pt x="272" y="3695"/>
                    </a:lnTo>
                    <a:lnTo>
                      <a:pt x="241" y="3693"/>
                    </a:lnTo>
                    <a:lnTo>
                      <a:pt x="209" y="3686"/>
                    </a:lnTo>
                    <a:lnTo>
                      <a:pt x="176" y="3675"/>
                    </a:lnTo>
                    <a:lnTo>
                      <a:pt x="145" y="3659"/>
                    </a:lnTo>
                    <a:lnTo>
                      <a:pt x="116" y="3640"/>
                    </a:lnTo>
                    <a:lnTo>
                      <a:pt x="89" y="3617"/>
                    </a:lnTo>
                    <a:lnTo>
                      <a:pt x="64" y="3590"/>
                    </a:lnTo>
                    <a:lnTo>
                      <a:pt x="42" y="3559"/>
                    </a:lnTo>
                    <a:lnTo>
                      <a:pt x="24" y="3526"/>
                    </a:lnTo>
                    <a:lnTo>
                      <a:pt x="11" y="3489"/>
                    </a:lnTo>
                    <a:lnTo>
                      <a:pt x="3" y="3450"/>
                    </a:lnTo>
                    <a:lnTo>
                      <a:pt x="0" y="3406"/>
                    </a:lnTo>
                    <a:lnTo>
                      <a:pt x="0" y="757"/>
                    </a:lnTo>
                    <a:lnTo>
                      <a:pt x="94" y="673"/>
                    </a:lnTo>
                    <a:lnTo>
                      <a:pt x="184" y="590"/>
                    </a:lnTo>
                    <a:lnTo>
                      <a:pt x="271" y="507"/>
                    </a:lnTo>
                    <a:lnTo>
                      <a:pt x="356" y="426"/>
                    </a:lnTo>
                    <a:lnTo>
                      <a:pt x="436" y="347"/>
                    </a:lnTo>
                    <a:lnTo>
                      <a:pt x="513" y="271"/>
                    </a:lnTo>
                    <a:lnTo>
                      <a:pt x="587" y="197"/>
                    </a:lnTo>
                    <a:lnTo>
                      <a:pt x="659" y="128"/>
                    </a:lnTo>
                    <a:lnTo>
                      <a:pt x="726" y="62"/>
                    </a:lnTo>
                    <a:lnTo>
                      <a:pt x="788"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5" name="Freeform 15"/>
              <p:cNvSpPr>
                <a:spLocks/>
              </p:cNvSpPr>
              <p:nvPr/>
            </p:nvSpPr>
            <p:spPr bwMode="auto">
              <a:xfrm>
                <a:off x="6487" y="1076"/>
                <a:ext cx="82" cy="23"/>
              </a:xfrm>
              <a:custGeom>
                <a:avLst/>
                <a:gdLst>
                  <a:gd name="T0" fmla="*/ 83 w 650"/>
                  <a:gd name="T1" fmla="*/ 0 h 181"/>
                  <a:gd name="T2" fmla="*/ 83 w 650"/>
                  <a:gd name="T3" fmla="*/ 0 h 181"/>
                  <a:gd name="T4" fmla="*/ 85 w 650"/>
                  <a:gd name="T5" fmla="*/ 0 h 181"/>
                  <a:gd name="T6" fmla="*/ 89 w 650"/>
                  <a:gd name="T7" fmla="*/ 0 h 181"/>
                  <a:gd name="T8" fmla="*/ 93 w 650"/>
                  <a:gd name="T9" fmla="*/ 0 h 181"/>
                  <a:gd name="T10" fmla="*/ 101 w 650"/>
                  <a:gd name="T11" fmla="*/ 0 h 181"/>
                  <a:gd name="T12" fmla="*/ 143 w 650"/>
                  <a:gd name="T13" fmla="*/ 0 h 181"/>
                  <a:gd name="T14" fmla="*/ 166 w 650"/>
                  <a:gd name="T15" fmla="*/ 0 h 181"/>
                  <a:gd name="T16" fmla="*/ 192 w 650"/>
                  <a:gd name="T17" fmla="*/ 0 h 181"/>
                  <a:gd name="T18" fmla="*/ 225 w 650"/>
                  <a:gd name="T19" fmla="*/ 0 h 181"/>
                  <a:gd name="T20" fmla="*/ 264 w 650"/>
                  <a:gd name="T21" fmla="*/ 0 h 181"/>
                  <a:gd name="T22" fmla="*/ 310 w 650"/>
                  <a:gd name="T23" fmla="*/ 0 h 181"/>
                  <a:gd name="T24" fmla="*/ 361 w 650"/>
                  <a:gd name="T25" fmla="*/ 0 h 181"/>
                  <a:gd name="T26" fmla="*/ 420 w 650"/>
                  <a:gd name="T27" fmla="*/ 0 h 181"/>
                  <a:gd name="T28" fmla="*/ 488 w 650"/>
                  <a:gd name="T29" fmla="*/ 0 h 181"/>
                  <a:gd name="T30" fmla="*/ 564 w 650"/>
                  <a:gd name="T31" fmla="*/ 0 h 181"/>
                  <a:gd name="T32" fmla="*/ 588 w 650"/>
                  <a:gd name="T33" fmla="*/ 3 h 181"/>
                  <a:gd name="T34" fmla="*/ 608 w 650"/>
                  <a:gd name="T35" fmla="*/ 12 h 181"/>
                  <a:gd name="T36" fmla="*/ 626 w 650"/>
                  <a:gd name="T37" fmla="*/ 26 h 181"/>
                  <a:gd name="T38" fmla="*/ 639 w 650"/>
                  <a:gd name="T39" fmla="*/ 44 h 181"/>
                  <a:gd name="T40" fmla="*/ 647 w 650"/>
                  <a:gd name="T41" fmla="*/ 67 h 181"/>
                  <a:gd name="T42" fmla="*/ 650 w 650"/>
                  <a:gd name="T43" fmla="*/ 93 h 181"/>
                  <a:gd name="T44" fmla="*/ 647 w 650"/>
                  <a:gd name="T45" fmla="*/ 116 h 181"/>
                  <a:gd name="T46" fmla="*/ 639 w 650"/>
                  <a:gd name="T47" fmla="*/ 136 h 181"/>
                  <a:gd name="T48" fmla="*/ 626 w 650"/>
                  <a:gd name="T49" fmla="*/ 155 h 181"/>
                  <a:gd name="T50" fmla="*/ 608 w 650"/>
                  <a:gd name="T51" fmla="*/ 169 h 181"/>
                  <a:gd name="T52" fmla="*/ 588 w 650"/>
                  <a:gd name="T53" fmla="*/ 178 h 181"/>
                  <a:gd name="T54" fmla="*/ 564 w 650"/>
                  <a:gd name="T55" fmla="*/ 181 h 181"/>
                  <a:gd name="T56" fmla="*/ 564 w 650"/>
                  <a:gd name="T57" fmla="*/ 181 h 181"/>
                  <a:gd name="T58" fmla="*/ 563 w 650"/>
                  <a:gd name="T59" fmla="*/ 181 h 181"/>
                  <a:gd name="T60" fmla="*/ 562 w 650"/>
                  <a:gd name="T61" fmla="*/ 181 h 181"/>
                  <a:gd name="T62" fmla="*/ 559 w 650"/>
                  <a:gd name="T63" fmla="*/ 181 h 181"/>
                  <a:gd name="T64" fmla="*/ 553 w 650"/>
                  <a:gd name="T65" fmla="*/ 181 h 181"/>
                  <a:gd name="T66" fmla="*/ 546 w 650"/>
                  <a:gd name="T67" fmla="*/ 181 h 181"/>
                  <a:gd name="T68" fmla="*/ 421 w 650"/>
                  <a:gd name="T69" fmla="*/ 181 h 181"/>
                  <a:gd name="T70" fmla="*/ 382 w 650"/>
                  <a:gd name="T71" fmla="*/ 181 h 181"/>
                  <a:gd name="T72" fmla="*/ 338 w 650"/>
                  <a:gd name="T73" fmla="*/ 181 h 181"/>
                  <a:gd name="T74" fmla="*/ 226 w 650"/>
                  <a:gd name="T75" fmla="*/ 181 h 181"/>
                  <a:gd name="T76" fmla="*/ 159 w 650"/>
                  <a:gd name="T77" fmla="*/ 181 h 181"/>
                  <a:gd name="T78" fmla="*/ 83 w 650"/>
                  <a:gd name="T79" fmla="*/ 181 h 181"/>
                  <a:gd name="T80" fmla="*/ 61 w 650"/>
                  <a:gd name="T81" fmla="*/ 178 h 181"/>
                  <a:gd name="T82" fmla="*/ 42 w 650"/>
                  <a:gd name="T83" fmla="*/ 169 h 181"/>
                  <a:gd name="T84" fmla="*/ 25 w 650"/>
                  <a:gd name="T85" fmla="*/ 155 h 181"/>
                  <a:gd name="T86" fmla="*/ 12 w 650"/>
                  <a:gd name="T87" fmla="*/ 136 h 181"/>
                  <a:gd name="T88" fmla="*/ 3 w 650"/>
                  <a:gd name="T89" fmla="*/ 116 h 181"/>
                  <a:gd name="T90" fmla="*/ 0 w 650"/>
                  <a:gd name="T91" fmla="*/ 93 h 181"/>
                  <a:gd name="T92" fmla="*/ 3 w 650"/>
                  <a:gd name="T93" fmla="*/ 67 h 181"/>
                  <a:gd name="T94" fmla="*/ 12 w 650"/>
                  <a:gd name="T95" fmla="*/ 44 h 181"/>
                  <a:gd name="T96" fmla="*/ 25 w 650"/>
                  <a:gd name="T97" fmla="*/ 26 h 181"/>
                  <a:gd name="T98" fmla="*/ 42 w 650"/>
                  <a:gd name="T99" fmla="*/ 12 h 181"/>
                  <a:gd name="T100" fmla="*/ 61 w 650"/>
                  <a:gd name="T101" fmla="*/ 3 h 181"/>
                  <a:gd name="T102" fmla="*/ 83 w 650"/>
                  <a:gd name="T103" fmla="*/ 0 h 181"/>
                  <a:gd name="T104" fmla="*/ 83 w 650"/>
                  <a:gd name="T10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0" h="181">
                    <a:moveTo>
                      <a:pt x="83" y="0"/>
                    </a:moveTo>
                    <a:lnTo>
                      <a:pt x="83" y="0"/>
                    </a:lnTo>
                    <a:lnTo>
                      <a:pt x="85" y="0"/>
                    </a:lnTo>
                    <a:lnTo>
                      <a:pt x="89" y="0"/>
                    </a:lnTo>
                    <a:lnTo>
                      <a:pt x="93" y="0"/>
                    </a:lnTo>
                    <a:lnTo>
                      <a:pt x="101" y="0"/>
                    </a:lnTo>
                    <a:lnTo>
                      <a:pt x="143" y="0"/>
                    </a:lnTo>
                    <a:lnTo>
                      <a:pt x="166" y="0"/>
                    </a:lnTo>
                    <a:lnTo>
                      <a:pt x="192" y="0"/>
                    </a:lnTo>
                    <a:lnTo>
                      <a:pt x="225" y="0"/>
                    </a:lnTo>
                    <a:lnTo>
                      <a:pt x="264" y="0"/>
                    </a:lnTo>
                    <a:lnTo>
                      <a:pt x="310" y="0"/>
                    </a:lnTo>
                    <a:lnTo>
                      <a:pt x="361" y="0"/>
                    </a:lnTo>
                    <a:lnTo>
                      <a:pt x="420" y="0"/>
                    </a:lnTo>
                    <a:lnTo>
                      <a:pt x="488" y="0"/>
                    </a:lnTo>
                    <a:lnTo>
                      <a:pt x="564" y="0"/>
                    </a:lnTo>
                    <a:lnTo>
                      <a:pt x="588" y="3"/>
                    </a:lnTo>
                    <a:lnTo>
                      <a:pt x="608" y="12"/>
                    </a:lnTo>
                    <a:lnTo>
                      <a:pt x="626" y="26"/>
                    </a:lnTo>
                    <a:lnTo>
                      <a:pt x="639" y="44"/>
                    </a:lnTo>
                    <a:lnTo>
                      <a:pt x="647" y="67"/>
                    </a:lnTo>
                    <a:lnTo>
                      <a:pt x="650" y="93"/>
                    </a:lnTo>
                    <a:lnTo>
                      <a:pt x="647" y="116"/>
                    </a:lnTo>
                    <a:lnTo>
                      <a:pt x="639" y="136"/>
                    </a:lnTo>
                    <a:lnTo>
                      <a:pt x="626" y="155"/>
                    </a:lnTo>
                    <a:lnTo>
                      <a:pt x="608" y="169"/>
                    </a:lnTo>
                    <a:lnTo>
                      <a:pt x="588" y="178"/>
                    </a:lnTo>
                    <a:lnTo>
                      <a:pt x="564" y="181"/>
                    </a:lnTo>
                    <a:lnTo>
                      <a:pt x="564" y="181"/>
                    </a:lnTo>
                    <a:lnTo>
                      <a:pt x="563" y="181"/>
                    </a:lnTo>
                    <a:lnTo>
                      <a:pt x="562" y="181"/>
                    </a:lnTo>
                    <a:lnTo>
                      <a:pt x="559" y="181"/>
                    </a:lnTo>
                    <a:lnTo>
                      <a:pt x="553" y="181"/>
                    </a:lnTo>
                    <a:lnTo>
                      <a:pt x="546" y="181"/>
                    </a:lnTo>
                    <a:lnTo>
                      <a:pt x="421" y="181"/>
                    </a:lnTo>
                    <a:lnTo>
                      <a:pt x="382" y="181"/>
                    </a:lnTo>
                    <a:lnTo>
                      <a:pt x="338" y="181"/>
                    </a:lnTo>
                    <a:lnTo>
                      <a:pt x="226" y="181"/>
                    </a:lnTo>
                    <a:lnTo>
                      <a:pt x="159" y="181"/>
                    </a:lnTo>
                    <a:lnTo>
                      <a:pt x="83" y="181"/>
                    </a:lnTo>
                    <a:lnTo>
                      <a:pt x="61" y="178"/>
                    </a:lnTo>
                    <a:lnTo>
                      <a:pt x="42" y="169"/>
                    </a:lnTo>
                    <a:lnTo>
                      <a:pt x="25" y="155"/>
                    </a:lnTo>
                    <a:lnTo>
                      <a:pt x="12" y="136"/>
                    </a:lnTo>
                    <a:lnTo>
                      <a:pt x="3" y="116"/>
                    </a:lnTo>
                    <a:lnTo>
                      <a:pt x="0" y="93"/>
                    </a:lnTo>
                    <a:lnTo>
                      <a:pt x="3" y="67"/>
                    </a:lnTo>
                    <a:lnTo>
                      <a:pt x="12" y="44"/>
                    </a:lnTo>
                    <a:lnTo>
                      <a:pt x="25" y="26"/>
                    </a:lnTo>
                    <a:lnTo>
                      <a:pt x="42" y="12"/>
                    </a:lnTo>
                    <a:lnTo>
                      <a:pt x="61" y="3"/>
                    </a:lnTo>
                    <a:lnTo>
                      <a:pt x="83" y="0"/>
                    </a:lnTo>
                    <a:lnTo>
                      <a:pt x="83"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6" name="Freeform 16"/>
              <p:cNvSpPr>
                <a:spLocks/>
              </p:cNvSpPr>
              <p:nvPr/>
            </p:nvSpPr>
            <p:spPr bwMode="auto">
              <a:xfrm>
                <a:off x="6414" y="1133"/>
                <a:ext cx="155" cy="22"/>
              </a:xfrm>
              <a:custGeom>
                <a:avLst/>
                <a:gdLst>
                  <a:gd name="T0" fmla="*/ 87 w 1239"/>
                  <a:gd name="T1" fmla="*/ 0 h 182"/>
                  <a:gd name="T2" fmla="*/ 94 w 1239"/>
                  <a:gd name="T3" fmla="*/ 0 h 182"/>
                  <a:gd name="T4" fmla="*/ 98 w 1239"/>
                  <a:gd name="T5" fmla="*/ 0 h 182"/>
                  <a:gd name="T6" fmla="*/ 105 w 1239"/>
                  <a:gd name="T7" fmla="*/ 0 h 182"/>
                  <a:gd name="T8" fmla="*/ 308 w 1239"/>
                  <a:gd name="T9" fmla="*/ 0 h 182"/>
                  <a:gd name="T10" fmla="*/ 353 w 1239"/>
                  <a:gd name="T11" fmla="*/ 0 h 182"/>
                  <a:gd name="T12" fmla="*/ 403 w 1239"/>
                  <a:gd name="T13" fmla="*/ 0 h 182"/>
                  <a:gd name="T14" fmla="*/ 1153 w 1239"/>
                  <a:gd name="T15" fmla="*/ 0 h 182"/>
                  <a:gd name="T16" fmla="*/ 1177 w 1239"/>
                  <a:gd name="T17" fmla="*/ 4 h 182"/>
                  <a:gd name="T18" fmla="*/ 1197 w 1239"/>
                  <a:gd name="T19" fmla="*/ 12 h 182"/>
                  <a:gd name="T20" fmla="*/ 1215 w 1239"/>
                  <a:gd name="T21" fmla="*/ 27 h 182"/>
                  <a:gd name="T22" fmla="*/ 1228 w 1239"/>
                  <a:gd name="T23" fmla="*/ 45 h 182"/>
                  <a:gd name="T24" fmla="*/ 1236 w 1239"/>
                  <a:gd name="T25" fmla="*/ 66 h 182"/>
                  <a:gd name="T26" fmla="*/ 1239 w 1239"/>
                  <a:gd name="T27" fmla="*/ 91 h 182"/>
                  <a:gd name="T28" fmla="*/ 1237 w 1239"/>
                  <a:gd name="T29" fmla="*/ 111 h 182"/>
                  <a:gd name="T30" fmla="*/ 1230 w 1239"/>
                  <a:gd name="T31" fmla="*/ 130 h 182"/>
                  <a:gd name="T32" fmla="*/ 1220 w 1239"/>
                  <a:gd name="T33" fmla="*/ 147 h 182"/>
                  <a:gd name="T34" fmla="*/ 1208 w 1239"/>
                  <a:gd name="T35" fmla="*/ 161 h 182"/>
                  <a:gd name="T36" fmla="*/ 1191 w 1239"/>
                  <a:gd name="T37" fmla="*/ 173 h 182"/>
                  <a:gd name="T38" fmla="*/ 1173 w 1239"/>
                  <a:gd name="T39" fmla="*/ 179 h 182"/>
                  <a:gd name="T40" fmla="*/ 1153 w 1239"/>
                  <a:gd name="T41" fmla="*/ 182 h 182"/>
                  <a:gd name="T42" fmla="*/ 87 w 1239"/>
                  <a:gd name="T43" fmla="*/ 182 h 182"/>
                  <a:gd name="T44" fmla="*/ 65 w 1239"/>
                  <a:gd name="T45" fmla="*/ 178 h 182"/>
                  <a:gd name="T46" fmla="*/ 45 w 1239"/>
                  <a:gd name="T47" fmla="*/ 169 h 182"/>
                  <a:gd name="T48" fmla="*/ 27 w 1239"/>
                  <a:gd name="T49" fmla="*/ 155 h 182"/>
                  <a:gd name="T50" fmla="*/ 12 w 1239"/>
                  <a:gd name="T51" fmla="*/ 136 h 182"/>
                  <a:gd name="T52" fmla="*/ 3 w 1239"/>
                  <a:gd name="T53" fmla="*/ 114 h 182"/>
                  <a:gd name="T54" fmla="*/ 0 w 1239"/>
                  <a:gd name="T55" fmla="*/ 91 h 182"/>
                  <a:gd name="T56" fmla="*/ 3 w 1239"/>
                  <a:gd name="T57" fmla="*/ 66 h 182"/>
                  <a:gd name="T58" fmla="*/ 12 w 1239"/>
                  <a:gd name="T59" fmla="*/ 45 h 182"/>
                  <a:gd name="T60" fmla="*/ 27 w 1239"/>
                  <a:gd name="T61" fmla="*/ 27 h 182"/>
                  <a:gd name="T62" fmla="*/ 45 w 1239"/>
                  <a:gd name="T63" fmla="*/ 12 h 182"/>
                  <a:gd name="T64" fmla="*/ 65 w 1239"/>
                  <a:gd name="T65" fmla="*/ 4 h 182"/>
                  <a:gd name="T66" fmla="*/ 87 w 1239"/>
                  <a:gd name="T6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9" h="182">
                    <a:moveTo>
                      <a:pt x="87" y="0"/>
                    </a:moveTo>
                    <a:lnTo>
                      <a:pt x="94" y="0"/>
                    </a:lnTo>
                    <a:lnTo>
                      <a:pt x="98" y="0"/>
                    </a:lnTo>
                    <a:lnTo>
                      <a:pt x="105" y="0"/>
                    </a:lnTo>
                    <a:lnTo>
                      <a:pt x="308" y="0"/>
                    </a:lnTo>
                    <a:lnTo>
                      <a:pt x="353" y="0"/>
                    </a:lnTo>
                    <a:lnTo>
                      <a:pt x="403" y="0"/>
                    </a:lnTo>
                    <a:lnTo>
                      <a:pt x="1153" y="0"/>
                    </a:lnTo>
                    <a:lnTo>
                      <a:pt x="1177" y="4"/>
                    </a:lnTo>
                    <a:lnTo>
                      <a:pt x="1197" y="12"/>
                    </a:lnTo>
                    <a:lnTo>
                      <a:pt x="1215" y="27"/>
                    </a:lnTo>
                    <a:lnTo>
                      <a:pt x="1228" y="45"/>
                    </a:lnTo>
                    <a:lnTo>
                      <a:pt x="1236" y="66"/>
                    </a:lnTo>
                    <a:lnTo>
                      <a:pt x="1239" y="91"/>
                    </a:lnTo>
                    <a:lnTo>
                      <a:pt x="1237" y="111"/>
                    </a:lnTo>
                    <a:lnTo>
                      <a:pt x="1230" y="130"/>
                    </a:lnTo>
                    <a:lnTo>
                      <a:pt x="1220" y="147"/>
                    </a:lnTo>
                    <a:lnTo>
                      <a:pt x="1208" y="161"/>
                    </a:lnTo>
                    <a:lnTo>
                      <a:pt x="1191" y="173"/>
                    </a:lnTo>
                    <a:lnTo>
                      <a:pt x="1173" y="179"/>
                    </a:lnTo>
                    <a:lnTo>
                      <a:pt x="1153" y="182"/>
                    </a:lnTo>
                    <a:lnTo>
                      <a:pt x="87" y="182"/>
                    </a:lnTo>
                    <a:lnTo>
                      <a:pt x="65" y="178"/>
                    </a:lnTo>
                    <a:lnTo>
                      <a:pt x="45" y="169"/>
                    </a:lnTo>
                    <a:lnTo>
                      <a:pt x="27" y="155"/>
                    </a:lnTo>
                    <a:lnTo>
                      <a:pt x="12" y="136"/>
                    </a:lnTo>
                    <a:lnTo>
                      <a:pt x="3" y="114"/>
                    </a:lnTo>
                    <a:lnTo>
                      <a:pt x="0" y="91"/>
                    </a:lnTo>
                    <a:lnTo>
                      <a:pt x="3" y="66"/>
                    </a:lnTo>
                    <a:lnTo>
                      <a:pt x="12" y="45"/>
                    </a:lnTo>
                    <a:lnTo>
                      <a:pt x="27" y="27"/>
                    </a:lnTo>
                    <a:lnTo>
                      <a:pt x="45" y="12"/>
                    </a:lnTo>
                    <a:lnTo>
                      <a:pt x="65" y="4"/>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7" name="Freeform 17"/>
              <p:cNvSpPr>
                <a:spLocks/>
              </p:cNvSpPr>
              <p:nvPr/>
            </p:nvSpPr>
            <p:spPr bwMode="auto">
              <a:xfrm>
                <a:off x="6414" y="1188"/>
                <a:ext cx="155" cy="23"/>
              </a:xfrm>
              <a:custGeom>
                <a:avLst/>
                <a:gdLst>
                  <a:gd name="T0" fmla="*/ 87 w 1239"/>
                  <a:gd name="T1" fmla="*/ 0 h 181"/>
                  <a:gd name="T2" fmla="*/ 1153 w 1239"/>
                  <a:gd name="T3" fmla="*/ 0 h 181"/>
                  <a:gd name="T4" fmla="*/ 1177 w 1239"/>
                  <a:gd name="T5" fmla="*/ 3 h 181"/>
                  <a:gd name="T6" fmla="*/ 1197 w 1239"/>
                  <a:gd name="T7" fmla="*/ 12 h 181"/>
                  <a:gd name="T8" fmla="*/ 1215 w 1239"/>
                  <a:gd name="T9" fmla="*/ 27 h 181"/>
                  <a:gd name="T10" fmla="*/ 1228 w 1239"/>
                  <a:gd name="T11" fmla="*/ 45 h 181"/>
                  <a:gd name="T12" fmla="*/ 1236 w 1239"/>
                  <a:gd name="T13" fmla="*/ 66 h 181"/>
                  <a:gd name="T14" fmla="*/ 1239 w 1239"/>
                  <a:gd name="T15" fmla="*/ 91 h 181"/>
                  <a:gd name="T16" fmla="*/ 1237 w 1239"/>
                  <a:gd name="T17" fmla="*/ 111 h 181"/>
                  <a:gd name="T18" fmla="*/ 1230 w 1239"/>
                  <a:gd name="T19" fmla="*/ 130 h 181"/>
                  <a:gd name="T20" fmla="*/ 1220 w 1239"/>
                  <a:gd name="T21" fmla="*/ 147 h 181"/>
                  <a:gd name="T22" fmla="*/ 1208 w 1239"/>
                  <a:gd name="T23" fmla="*/ 161 h 181"/>
                  <a:gd name="T24" fmla="*/ 1191 w 1239"/>
                  <a:gd name="T25" fmla="*/ 172 h 181"/>
                  <a:gd name="T26" fmla="*/ 1173 w 1239"/>
                  <a:gd name="T27" fmla="*/ 179 h 181"/>
                  <a:gd name="T28" fmla="*/ 1153 w 1239"/>
                  <a:gd name="T29" fmla="*/ 181 h 181"/>
                  <a:gd name="T30" fmla="*/ 1147 w 1239"/>
                  <a:gd name="T31" fmla="*/ 181 h 181"/>
                  <a:gd name="T32" fmla="*/ 1141 w 1239"/>
                  <a:gd name="T33" fmla="*/ 181 h 181"/>
                  <a:gd name="T34" fmla="*/ 1134 w 1239"/>
                  <a:gd name="T35" fmla="*/ 181 h 181"/>
                  <a:gd name="T36" fmla="*/ 931 w 1239"/>
                  <a:gd name="T37" fmla="*/ 181 h 181"/>
                  <a:gd name="T38" fmla="*/ 886 w 1239"/>
                  <a:gd name="T39" fmla="*/ 181 h 181"/>
                  <a:gd name="T40" fmla="*/ 837 w 1239"/>
                  <a:gd name="T41" fmla="*/ 181 h 181"/>
                  <a:gd name="T42" fmla="*/ 87 w 1239"/>
                  <a:gd name="T43" fmla="*/ 181 h 181"/>
                  <a:gd name="T44" fmla="*/ 65 w 1239"/>
                  <a:gd name="T45" fmla="*/ 178 h 181"/>
                  <a:gd name="T46" fmla="*/ 45 w 1239"/>
                  <a:gd name="T47" fmla="*/ 169 h 181"/>
                  <a:gd name="T48" fmla="*/ 27 w 1239"/>
                  <a:gd name="T49" fmla="*/ 154 h 181"/>
                  <a:gd name="T50" fmla="*/ 12 w 1239"/>
                  <a:gd name="T51" fmla="*/ 135 h 181"/>
                  <a:gd name="T52" fmla="*/ 3 w 1239"/>
                  <a:gd name="T53" fmla="*/ 114 h 181"/>
                  <a:gd name="T54" fmla="*/ 0 w 1239"/>
                  <a:gd name="T55" fmla="*/ 91 h 181"/>
                  <a:gd name="T56" fmla="*/ 3 w 1239"/>
                  <a:gd name="T57" fmla="*/ 66 h 181"/>
                  <a:gd name="T58" fmla="*/ 12 w 1239"/>
                  <a:gd name="T59" fmla="*/ 45 h 181"/>
                  <a:gd name="T60" fmla="*/ 27 w 1239"/>
                  <a:gd name="T61" fmla="*/ 27 h 181"/>
                  <a:gd name="T62" fmla="*/ 45 w 1239"/>
                  <a:gd name="T63" fmla="*/ 12 h 181"/>
                  <a:gd name="T64" fmla="*/ 65 w 1239"/>
                  <a:gd name="T65" fmla="*/ 3 h 181"/>
                  <a:gd name="T66" fmla="*/ 87 w 1239"/>
                  <a:gd name="T67"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39" h="181">
                    <a:moveTo>
                      <a:pt x="87" y="0"/>
                    </a:moveTo>
                    <a:lnTo>
                      <a:pt x="1153" y="0"/>
                    </a:lnTo>
                    <a:lnTo>
                      <a:pt x="1177" y="3"/>
                    </a:lnTo>
                    <a:lnTo>
                      <a:pt x="1197" y="12"/>
                    </a:lnTo>
                    <a:lnTo>
                      <a:pt x="1215" y="27"/>
                    </a:lnTo>
                    <a:lnTo>
                      <a:pt x="1228" y="45"/>
                    </a:lnTo>
                    <a:lnTo>
                      <a:pt x="1236" y="66"/>
                    </a:lnTo>
                    <a:lnTo>
                      <a:pt x="1239" y="91"/>
                    </a:lnTo>
                    <a:lnTo>
                      <a:pt x="1237" y="111"/>
                    </a:lnTo>
                    <a:lnTo>
                      <a:pt x="1230" y="130"/>
                    </a:lnTo>
                    <a:lnTo>
                      <a:pt x="1220" y="147"/>
                    </a:lnTo>
                    <a:lnTo>
                      <a:pt x="1208" y="161"/>
                    </a:lnTo>
                    <a:lnTo>
                      <a:pt x="1191" y="172"/>
                    </a:lnTo>
                    <a:lnTo>
                      <a:pt x="1173" y="179"/>
                    </a:lnTo>
                    <a:lnTo>
                      <a:pt x="1153" y="181"/>
                    </a:lnTo>
                    <a:lnTo>
                      <a:pt x="1147" y="181"/>
                    </a:lnTo>
                    <a:lnTo>
                      <a:pt x="1141" y="181"/>
                    </a:lnTo>
                    <a:lnTo>
                      <a:pt x="1134" y="181"/>
                    </a:lnTo>
                    <a:lnTo>
                      <a:pt x="931" y="181"/>
                    </a:lnTo>
                    <a:lnTo>
                      <a:pt x="886" y="181"/>
                    </a:lnTo>
                    <a:lnTo>
                      <a:pt x="837" y="181"/>
                    </a:lnTo>
                    <a:lnTo>
                      <a:pt x="87" y="181"/>
                    </a:lnTo>
                    <a:lnTo>
                      <a:pt x="65" y="178"/>
                    </a:lnTo>
                    <a:lnTo>
                      <a:pt x="45" y="169"/>
                    </a:lnTo>
                    <a:lnTo>
                      <a:pt x="27" y="154"/>
                    </a:lnTo>
                    <a:lnTo>
                      <a:pt x="12" y="135"/>
                    </a:lnTo>
                    <a:lnTo>
                      <a:pt x="3" y="114"/>
                    </a:lnTo>
                    <a:lnTo>
                      <a:pt x="0" y="91"/>
                    </a:lnTo>
                    <a:lnTo>
                      <a:pt x="3" y="66"/>
                    </a:lnTo>
                    <a:lnTo>
                      <a:pt x="12" y="45"/>
                    </a:lnTo>
                    <a:lnTo>
                      <a:pt x="27" y="27"/>
                    </a:lnTo>
                    <a:lnTo>
                      <a:pt x="45" y="12"/>
                    </a:lnTo>
                    <a:lnTo>
                      <a:pt x="65" y="3"/>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8" name="Freeform 18"/>
              <p:cNvSpPr>
                <a:spLocks/>
              </p:cNvSpPr>
              <p:nvPr/>
            </p:nvSpPr>
            <p:spPr bwMode="auto">
              <a:xfrm>
                <a:off x="6414" y="1244"/>
                <a:ext cx="155" cy="24"/>
              </a:xfrm>
              <a:custGeom>
                <a:avLst/>
                <a:gdLst>
                  <a:gd name="T0" fmla="*/ 98 w 1239"/>
                  <a:gd name="T1" fmla="*/ 0 h 192"/>
                  <a:gd name="T2" fmla="*/ 105 w 1239"/>
                  <a:gd name="T3" fmla="*/ 0 h 192"/>
                  <a:gd name="T4" fmla="*/ 1153 w 1239"/>
                  <a:gd name="T5" fmla="*/ 0 h 192"/>
                  <a:gd name="T6" fmla="*/ 1177 w 1239"/>
                  <a:gd name="T7" fmla="*/ 4 h 192"/>
                  <a:gd name="T8" fmla="*/ 1197 w 1239"/>
                  <a:gd name="T9" fmla="*/ 14 h 192"/>
                  <a:gd name="T10" fmla="*/ 1215 w 1239"/>
                  <a:gd name="T11" fmla="*/ 28 h 192"/>
                  <a:gd name="T12" fmla="*/ 1228 w 1239"/>
                  <a:gd name="T13" fmla="*/ 47 h 192"/>
                  <a:gd name="T14" fmla="*/ 1236 w 1239"/>
                  <a:gd name="T15" fmla="*/ 71 h 192"/>
                  <a:gd name="T16" fmla="*/ 1239 w 1239"/>
                  <a:gd name="T17" fmla="*/ 97 h 192"/>
                  <a:gd name="T18" fmla="*/ 1236 w 1239"/>
                  <a:gd name="T19" fmla="*/ 123 h 192"/>
                  <a:gd name="T20" fmla="*/ 1228 w 1239"/>
                  <a:gd name="T21" fmla="*/ 145 h 192"/>
                  <a:gd name="T22" fmla="*/ 1215 w 1239"/>
                  <a:gd name="T23" fmla="*/ 164 h 192"/>
                  <a:gd name="T24" fmla="*/ 1197 w 1239"/>
                  <a:gd name="T25" fmla="*/ 179 h 192"/>
                  <a:gd name="T26" fmla="*/ 1177 w 1239"/>
                  <a:gd name="T27" fmla="*/ 189 h 192"/>
                  <a:gd name="T28" fmla="*/ 1153 w 1239"/>
                  <a:gd name="T29" fmla="*/ 192 h 192"/>
                  <a:gd name="T30" fmla="*/ 1153 w 1239"/>
                  <a:gd name="T31" fmla="*/ 192 h 192"/>
                  <a:gd name="T32" fmla="*/ 1152 w 1239"/>
                  <a:gd name="T33" fmla="*/ 192 h 192"/>
                  <a:gd name="T34" fmla="*/ 1152 w 1239"/>
                  <a:gd name="T35" fmla="*/ 192 h 192"/>
                  <a:gd name="T36" fmla="*/ 1150 w 1239"/>
                  <a:gd name="T37" fmla="*/ 192 h 192"/>
                  <a:gd name="T38" fmla="*/ 1147 w 1239"/>
                  <a:gd name="T39" fmla="*/ 192 h 192"/>
                  <a:gd name="T40" fmla="*/ 1141 w 1239"/>
                  <a:gd name="T41" fmla="*/ 192 h 192"/>
                  <a:gd name="T42" fmla="*/ 1134 w 1239"/>
                  <a:gd name="T43" fmla="*/ 192 h 192"/>
                  <a:gd name="T44" fmla="*/ 1113 w 1239"/>
                  <a:gd name="T45" fmla="*/ 192 h 192"/>
                  <a:gd name="T46" fmla="*/ 1099 w 1239"/>
                  <a:gd name="T47" fmla="*/ 192 h 192"/>
                  <a:gd name="T48" fmla="*/ 1081 w 1239"/>
                  <a:gd name="T49" fmla="*/ 192 h 192"/>
                  <a:gd name="T50" fmla="*/ 1005 w 1239"/>
                  <a:gd name="T51" fmla="*/ 192 h 192"/>
                  <a:gd name="T52" fmla="*/ 970 w 1239"/>
                  <a:gd name="T53" fmla="*/ 192 h 192"/>
                  <a:gd name="T54" fmla="*/ 931 w 1239"/>
                  <a:gd name="T55" fmla="*/ 192 h 192"/>
                  <a:gd name="T56" fmla="*/ 886 w 1239"/>
                  <a:gd name="T57" fmla="*/ 192 h 192"/>
                  <a:gd name="T58" fmla="*/ 837 w 1239"/>
                  <a:gd name="T59" fmla="*/ 192 h 192"/>
                  <a:gd name="T60" fmla="*/ 720 w 1239"/>
                  <a:gd name="T61" fmla="*/ 192 h 192"/>
                  <a:gd name="T62" fmla="*/ 651 w 1239"/>
                  <a:gd name="T63" fmla="*/ 192 h 192"/>
                  <a:gd name="T64" fmla="*/ 576 w 1239"/>
                  <a:gd name="T65" fmla="*/ 192 h 192"/>
                  <a:gd name="T66" fmla="*/ 493 w 1239"/>
                  <a:gd name="T67" fmla="*/ 192 h 192"/>
                  <a:gd name="T68" fmla="*/ 404 w 1239"/>
                  <a:gd name="T69" fmla="*/ 192 h 192"/>
                  <a:gd name="T70" fmla="*/ 87 w 1239"/>
                  <a:gd name="T71" fmla="*/ 192 h 192"/>
                  <a:gd name="T72" fmla="*/ 68 w 1239"/>
                  <a:gd name="T73" fmla="*/ 190 h 192"/>
                  <a:gd name="T74" fmla="*/ 50 w 1239"/>
                  <a:gd name="T75" fmla="*/ 182 h 192"/>
                  <a:gd name="T76" fmla="*/ 33 w 1239"/>
                  <a:gd name="T77" fmla="*/ 171 h 192"/>
                  <a:gd name="T78" fmla="*/ 20 w 1239"/>
                  <a:gd name="T79" fmla="*/ 156 h 192"/>
                  <a:gd name="T80" fmla="*/ 10 w 1239"/>
                  <a:gd name="T81" fmla="*/ 139 h 192"/>
                  <a:gd name="T82" fmla="*/ 2 w 1239"/>
                  <a:gd name="T83" fmla="*/ 118 h 192"/>
                  <a:gd name="T84" fmla="*/ 0 w 1239"/>
                  <a:gd name="T85" fmla="*/ 97 h 192"/>
                  <a:gd name="T86" fmla="*/ 2 w 1239"/>
                  <a:gd name="T87" fmla="*/ 74 h 192"/>
                  <a:gd name="T88" fmla="*/ 10 w 1239"/>
                  <a:gd name="T89" fmla="*/ 54 h 192"/>
                  <a:gd name="T90" fmla="*/ 20 w 1239"/>
                  <a:gd name="T91" fmla="*/ 36 h 192"/>
                  <a:gd name="T92" fmla="*/ 33 w 1239"/>
                  <a:gd name="T93" fmla="*/ 22 h 192"/>
                  <a:gd name="T94" fmla="*/ 50 w 1239"/>
                  <a:gd name="T95" fmla="*/ 11 h 192"/>
                  <a:gd name="T96" fmla="*/ 68 w 1239"/>
                  <a:gd name="T97" fmla="*/ 4 h 192"/>
                  <a:gd name="T98" fmla="*/ 87 w 1239"/>
                  <a:gd name="T99" fmla="*/ 0 h 192"/>
                  <a:gd name="T100" fmla="*/ 94 w 1239"/>
                  <a:gd name="T101" fmla="*/ 0 h 192"/>
                  <a:gd name="T102" fmla="*/ 98 w 1239"/>
                  <a:gd name="T10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39" h="192">
                    <a:moveTo>
                      <a:pt x="98" y="0"/>
                    </a:moveTo>
                    <a:lnTo>
                      <a:pt x="105" y="0"/>
                    </a:lnTo>
                    <a:lnTo>
                      <a:pt x="1153" y="0"/>
                    </a:lnTo>
                    <a:lnTo>
                      <a:pt x="1177" y="4"/>
                    </a:lnTo>
                    <a:lnTo>
                      <a:pt x="1197" y="14"/>
                    </a:lnTo>
                    <a:lnTo>
                      <a:pt x="1215" y="28"/>
                    </a:lnTo>
                    <a:lnTo>
                      <a:pt x="1228" y="47"/>
                    </a:lnTo>
                    <a:lnTo>
                      <a:pt x="1236" y="71"/>
                    </a:lnTo>
                    <a:lnTo>
                      <a:pt x="1239" y="97"/>
                    </a:lnTo>
                    <a:lnTo>
                      <a:pt x="1236" y="123"/>
                    </a:lnTo>
                    <a:lnTo>
                      <a:pt x="1228" y="145"/>
                    </a:lnTo>
                    <a:lnTo>
                      <a:pt x="1215" y="164"/>
                    </a:lnTo>
                    <a:lnTo>
                      <a:pt x="1197" y="179"/>
                    </a:lnTo>
                    <a:lnTo>
                      <a:pt x="1177" y="189"/>
                    </a:lnTo>
                    <a:lnTo>
                      <a:pt x="1153" y="192"/>
                    </a:lnTo>
                    <a:lnTo>
                      <a:pt x="1153" y="192"/>
                    </a:lnTo>
                    <a:lnTo>
                      <a:pt x="1152" y="192"/>
                    </a:lnTo>
                    <a:lnTo>
                      <a:pt x="1152" y="192"/>
                    </a:lnTo>
                    <a:lnTo>
                      <a:pt x="1150" y="192"/>
                    </a:lnTo>
                    <a:lnTo>
                      <a:pt x="1147" y="192"/>
                    </a:lnTo>
                    <a:lnTo>
                      <a:pt x="1141" y="192"/>
                    </a:lnTo>
                    <a:lnTo>
                      <a:pt x="1134" y="192"/>
                    </a:lnTo>
                    <a:lnTo>
                      <a:pt x="1113" y="192"/>
                    </a:lnTo>
                    <a:lnTo>
                      <a:pt x="1099" y="192"/>
                    </a:lnTo>
                    <a:lnTo>
                      <a:pt x="1081" y="192"/>
                    </a:lnTo>
                    <a:lnTo>
                      <a:pt x="1005" y="192"/>
                    </a:lnTo>
                    <a:lnTo>
                      <a:pt x="970" y="192"/>
                    </a:lnTo>
                    <a:lnTo>
                      <a:pt x="931" y="192"/>
                    </a:lnTo>
                    <a:lnTo>
                      <a:pt x="886" y="192"/>
                    </a:lnTo>
                    <a:lnTo>
                      <a:pt x="837" y="192"/>
                    </a:lnTo>
                    <a:lnTo>
                      <a:pt x="720" y="192"/>
                    </a:lnTo>
                    <a:lnTo>
                      <a:pt x="651" y="192"/>
                    </a:lnTo>
                    <a:lnTo>
                      <a:pt x="576" y="192"/>
                    </a:lnTo>
                    <a:lnTo>
                      <a:pt x="493" y="192"/>
                    </a:lnTo>
                    <a:lnTo>
                      <a:pt x="404" y="192"/>
                    </a:lnTo>
                    <a:lnTo>
                      <a:pt x="87" y="192"/>
                    </a:lnTo>
                    <a:lnTo>
                      <a:pt x="68" y="190"/>
                    </a:lnTo>
                    <a:lnTo>
                      <a:pt x="50" y="182"/>
                    </a:lnTo>
                    <a:lnTo>
                      <a:pt x="33" y="171"/>
                    </a:lnTo>
                    <a:lnTo>
                      <a:pt x="20" y="156"/>
                    </a:lnTo>
                    <a:lnTo>
                      <a:pt x="10" y="139"/>
                    </a:lnTo>
                    <a:lnTo>
                      <a:pt x="2" y="118"/>
                    </a:lnTo>
                    <a:lnTo>
                      <a:pt x="0" y="97"/>
                    </a:lnTo>
                    <a:lnTo>
                      <a:pt x="2" y="74"/>
                    </a:lnTo>
                    <a:lnTo>
                      <a:pt x="10" y="54"/>
                    </a:lnTo>
                    <a:lnTo>
                      <a:pt x="20" y="36"/>
                    </a:lnTo>
                    <a:lnTo>
                      <a:pt x="33" y="22"/>
                    </a:lnTo>
                    <a:lnTo>
                      <a:pt x="50" y="11"/>
                    </a:lnTo>
                    <a:lnTo>
                      <a:pt x="68" y="4"/>
                    </a:lnTo>
                    <a:lnTo>
                      <a:pt x="87" y="0"/>
                    </a:lnTo>
                    <a:lnTo>
                      <a:pt x="94" y="0"/>
                    </a:lnTo>
                    <a:lnTo>
                      <a:pt x="98"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9" name="Freeform 19"/>
              <p:cNvSpPr>
                <a:spLocks/>
              </p:cNvSpPr>
              <p:nvPr/>
            </p:nvSpPr>
            <p:spPr bwMode="auto">
              <a:xfrm>
                <a:off x="6414" y="1301"/>
                <a:ext cx="155" cy="22"/>
              </a:xfrm>
              <a:custGeom>
                <a:avLst/>
                <a:gdLst>
                  <a:gd name="T0" fmla="*/ 87 w 1239"/>
                  <a:gd name="T1" fmla="*/ 0 h 182"/>
                  <a:gd name="T2" fmla="*/ 87 w 1239"/>
                  <a:gd name="T3" fmla="*/ 0 h 182"/>
                  <a:gd name="T4" fmla="*/ 88 w 1239"/>
                  <a:gd name="T5" fmla="*/ 0 h 182"/>
                  <a:gd name="T6" fmla="*/ 90 w 1239"/>
                  <a:gd name="T7" fmla="*/ 0 h 182"/>
                  <a:gd name="T8" fmla="*/ 94 w 1239"/>
                  <a:gd name="T9" fmla="*/ 0 h 182"/>
                  <a:gd name="T10" fmla="*/ 98 w 1239"/>
                  <a:gd name="T11" fmla="*/ 0 h 182"/>
                  <a:gd name="T12" fmla="*/ 105 w 1239"/>
                  <a:gd name="T13" fmla="*/ 0 h 182"/>
                  <a:gd name="T14" fmla="*/ 126 w 1239"/>
                  <a:gd name="T15" fmla="*/ 0 h 182"/>
                  <a:gd name="T16" fmla="*/ 141 w 1239"/>
                  <a:gd name="T17" fmla="*/ 0 h 182"/>
                  <a:gd name="T18" fmla="*/ 158 w 1239"/>
                  <a:gd name="T19" fmla="*/ 0 h 182"/>
                  <a:gd name="T20" fmla="*/ 235 w 1239"/>
                  <a:gd name="T21" fmla="*/ 0 h 182"/>
                  <a:gd name="T22" fmla="*/ 269 w 1239"/>
                  <a:gd name="T23" fmla="*/ 0 h 182"/>
                  <a:gd name="T24" fmla="*/ 308 w 1239"/>
                  <a:gd name="T25" fmla="*/ 0 h 182"/>
                  <a:gd name="T26" fmla="*/ 353 w 1239"/>
                  <a:gd name="T27" fmla="*/ 0 h 182"/>
                  <a:gd name="T28" fmla="*/ 403 w 1239"/>
                  <a:gd name="T29" fmla="*/ 0 h 182"/>
                  <a:gd name="T30" fmla="*/ 459 w 1239"/>
                  <a:gd name="T31" fmla="*/ 0 h 182"/>
                  <a:gd name="T32" fmla="*/ 520 w 1239"/>
                  <a:gd name="T33" fmla="*/ 0 h 182"/>
                  <a:gd name="T34" fmla="*/ 588 w 1239"/>
                  <a:gd name="T35" fmla="*/ 0 h 182"/>
                  <a:gd name="T36" fmla="*/ 663 w 1239"/>
                  <a:gd name="T37" fmla="*/ 0 h 182"/>
                  <a:gd name="T38" fmla="*/ 746 w 1239"/>
                  <a:gd name="T39" fmla="*/ 0 h 182"/>
                  <a:gd name="T40" fmla="*/ 835 w 1239"/>
                  <a:gd name="T41" fmla="*/ 0 h 182"/>
                  <a:gd name="T42" fmla="*/ 933 w 1239"/>
                  <a:gd name="T43" fmla="*/ 0 h 182"/>
                  <a:gd name="T44" fmla="*/ 1039 w 1239"/>
                  <a:gd name="T45" fmla="*/ 0 h 182"/>
                  <a:gd name="T46" fmla="*/ 1153 w 1239"/>
                  <a:gd name="T47" fmla="*/ 0 h 182"/>
                  <a:gd name="T48" fmla="*/ 1173 w 1239"/>
                  <a:gd name="T49" fmla="*/ 2 h 182"/>
                  <a:gd name="T50" fmla="*/ 1191 w 1239"/>
                  <a:gd name="T51" fmla="*/ 10 h 182"/>
                  <a:gd name="T52" fmla="*/ 1208 w 1239"/>
                  <a:gd name="T53" fmla="*/ 20 h 182"/>
                  <a:gd name="T54" fmla="*/ 1220 w 1239"/>
                  <a:gd name="T55" fmla="*/ 35 h 182"/>
                  <a:gd name="T56" fmla="*/ 1230 w 1239"/>
                  <a:gd name="T57" fmla="*/ 52 h 182"/>
                  <a:gd name="T58" fmla="*/ 1237 w 1239"/>
                  <a:gd name="T59" fmla="*/ 71 h 182"/>
                  <a:gd name="T60" fmla="*/ 1239 w 1239"/>
                  <a:gd name="T61" fmla="*/ 91 h 182"/>
                  <a:gd name="T62" fmla="*/ 1236 w 1239"/>
                  <a:gd name="T63" fmla="*/ 116 h 182"/>
                  <a:gd name="T64" fmla="*/ 1228 w 1239"/>
                  <a:gd name="T65" fmla="*/ 137 h 182"/>
                  <a:gd name="T66" fmla="*/ 1215 w 1239"/>
                  <a:gd name="T67" fmla="*/ 156 h 182"/>
                  <a:gd name="T68" fmla="*/ 1197 w 1239"/>
                  <a:gd name="T69" fmla="*/ 169 h 182"/>
                  <a:gd name="T70" fmla="*/ 1177 w 1239"/>
                  <a:gd name="T71" fmla="*/ 178 h 182"/>
                  <a:gd name="T72" fmla="*/ 1153 w 1239"/>
                  <a:gd name="T73" fmla="*/ 182 h 182"/>
                  <a:gd name="T74" fmla="*/ 1147 w 1239"/>
                  <a:gd name="T75" fmla="*/ 182 h 182"/>
                  <a:gd name="T76" fmla="*/ 1141 w 1239"/>
                  <a:gd name="T77" fmla="*/ 182 h 182"/>
                  <a:gd name="T78" fmla="*/ 1134 w 1239"/>
                  <a:gd name="T79" fmla="*/ 182 h 182"/>
                  <a:gd name="T80" fmla="*/ 87 w 1239"/>
                  <a:gd name="T81" fmla="*/ 182 h 182"/>
                  <a:gd name="T82" fmla="*/ 65 w 1239"/>
                  <a:gd name="T83" fmla="*/ 178 h 182"/>
                  <a:gd name="T84" fmla="*/ 45 w 1239"/>
                  <a:gd name="T85" fmla="*/ 169 h 182"/>
                  <a:gd name="T86" fmla="*/ 27 w 1239"/>
                  <a:gd name="T87" fmla="*/ 156 h 182"/>
                  <a:gd name="T88" fmla="*/ 12 w 1239"/>
                  <a:gd name="T89" fmla="*/ 137 h 182"/>
                  <a:gd name="T90" fmla="*/ 3 w 1239"/>
                  <a:gd name="T91" fmla="*/ 116 h 182"/>
                  <a:gd name="T92" fmla="*/ 0 w 1239"/>
                  <a:gd name="T93" fmla="*/ 91 h 182"/>
                  <a:gd name="T94" fmla="*/ 3 w 1239"/>
                  <a:gd name="T95" fmla="*/ 67 h 182"/>
                  <a:gd name="T96" fmla="*/ 12 w 1239"/>
                  <a:gd name="T97" fmla="*/ 46 h 182"/>
                  <a:gd name="T98" fmla="*/ 27 w 1239"/>
                  <a:gd name="T99" fmla="*/ 28 h 182"/>
                  <a:gd name="T100" fmla="*/ 45 w 1239"/>
                  <a:gd name="T101" fmla="*/ 12 h 182"/>
                  <a:gd name="T102" fmla="*/ 65 w 1239"/>
                  <a:gd name="T103" fmla="*/ 4 h 182"/>
                  <a:gd name="T104" fmla="*/ 87 w 1239"/>
                  <a:gd name="T105" fmla="*/ 0 h 182"/>
                  <a:gd name="T106" fmla="*/ 87 w 1239"/>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9" h="182">
                    <a:moveTo>
                      <a:pt x="87" y="0"/>
                    </a:moveTo>
                    <a:lnTo>
                      <a:pt x="87" y="0"/>
                    </a:lnTo>
                    <a:lnTo>
                      <a:pt x="88" y="0"/>
                    </a:lnTo>
                    <a:lnTo>
                      <a:pt x="90" y="0"/>
                    </a:lnTo>
                    <a:lnTo>
                      <a:pt x="94" y="0"/>
                    </a:lnTo>
                    <a:lnTo>
                      <a:pt x="98" y="0"/>
                    </a:lnTo>
                    <a:lnTo>
                      <a:pt x="105" y="0"/>
                    </a:lnTo>
                    <a:lnTo>
                      <a:pt x="126" y="0"/>
                    </a:lnTo>
                    <a:lnTo>
                      <a:pt x="141" y="0"/>
                    </a:lnTo>
                    <a:lnTo>
                      <a:pt x="158" y="0"/>
                    </a:lnTo>
                    <a:lnTo>
                      <a:pt x="235" y="0"/>
                    </a:lnTo>
                    <a:lnTo>
                      <a:pt x="269" y="0"/>
                    </a:lnTo>
                    <a:lnTo>
                      <a:pt x="308" y="0"/>
                    </a:lnTo>
                    <a:lnTo>
                      <a:pt x="353" y="0"/>
                    </a:lnTo>
                    <a:lnTo>
                      <a:pt x="403" y="0"/>
                    </a:lnTo>
                    <a:lnTo>
                      <a:pt x="459" y="0"/>
                    </a:lnTo>
                    <a:lnTo>
                      <a:pt x="520" y="0"/>
                    </a:lnTo>
                    <a:lnTo>
                      <a:pt x="588" y="0"/>
                    </a:lnTo>
                    <a:lnTo>
                      <a:pt x="663" y="0"/>
                    </a:lnTo>
                    <a:lnTo>
                      <a:pt x="746" y="0"/>
                    </a:lnTo>
                    <a:lnTo>
                      <a:pt x="835" y="0"/>
                    </a:lnTo>
                    <a:lnTo>
                      <a:pt x="933" y="0"/>
                    </a:lnTo>
                    <a:lnTo>
                      <a:pt x="1039" y="0"/>
                    </a:lnTo>
                    <a:lnTo>
                      <a:pt x="1153" y="0"/>
                    </a:lnTo>
                    <a:lnTo>
                      <a:pt x="1173" y="2"/>
                    </a:lnTo>
                    <a:lnTo>
                      <a:pt x="1191" y="10"/>
                    </a:lnTo>
                    <a:lnTo>
                      <a:pt x="1208" y="20"/>
                    </a:lnTo>
                    <a:lnTo>
                      <a:pt x="1220" y="35"/>
                    </a:lnTo>
                    <a:lnTo>
                      <a:pt x="1230" y="52"/>
                    </a:lnTo>
                    <a:lnTo>
                      <a:pt x="1237" y="71"/>
                    </a:lnTo>
                    <a:lnTo>
                      <a:pt x="1239" y="91"/>
                    </a:lnTo>
                    <a:lnTo>
                      <a:pt x="1236" y="116"/>
                    </a:lnTo>
                    <a:lnTo>
                      <a:pt x="1228" y="137"/>
                    </a:lnTo>
                    <a:lnTo>
                      <a:pt x="1215" y="156"/>
                    </a:lnTo>
                    <a:lnTo>
                      <a:pt x="1197" y="169"/>
                    </a:lnTo>
                    <a:lnTo>
                      <a:pt x="1177" y="178"/>
                    </a:lnTo>
                    <a:lnTo>
                      <a:pt x="1153" y="182"/>
                    </a:lnTo>
                    <a:lnTo>
                      <a:pt x="1147" y="182"/>
                    </a:lnTo>
                    <a:lnTo>
                      <a:pt x="1141" y="182"/>
                    </a:lnTo>
                    <a:lnTo>
                      <a:pt x="1134" y="182"/>
                    </a:lnTo>
                    <a:lnTo>
                      <a:pt x="87" y="182"/>
                    </a:lnTo>
                    <a:lnTo>
                      <a:pt x="65" y="178"/>
                    </a:lnTo>
                    <a:lnTo>
                      <a:pt x="45" y="169"/>
                    </a:lnTo>
                    <a:lnTo>
                      <a:pt x="27" y="156"/>
                    </a:lnTo>
                    <a:lnTo>
                      <a:pt x="12" y="137"/>
                    </a:lnTo>
                    <a:lnTo>
                      <a:pt x="3" y="116"/>
                    </a:lnTo>
                    <a:lnTo>
                      <a:pt x="0" y="91"/>
                    </a:lnTo>
                    <a:lnTo>
                      <a:pt x="3" y="67"/>
                    </a:lnTo>
                    <a:lnTo>
                      <a:pt x="12" y="46"/>
                    </a:lnTo>
                    <a:lnTo>
                      <a:pt x="27" y="28"/>
                    </a:lnTo>
                    <a:lnTo>
                      <a:pt x="45" y="12"/>
                    </a:lnTo>
                    <a:lnTo>
                      <a:pt x="65" y="4"/>
                    </a:lnTo>
                    <a:lnTo>
                      <a:pt x="87" y="0"/>
                    </a:lnTo>
                    <a:lnTo>
                      <a:pt x="87" y="0"/>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grpSp>
        <p:nvGrpSpPr>
          <p:cNvPr id="18" name="Group 17"/>
          <p:cNvGrpSpPr/>
          <p:nvPr/>
        </p:nvGrpSpPr>
        <p:grpSpPr>
          <a:xfrm>
            <a:off x="3144454" y="1468392"/>
            <a:ext cx="2776042" cy="4338217"/>
            <a:chOff x="5365134" y="-2993496"/>
            <a:chExt cx="2776436" cy="4338832"/>
          </a:xfrm>
        </p:grpSpPr>
        <p:grpSp>
          <p:nvGrpSpPr>
            <p:cNvPr id="74" name="Group 73"/>
            <p:cNvGrpSpPr/>
            <p:nvPr/>
          </p:nvGrpSpPr>
          <p:grpSpPr>
            <a:xfrm>
              <a:off x="5365134" y="-2993496"/>
              <a:ext cx="2776436" cy="4338832"/>
              <a:chOff x="3146698" y="1467374"/>
              <a:chExt cx="2776436" cy="4338832"/>
            </a:xfrm>
          </p:grpSpPr>
          <p:sp>
            <p:nvSpPr>
              <p:cNvPr id="88" name="Text Placeholder 12"/>
              <p:cNvSpPr txBox="1">
                <a:spLocks/>
              </p:cNvSpPr>
              <p:nvPr/>
            </p:nvSpPr>
            <p:spPr>
              <a:xfrm>
                <a:off x="3146698" y="5128470"/>
                <a:ext cx="2776436" cy="677736"/>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1599" spc="0" dirty="0">
                    <a:solidFill>
                      <a:srgbClr val="FFFFFF"/>
                    </a:solidFill>
                    <a:latin typeface="Segoe UI" pitchFamily="34" charset="0"/>
                    <a:ea typeface="Segoe UI" pitchFamily="34" charset="0"/>
                    <a:cs typeface="Segoe UI" pitchFamily="34" charset="0"/>
                  </a:rPr>
                  <a:t>The </a:t>
                </a:r>
                <a:r>
                  <a:rPr lang="en-US" sz="1599" b="1" spc="0" dirty="0">
                    <a:solidFill>
                      <a:srgbClr val="FFFFFF"/>
                    </a:solidFill>
                    <a:latin typeface="Segoe UI" pitchFamily="34" charset="0"/>
                    <a:ea typeface="Segoe UI" pitchFamily="34" charset="0"/>
                    <a:cs typeface="Segoe UI" pitchFamily="34" charset="0"/>
                  </a:rPr>
                  <a:t>explosion of devices </a:t>
                </a:r>
                <a:r>
                  <a:rPr lang="en-US" sz="1599" spc="0" dirty="0">
                    <a:solidFill>
                      <a:srgbClr val="FFFFFF"/>
                    </a:solidFill>
                    <a:latin typeface="Segoe UI" pitchFamily="34" charset="0"/>
                    <a:ea typeface="Segoe UI" pitchFamily="34" charset="0"/>
                    <a:cs typeface="Segoe UI" pitchFamily="34" charset="0"/>
                  </a:rPr>
                  <a:t>is eroding the standards-based approach to corporate IT.</a:t>
                </a:r>
              </a:p>
            </p:txBody>
          </p:sp>
          <p:sp>
            <p:nvSpPr>
              <p:cNvPr id="92" name="Text Placeholder 12"/>
              <p:cNvSpPr txBox="1">
                <a:spLocks/>
              </p:cNvSpPr>
              <p:nvPr/>
            </p:nvSpPr>
            <p:spPr>
              <a:xfrm>
                <a:off x="3841788" y="4526994"/>
                <a:ext cx="1135845" cy="33906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00" b="1" spc="0" dirty="0">
                    <a:solidFill>
                      <a:srgbClr val="FFFFFF"/>
                    </a:solidFill>
                    <a:latin typeface="Segoe UI" pitchFamily="34" charset="0"/>
                    <a:ea typeface="Segoe UI" pitchFamily="34" charset="0"/>
                    <a:cs typeface="Segoe UI" pitchFamily="34" charset="0"/>
                  </a:rPr>
                  <a:t>Devices</a:t>
                </a:r>
                <a:endParaRPr lang="en-US" sz="2000" b="1" spc="0" dirty="0">
                  <a:solidFill>
                    <a:srgbClr val="FFFFFF"/>
                  </a:solidFill>
                  <a:latin typeface="Segoe UI" pitchFamily="34" charset="0"/>
                  <a:ea typeface="Segoe UI" pitchFamily="34" charset="0"/>
                  <a:cs typeface="Segoe UI" pitchFamily="34" charset="0"/>
                </a:endParaRPr>
              </a:p>
            </p:txBody>
          </p:sp>
          <p:sp>
            <p:nvSpPr>
              <p:cNvPr id="103" name="Freeform 24"/>
              <p:cNvSpPr>
                <a:spLocks noChangeAspect="1"/>
              </p:cNvSpPr>
              <p:nvPr/>
            </p:nvSpPr>
            <p:spPr bwMode="auto">
              <a:xfrm>
                <a:off x="3439936" y="2935259"/>
                <a:ext cx="45719" cy="83191"/>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04" name="Freeform 25"/>
              <p:cNvSpPr>
                <a:spLocks noChangeAspect="1"/>
              </p:cNvSpPr>
              <p:nvPr/>
            </p:nvSpPr>
            <p:spPr bwMode="auto">
              <a:xfrm>
                <a:off x="3493556" y="2473258"/>
                <a:ext cx="45719" cy="47540"/>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112" name="Freeform 26"/>
              <p:cNvSpPr>
                <a:spLocks noChangeAspect="1"/>
              </p:cNvSpPr>
              <p:nvPr/>
            </p:nvSpPr>
            <p:spPr bwMode="auto">
              <a:xfrm>
                <a:off x="3493556" y="2473258"/>
                <a:ext cx="45719" cy="47540"/>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pic>
            <p:nvPicPr>
              <p:cNvPr id="113" name="Picture 1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9892" y="3386378"/>
                <a:ext cx="1100452" cy="665773"/>
              </a:xfrm>
              <a:prstGeom prst="rect">
                <a:avLst/>
              </a:prstGeom>
            </p:spPr>
          </p:pic>
          <p:pic>
            <p:nvPicPr>
              <p:cNvPr id="114" name="Picture 1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11577" y="2472084"/>
                <a:ext cx="413701" cy="764697"/>
              </a:xfrm>
              <a:prstGeom prst="rect">
                <a:avLst/>
              </a:prstGeom>
            </p:spPr>
          </p:pic>
          <p:pic>
            <p:nvPicPr>
              <p:cNvPr id="115" name="Picture 1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02268" y="1467374"/>
                <a:ext cx="957572" cy="957572"/>
              </a:xfrm>
              <a:prstGeom prst="rect">
                <a:avLst/>
              </a:prstGeom>
            </p:spPr>
          </p:pic>
          <p:pic>
            <p:nvPicPr>
              <p:cNvPr id="116" name="Picture 1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72156" y="1527338"/>
                <a:ext cx="526825" cy="787613"/>
              </a:xfrm>
              <a:prstGeom prst="rect">
                <a:avLst/>
              </a:prstGeom>
            </p:spPr>
          </p:pic>
        </p:gr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62887" y="-1963723"/>
              <a:ext cx="875400" cy="749926"/>
            </a:xfrm>
            <a:prstGeom prst="rect">
              <a:avLst/>
            </a:prstGeom>
          </p:spPr>
        </p:pic>
      </p:grpSp>
      <p:sp>
        <p:nvSpPr>
          <p:cNvPr id="82" name="Title 5"/>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Today’s challenges</a:t>
            </a:r>
          </a:p>
        </p:txBody>
      </p:sp>
    </p:spTree>
    <p:extLst>
      <p:ext uri="{BB962C8B-B14F-4D97-AF65-F5344CB8AC3E}">
        <p14:creationId xmlns:p14="http://schemas.microsoft.com/office/powerpoint/2010/main" val="34165112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fade">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wipe(left)">
                                      <p:cBhvr>
                                        <p:cTn id="21" dur="500"/>
                                        <p:tgtEl>
                                          <p:spTgt spid="5"/>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22" presetClass="entr" presetSubtype="8" fill="hold" nodeType="click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wipe(left)">
                                      <p:cBhvr>
                                        <p:cTn id="30" dur="500"/>
                                        <p:tgtEl>
                                          <p:spTgt spid="10"/>
                                        </p:tgtEl>
                                      </p:cBhvr>
                                    </p:animEffec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p:cNvGrpSpPr/>
          <p:nvPr/>
        </p:nvGrpSpPr>
        <p:grpSpPr>
          <a:xfrm>
            <a:off x="453312" y="1581089"/>
            <a:ext cx="1887597" cy="2747407"/>
            <a:chOff x="452494" y="1580816"/>
            <a:chExt cx="1887864" cy="2747797"/>
          </a:xfrm>
        </p:grpSpPr>
        <p:sp>
          <p:nvSpPr>
            <p:cNvPr id="232" name="Text Placeholder 12"/>
            <p:cNvSpPr txBox="1">
              <a:spLocks/>
            </p:cNvSpPr>
            <p:nvPr/>
          </p:nvSpPr>
          <p:spPr>
            <a:xfrm>
              <a:off x="839756" y="3928041"/>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pitchFamily="34" charset="0"/>
                  <a:ea typeface="Segoe UI" pitchFamily="34" charset="0"/>
                  <a:cs typeface="Segoe UI" pitchFamily="34" charset="0"/>
                </a:rPr>
                <a:t>Users</a:t>
              </a:r>
            </a:p>
          </p:txBody>
        </p:sp>
        <p:sp>
          <p:nvSpPr>
            <p:cNvPr id="191" name="Rectangle 190"/>
            <p:cNvSpPr/>
            <p:nvPr/>
          </p:nvSpPr>
          <p:spPr bwMode="auto">
            <a:xfrm>
              <a:off x="452494"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18" name="Group 13"/>
            <p:cNvGrpSpPr>
              <a:grpSpLocks noChangeAspect="1"/>
            </p:cNvGrpSpPr>
            <p:nvPr/>
          </p:nvGrpSpPr>
          <p:grpSpPr bwMode="auto">
            <a:xfrm>
              <a:off x="657225" y="1822450"/>
              <a:ext cx="1330324" cy="1971675"/>
              <a:chOff x="414" y="1148"/>
              <a:chExt cx="838" cy="1242"/>
            </a:xfrm>
          </p:grpSpPr>
          <p:sp>
            <p:nvSpPr>
              <p:cNvPr id="19" name="AutoShape 12"/>
              <p:cNvSpPr>
                <a:spLocks noChangeAspect="1" noChangeArrowheads="1" noTextEdit="1"/>
              </p:cNvSpPr>
              <p:nvPr/>
            </p:nvSpPr>
            <p:spPr bwMode="auto">
              <a:xfrm>
                <a:off x="429" y="1148"/>
                <a:ext cx="823" cy="1242"/>
              </a:xfrm>
              <a:prstGeom prst="rect">
                <a:avLst/>
              </a:prstGeom>
              <a:blipFill dpi="0" rotWithShape="1">
                <a:blip r:embed="rId3">
                  <a:alphaModFix amt="95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20" name="Freeform 14"/>
              <p:cNvSpPr>
                <a:spLocks noEditPoints="1"/>
              </p:cNvSpPr>
              <p:nvPr/>
            </p:nvSpPr>
            <p:spPr bwMode="auto">
              <a:xfrm>
                <a:off x="414" y="1148"/>
                <a:ext cx="828" cy="1241"/>
              </a:xfrm>
              <a:custGeom>
                <a:avLst/>
                <a:gdLst>
                  <a:gd name="T0" fmla="*/ 1021 w 1295"/>
                  <a:gd name="T1" fmla="*/ 376 h 1946"/>
                  <a:gd name="T2" fmla="*/ 645 w 1295"/>
                  <a:gd name="T3" fmla="*/ 751 h 1946"/>
                  <a:gd name="T4" fmla="*/ 270 w 1295"/>
                  <a:gd name="T5" fmla="*/ 376 h 1946"/>
                  <a:gd name="T6" fmla="*/ 645 w 1295"/>
                  <a:gd name="T7" fmla="*/ 0 h 1946"/>
                  <a:gd name="T8" fmla="*/ 1021 w 1295"/>
                  <a:gd name="T9" fmla="*/ 376 h 1946"/>
                  <a:gd name="T10" fmla="*/ 645 w 1295"/>
                  <a:gd name="T11" fmla="*/ 922 h 1946"/>
                  <a:gd name="T12" fmla="*/ 589 w 1295"/>
                  <a:gd name="T13" fmla="*/ 815 h 1946"/>
                  <a:gd name="T14" fmla="*/ 327 w 1295"/>
                  <a:gd name="T15" fmla="*/ 668 h 1946"/>
                  <a:gd name="T16" fmla="*/ 4 w 1295"/>
                  <a:gd name="T17" fmla="*/ 1504 h 1946"/>
                  <a:gd name="T18" fmla="*/ 34 w 1295"/>
                  <a:gd name="T19" fmla="*/ 1717 h 1946"/>
                  <a:gd name="T20" fmla="*/ 209 w 1295"/>
                  <a:gd name="T21" fmla="*/ 1857 h 1946"/>
                  <a:gd name="T22" fmla="*/ 645 w 1295"/>
                  <a:gd name="T23" fmla="*/ 1946 h 1946"/>
                  <a:gd name="T24" fmla="*/ 650 w 1295"/>
                  <a:gd name="T25" fmla="*/ 1946 h 1946"/>
                  <a:gd name="T26" fmla="*/ 1086 w 1295"/>
                  <a:gd name="T27" fmla="*/ 1857 h 1946"/>
                  <a:gd name="T28" fmla="*/ 1261 w 1295"/>
                  <a:gd name="T29" fmla="*/ 1717 h 1946"/>
                  <a:gd name="T30" fmla="*/ 1291 w 1295"/>
                  <a:gd name="T31" fmla="*/ 1504 h 1946"/>
                  <a:gd name="T32" fmla="*/ 969 w 1295"/>
                  <a:gd name="T33" fmla="*/ 668 h 1946"/>
                  <a:gd name="T34" fmla="*/ 695 w 1295"/>
                  <a:gd name="T35" fmla="*/ 811 h 1946"/>
                  <a:gd name="T36" fmla="*/ 645 w 1295"/>
                  <a:gd name="T37" fmla="*/ 922 h 1946"/>
                  <a:gd name="T38" fmla="*/ 644 w 1295"/>
                  <a:gd name="T39" fmla="*/ 1592 h 1946"/>
                  <a:gd name="T40" fmla="*/ 571 w 1295"/>
                  <a:gd name="T41" fmla="*/ 1492 h 1946"/>
                  <a:gd name="T42" fmla="*/ 601 w 1295"/>
                  <a:gd name="T43" fmla="*/ 1038 h 1946"/>
                  <a:gd name="T44" fmla="*/ 644 w 1295"/>
                  <a:gd name="T45" fmla="*/ 983 h 1946"/>
                  <a:gd name="T46" fmla="*/ 689 w 1295"/>
                  <a:gd name="T47" fmla="*/ 1038 h 1946"/>
                  <a:gd name="T48" fmla="*/ 720 w 1295"/>
                  <a:gd name="T49" fmla="*/ 1492 h 1946"/>
                  <a:gd name="T50" fmla="*/ 644 w 1295"/>
                  <a:gd name="T51" fmla="*/ 1592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5" h="1946">
                    <a:moveTo>
                      <a:pt x="1021" y="376"/>
                    </a:moveTo>
                    <a:cubicBezTo>
                      <a:pt x="1021" y="583"/>
                      <a:pt x="853" y="751"/>
                      <a:pt x="645" y="751"/>
                    </a:cubicBezTo>
                    <a:cubicBezTo>
                      <a:pt x="438" y="751"/>
                      <a:pt x="270" y="583"/>
                      <a:pt x="270" y="376"/>
                    </a:cubicBezTo>
                    <a:cubicBezTo>
                      <a:pt x="270" y="168"/>
                      <a:pt x="438" y="0"/>
                      <a:pt x="645" y="0"/>
                    </a:cubicBezTo>
                    <a:cubicBezTo>
                      <a:pt x="853" y="0"/>
                      <a:pt x="1021" y="168"/>
                      <a:pt x="1021" y="376"/>
                    </a:cubicBezTo>
                    <a:close/>
                    <a:moveTo>
                      <a:pt x="645" y="922"/>
                    </a:moveTo>
                    <a:cubicBezTo>
                      <a:pt x="589" y="815"/>
                      <a:pt x="589" y="815"/>
                      <a:pt x="589" y="815"/>
                    </a:cubicBezTo>
                    <a:cubicBezTo>
                      <a:pt x="589" y="815"/>
                      <a:pt x="424" y="757"/>
                      <a:pt x="327" y="668"/>
                    </a:cubicBezTo>
                    <a:cubicBezTo>
                      <a:pt x="174" y="922"/>
                      <a:pt x="4" y="1196"/>
                      <a:pt x="4" y="1504"/>
                    </a:cubicBezTo>
                    <a:cubicBezTo>
                      <a:pt x="4" y="1574"/>
                      <a:pt x="0" y="1652"/>
                      <a:pt x="34" y="1717"/>
                    </a:cubicBezTo>
                    <a:cubicBezTo>
                      <a:pt x="73" y="1791"/>
                      <a:pt x="139" y="1821"/>
                      <a:pt x="209" y="1857"/>
                    </a:cubicBezTo>
                    <a:cubicBezTo>
                      <a:pt x="342" y="1926"/>
                      <a:pt x="498" y="1933"/>
                      <a:pt x="645" y="1946"/>
                    </a:cubicBezTo>
                    <a:cubicBezTo>
                      <a:pt x="650" y="1946"/>
                      <a:pt x="650" y="1946"/>
                      <a:pt x="650" y="1946"/>
                    </a:cubicBezTo>
                    <a:cubicBezTo>
                      <a:pt x="797" y="1933"/>
                      <a:pt x="953" y="1926"/>
                      <a:pt x="1086" y="1857"/>
                    </a:cubicBezTo>
                    <a:cubicBezTo>
                      <a:pt x="1156" y="1821"/>
                      <a:pt x="1223" y="1791"/>
                      <a:pt x="1261" y="1717"/>
                    </a:cubicBezTo>
                    <a:cubicBezTo>
                      <a:pt x="1295" y="1652"/>
                      <a:pt x="1291" y="1574"/>
                      <a:pt x="1291" y="1504"/>
                    </a:cubicBezTo>
                    <a:cubicBezTo>
                      <a:pt x="1291" y="1196"/>
                      <a:pt x="1122" y="922"/>
                      <a:pt x="969" y="668"/>
                    </a:cubicBezTo>
                    <a:cubicBezTo>
                      <a:pt x="872" y="757"/>
                      <a:pt x="821" y="775"/>
                      <a:pt x="695" y="811"/>
                    </a:cubicBezTo>
                    <a:lnTo>
                      <a:pt x="645" y="922"/>
                    </a:lnTo>
                    <a:close/>
                    <a:moveTo>
                      <a:pt x="644" y="1592"/>
                    </a:moveTo>
                    <a:cubicBezTo>
                      <a:pt x="571" y="1492"/>
                      <a:pt x="571" y="1492"/>
                      <a:pt x="571" y="1492"/>
                    </a:cubicBezTo>
                    <a:cubicBezTo>
                      <a:pt x="601" y="1038"/>
                      <a:pt x="601" y="1038"/>
                      <a:pt x="601" y="1038"/>
                    </a:cubicBezTo>
                    <a:cubicBezTo>
                      <a:pt x="644" y="983"/>
                      <a:pt x="644" y="983"/>
                      <a:pt x="644" y="983"/>
                    </a:cubicBezTo>
                    <a:cubicBezTo>
                      <a:pt x="689" y="1038"/>
                      <a:pt x="689" y="1038"/>
                      <a:pt x="689" y="1038"/>
                    </a:cubicBezTo>
                    <a:cubicBezTo>
                      <a:pt x="720" y="1492"/>
                      <a:pt x="720" y="1492"/>
                      <a:pt x="720" y="1492"/>
                    </a:cubicBezTo>
                    <a:lnTo>
                      <a:pt x="644" y="15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
        <p:nvSpPr>
          <p:cNvPr id="3" name="Slide Number Placeholder 2"/>
          <p:cNvSpPr>
            <a:spLocks noGrp="1"/>
          </p:cNvSpPr>
          <p:nvPr>
            <p:ph type="sldNum" sz="quarter" idx="4294967295"/>
          </p:nvPr>
        </p:nvSpPr>
        <p:spPr>
          <a:xfrm>
            <a:off x="11924492" y="6571814"/>
            <a:ext cx="511102" cy="125396"/>
          </a:xfrm>
          <a:prstGeom prst="rect">
            <a:avLst/>
          </a:prstGeom>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4</a:t>
            </a:fld>
            <a:endParaRPr dirty="0">
              <a:gradFill>
                <a:gsLst>
                  <a:gs pos="0">
                    <a:srgbClr val="505050"/>
                  </a:gs>
                  <a:gs pos="100000">
                    <a:srgbClr val="505050"/>
                  </a:gs>
                </a:gsLst>
                <a:lin ang="5400000" scaled="0"/>
              </a:gradFill>
            </a:endParaRPr>
          </a:p>
        </p:txBody>
      </p:sp>
      <p:sp>
        <p:nvSpPr>
          <p:cNvPr id="225" name="Text Placeholder 12"/>
          <p:cNvSpPr txBox="1">
            <a:spLocks/>
          </p:cNvSpPr>
          <p:nvPr/>
        </p:nvSpPr>
        <p:spPr>
          <a:xfrm>
            <a:off x="8915017" y="1621011"/>
            <a:ext cx="2917419" cy="130374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b="1" spc="0" dirty="0">
                <a:solidFill>
                  <a:srgbClr val="FFFFFF"/>
                </a:solidFill>
                <a:latin typeface="Segoe UI" pitchFamily="34" charset="0"/>
                <a:ea typeface="Segoe UI" pitchFamily="34" charset="0"/>
                <a:cs typeface="Segoe UI" pitchFamily="34" charset="0"/>
              </a:rPr>
              <a:t>Enable your end users</a:t>
            </a:r>
          </a:p>
          <a:p>
            <a:r>
              <a:rPr lang="en-US" sz="1599" spc="0" dirty="0">
                <a:solidFill>
                  <a:srgbClr val="FFFFFF"/>
                </a:solidFill>
                <a:latin typeface="Segoe UI"/>
                <a:ea typeface="Segoe UI" pitchFamily="34" charset="0"/>
                <a:cs typeface="Segoe UI" pitchFamily="34" charset="0"/>
              </a:rPr>
              <a:t>Allow users to work on the devices of their choice and provide consistent access to corporate resources.</a:t>
            </a:r>
          </a:p>
        </p:txBody>
      </p:sp>
      <p:sp>
        <p:nvSpPr>
          <p:cNvPr id="226" name="Text Placeholder 12"/>
          <p:cNvSpPr txBox="1">
            <a:spLocks/>
          </p:cNvSpPr>
          <p:nvPr/>
        </p:nvSpPr>
        <p:spPr>
          <a:xfrm>
            <a:off x="8915017" y="3318691"/>
            <a:ext cx="2918254" cy="1095300"/>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2000" b="1" spc="0" dirty="0">
                <a:solidFill>
                  <a:srgbClr val="FFFFFF"/>
                </a:solidFill>
                <a:latin typeface="Segoe UI" pitchFamily="34" charset="0"/>
                <a:ea typeface="Segoe UI" pitchFamily="34" charset="0"/>
                <a:cs typeface="Segoe UI" pitchFamily="34" charset="0"/>
              </a:rPr>
              <a:t>Unify your environment</a:t>
            </a:r>
          </a:p>
          <a:p>
            <a:pPr defTabSz="1243056">
              <a:spcAft>
                <a:spcPts val="1224"/>
              </a:spcAft>
              <a:defRPr/>
            </a:pPr>
            <a:r>
              <a:rPr lang="en-US" sz="1599" spc="0" dirty="0">
                <a:solidFill>
                  <a:srgbClr val="FFFFFF"/>
                </a:solidFill>
                <a:latin typeface="Segoe UI"/>
                <a:ea typeface="Segoe UI" pitchFamily="34" charset="0"/>
                <a:cs typeface="Segoe UI" pitchFamily="34" charset="0"/>
              </a:rPr>
              <a:t>Deliver a unified application and device management on-premises and in the cloud.</a:t>
            </a:r>
          </a:p>
        </p:txBody>
      </p:sp>
      <p:sp>
        <p:nvSpPr>
          <p:cNvPr id="227" name="Text Placeholder 12"/>
          <p:cNvSpPr txBox="1">
            <a:spLocks/>
          </p:cNvSpPr>
          <p:nvPr/>
        </p:nvSpPr>
        <p:spPr>
          <a:xfrm>
            <a:off x="8915017" y="4833271"/>
            <a:ext cx="2918254" cy="891225"/>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43056">
              <a:spcAft>
                <a:spcPts val="1224"/>
              </a:spcAft>
              <a:defRPr/>
            </a:pPr>
            <a:r>
              <a:rPr lang="en-US" sz="2000" b="1" spc="0" dirty="0">
                <a:solidFill>
                  <a:srgbClr val="FFFFFF"/>
                </a:solidFill>
                <a:latin typeface="Segoe UI"/>
              </a:rPr>
              <a:t>Protect your data</a:t>
            </a:r>
          </a:p>
          <a:p>
            <a:pPr defTabSz="1243056">
              <a:spcAft>
                <a:spcPts val="1224"/>
              </a:spcAft>
              <a:defRPr/>
            </a:pPr>
            <a:r>
              <a:rPr lang="en-US" sz="1599" spc="0" dirty="0">
                <a:solidFill>
                  <a:srgbClr val="FFFFFF"/>
                </a:solidFill>
                <a:latin typeface="Segoe UI"/>
              </a:rPr>
              <a:t>Help protect corporate information and manage risk.</a:t>
            </a:r>
          </a:p>
        </p:txBody>
      </p:sp>
      <p:sp>
        <p:nvSpPr>
          <p:cNvPr id="295" name="Freeform 12"/>
          <p:cNvSpPr>
            <a:spLocks noEditPoints="1"/>
          </p:cNvSpPr>
          <p:nvPr/>
        </p:nvSpPr>
        <p:spPr bwMode="auto">
          <a:xfrm>
            <a:off x="2908039" y="4480422"/>
            <a:ext cx="2862679" cy="1006992"/>
          </a:xfrm>
          <a:custGeom>
            <a:avLst/>
            <a:gdLst>
              <a:gd name="T0" fmla="*/ 341 w 1606"/>
              <a:gd name="T1" fmla="*/ 302 h 444"/>
              <a:gd name="T2" fmla="*/ 360 w 1606"/>
              <a:gd name="T3" fmla="*/ 276 h 444"/>
              <a:gd name="T4" fmla="*/ 388 w 1606"/>
              <a:gd name="T5" fmla="*/ 116 h 444"/>
              <a:gd name="T6" fmla="*/ 499 w 1606"/>
              <a:gd name="T7" fmla="*/ 50 h 444"/>
              <a:gd name="T8" fmla="*/ 263 w 1606"/>
              <a:gd name="T9" fmla="*/ 91 h 444"/>
              <a:gd name="T10" fmla="*/ 98 w 1606"/>
              <a:gd name="T11" fmla="*/ 187 h 444"/>
              <a:gd name="T12" fmla="*/ 61 w 1606"/>
              <a:gd name="T13" fmla="*/ 339 h 444"/>
              <a:gd name="T14" fmla="*/ 134 w 1606"/>
              <a:gd name="T15" fmla="*/ 365 h 444"/>
              <a:gd name="T16" fmla="*/ 405 w 1606"/>
              <a:gd name="T17" fmla="*/ 411 h 444"/>
              <a:gd name="T18" fmla="*/ 340 w 1606"/>
              <a:gd name="T19" fmla="*/ 323 h 444"/>
              <a:gd name="T20" fmla="*/ 463 w 1606"/>
              <a:gd name="T21" fmla="*/ 158 h 444"/>
              <a:gd name="T22" fmla="*/ 519 w 1606"/>
              <a:gd name="T23" fmla="*/ 168 h 444"/>
              <a:gd name="T24" fmla="*/ 519 w 1606"/>
              <a:gd name="T25" fmla="*/ 214 h 444"/>
              <a:gd name="T26" fmla="*/ 1500 w 1606"/>
              <a:gd name="T27" fmla="*/ 174 h 444"/>
              <a:gd name="T28" fmla="*/ 1216 w 1606"/>
              <a:gd name="T29" fmla="*/ 92 h 444"/>
              <a:gd name="T30" fmla="*/ 1046 w 1606"/>
              <a:gd name="T31" fmla="*/ 147 h 444"/>
              <a:gd name="T32" fmla="*/ 821 w 1606"/>
              <a:gd name="T33" fmla="*/ 110 h 444"/>
              <a:gd name="T34" fmla="*/ 408 w 1606"/>
              <a:gd name="T35" fmla="*/ 290 h 444"/>
              <a:gd name="T36" fmla="*/ 600 w 1606"/>
              <a:gd name="T37" fmla="*/ 394 h 444"/>
              <a:gd name="T38" fmla="*/ 823 w 1606"/>
              <a:gd name="T39" fmla="*/ 287 h 444"/>
              <a:gd name="T40" fmla="*/ 1014 w 1606"/>
              <a:gd name="T41" fmla="*/ 340 h 444"/>
              <a:gd name="T42" fmla="*/ 1087 w 1606"/>
              <a:gd name="T43" fmla="*/ 366 h 444"/>
              <a:gd name="T44" fmla="*/ 1358 w 1606"/>
              <a:gd name="T45" fmla="*/ 412 h 444"/>
              <a:gd name="T46" fmla="*/ 1502 w 1606"/>
              <a:gd name="T47" fmla="*/ 320 h 444"/>
              <a:gd name="T48" fmla="*/ 1528 w 1606"/>
              <a:gd name="T49" fmla="*/ 169 h 444"/>
              <a:gd name="T50" fmla="*/ 448 w 1606"/>
              <a:gd name="T51" fmla="*/ 239 h 444"/>
              <a:gd name="T52" fmla="*/ 448 w 1606"/>
              <a:gd name="T53" fmla="*/ 219 h 444"/>
              <a:gd name="T54" fmla="*/ 416 w 1606"/>
              <a:gd name="T55" fmla="*/ 171 h 444"/>
              <a:gd name="T56" fmla="*/ 417 w 1606"/>
              <a:gd name="T57" fmla="*/ 139 h 444"/>
              <a:gd name="T58" fmla="*/ 625 w 1606"/>
              <a:gd name="T59" fmla="*/ 58 h 444"/>
              <a:gd name="T60" fmla="*/ 625 w 1606"/>
              <a:gd name="T61" fmla="*/ 117 h 444"/>
              <a:gd name="T62" fmla="*/ 539 w 1606"/>
              <a:gd name="T63" fmla="*/ 212 h 444"/>
              <a:gd name="T64" fmla="*/ 539 w 1606"/>
              <a:gd name="T65" fmla="*/ 239 h 444"/>
              <a:gd name="T66" fmla="*/ 625 w 1606"/>
              <a:gd name="T67" fmla="*/ 339 h 444"/>
              <a:gd name="T68" fmla="*/ 462 w 1606"/>
              <a:gd name="T69" fmla="*/ 239 h 444"/>
              <a:gd name="T70" fmla="*/ 414 w 1606"/>
              <a:gd name="T71" fmla="*/ 273 h 444"/>
              <a:gd name="T72" fmla="*/ 471 w 1606"/>
              <a:gd name="T73" fmla="*/ 301 h 444"/>
              <a:gd name="T74" fmla="*/ 515 w 1606"/>
              <a:gd name="T75" fmla="*/ 249 h 444"/>
              <a:gd name="T76" fmla="*/ 498 w 1606"/>
              <a:gd name="T77" fmla="*/ 305 h 444"/>
              <a:gd name="T78" fmla="*/ 599 w 1606"/>
              <a:gd name="T79" fmla="*/ 379 h 444"/>
              <a:gd name="T80" fmla="*/ 415 w 1606"/>
              <a:gd name="T81" fmla="*/ 294 h 444"/>
              <a:gd name="T82" fmla="*/ 726 w 1606"/>
              <a:gd name="T83" fmla="*/ 342 h 444"/>
              <a:gd name="T84" fmla="*/ 1137 w 1606"/>
              <a:gd name="T85" fmla="*/ 256 h 444"/>
              <a:gd name="T86" fmla="*/ 771 w 1606"/>
              <a:gd name="T87" fmla="*/ 256 h 444"/>
              <a:gd name="T88" fmla="*/ 771 w 1606"/>
              <a:gd name="T89" fmla="*/ 127 h 444"/>
              <a:gd name="T90" fmla="*/ 1114 w 1606"/>
              <a:gd name="T91" fmla="*/ 168 h 444"/>
              <a:gd name="T92" fmla="*/ 1222 w 1606"/>
              <a:gd name="T93" fmla="*/ 212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06" h="444">
                <a:moveTo>
                  <a:pt x="340" y="323"/>
                </a:moveTo>
                <a:cubicBezTo>
                  <a:pt x="341" y="307"/>
                  <a:pt x="341" y="307"/>
                  <a:pt x="341" y="307"/>
                </a:cubicBezTo>
                <a:cubicBezTo>
                  <a:pt x="341" y="302"/>
                  <a:pt x="341" y="302"/>
                  <a:pt x="341" y="302"/>
                </a:cubicBezTo>
                <a:cubicBezTo>
                  <a:pt x="341" y="298"/>
                  <a:pt x="341" y="298"/>
                  <a:pt x="341" y="298"/>
                </a:cubicBezTo>
                <a:cubicBezTo>
                  <a:pt x="342" y="280"/>
                  <a:pt x="342" y="280"/>
                  <a:pt x="342" y="280"/>
                </a:cubicBezTo>
                <a:cubicBezTo>
                  <a:pt x="360" y="276"/>
                  <a:pt x="360" y="276"/>
                  <a:pt x="360" y="276"/>
                </a:cubicBezTo>
                <a:cubicBezTo>
                  <a:pt x="368" y="275"/>
                  <a:pt x="377" y="273"/>
                  <a:pt x="385" y="271"/>
                </a:cubicBezTo>
                <a:cubicBezTo>
                  <a:pt x="385" y="254"/>
                  <a:pt x="386" y="226"/>
                  <a:pt x="386" y="201"/>
                </a:cubicBezTo>
                <a:cubicBezTo>
                  <a:pt x="388" y="137"/>
                  <a:pt x="388" y="117"/>
                  <a:pt x="388" y="116"/>
                </a:cubicBezTo>
                <a:cubicBezTo>
                  <a:pt x="389" y="102"/>
                  <a:pt x="389" y="102"/>
                  <a:pt x="389" y="102"/>
                </a:cubicBezTo>
                <a:cubicBezTo>
                  <a:pt x="401" y="96"/>
                  <a:pt x="401" y="96"/>
                  <a:pt x="401" y="96"/>
                </a:cubicBezTo>
                <a:cubicBezTo>
                  <a:pt x="499" y="50"/>
                  <a:pt x="499" y="50"/>
                  <a:pt x="499" y="50"/>
                </a:cubicBezTo>
                <a:cubicBezTo>
                  <a:pt x="466" y="20"/>
                  <a:pt x="420" y="4"/>
                  <a:pt x="373" y="12"/>
                </a:cubicBezTo>
                <a:cubicBezTo>
                  <a:pt x="324" y="20"/>
                  <a:pt x="284" y="50"/>
                  <a:pt x="263" y="91"/>
                </a:cubicBezTo>
                <a:cubicBezTo>
                  <a:pt x="263" y="91"/>
                  <a:pt x="263" y="91"/>
                  <a:pt x="263" y="91"/>
                </a:cubicBezTo>
                <a:cubicBezTo>
                  <a:pt x="247" y="72"/>
                  <a:pt x="224" y="59"/>
                  <a:pt x="197" y="57"/>
                </a:cubicBezTo>
                <a:cubicBezTo>
                  <a:pt x="144" y="53"/>
                  <a:pt x="97" y="92"/>
                  <a:pt x="92" y="146"/>
                </a:cubicBezTo>
                <a:cubicBezTo>
                  <a:pt x="91" y="160"/>
                  <a:pt x="93" y="174"/>
                  <a:pt x="98" y="187"/>
                </a:cubicBezTo>
                <a:cubicBezTo>
                  <a:pt x="98" y="187"/>
                  <a:pt x="98" y="187"/>
                  <a:pt x="98" y="187"/>
                </a:cubicBezTo>
                <a:cubicBezTo>
                  <a:pt x="63" y="183"/>
                  <a:pt x="28" y="203"/>
                  <a:pt x="15" y="237"/>
                </a:cubicBezTo>
                <a:cubicBezTo>
                  <a:pt x="0" y="278"/>
                  <a:pt x="20" y="324"/>
                  <a:pt x="61" y="339"/>
                </a:cubicBezTo>
                <a:cubicBezTo>
                  <a:pt x="82" y="348"/>
                  <a:pt x="105" y="346"/>
                  <a:pt x="124" y="337"/>
                </a:cubicBezTo>
                <a:cubicBezTo>
                  <a:pt x="124" y="336"/>
                  <a:pt x="124" y="336"/>
                  <a:pt x="124" y="336"/>
                </a:cubicBezTo>
                <a:cubicBezTo>
                  <a:pt x="126" y="346"/>
                  <a:pt x="129" y="356"/>
                  <a:pt x="134" y="365"/>
                </a:cubicBezTo>
                <a:cubicBezTo>
                  <a:pt x="161" y="420"/>
                  <a:pt x="229" y="443"/>
                  <a:pt x="284" y="415"/>
                </a:cubicBezTo>
                <a:cubicBezTo>
                  <a:pt x="300" y="407"/>
                  <a:pt x="313" y="396"/>
                  <a:pt x="323" y="383"/>
                </a:cubicBezTo>
                <a:cubicBezTo>
                  <a:pt x="341" y="409"/>
                  <a:pt x="374" y="421"/>
                  <a:pt x="405" y="411"/>
                </a:cubicBezTo>
                <a:cubicBezTo>
                  <a:pt x="428" y="404"/>
                  <a:pt x="445" y="386"/>
                  <a:pt x="452" y="365"/>
                </a:cubicBezTo>
                <a:cubicBezTo>
                  <a:pt x="420" y="353"/>
                  <a:pt x="388" y="341"/>
                  <a:pt x="356" y="329"/>
                </a:cubicBezTo>
                <a:lnTo>
                  <a:pt x="340" y="323"/>
                </a:lnTo>
                <a:close/>
                <a:moveTo>
                  <a:pt x="519" y="99"/>
                </a:moveTo>
                <a:cubicBezTo>
                  <a:pt x="464" y="121"/>
                  <a:pt x="464" y="121"/>
                  <a:pt x="464" y="121"/>
                </a:cubicBezTo>
                <a:cubicBezTo>
                  <a:pt x="463" y="158"/>
                  <a:pt x="463" y="158"/>
                  <a:pt x="463" y="158"/>
                </a:cubicBezTo>
                <a:cubicBezTo>
                  <a:pt x="519" y="144"/>
                  <a:pt x="519" y="144"/>
                  <a:pt x="519" y="144"/>
                </a:cubicBezTo>
                <a:lnTo>
                  <a:pt x="519" y="99"/>
                </a:lnTo>
                <a:close/>
                <a:moveTo>
                  <a:pt x="519" y="168"/>
                </a:moveTo>
                <a:cubicBezTo>
                  <a:pt x="463" y="180"/>
                  <a:pt x="463" y="180"/>
                  <a:pt x="463" y="180"/>
                </a:cubicBezTo>
                <a:cubicBezTo>
                  <a:pt x="463" y="218"/>
                  <a:pt x="463" y="218"/>
                  <a:pt x="463" y="218"/>
                </a:cubicBezTo>
                <a:cubicBezTo>
                  <a:pt x="519" y="214"/>
                  <a:pt x="519" y="214"/>
                  <a:pt x="519" y="214"/>
                </a:cubicBezTo>
                <a:lnTo>
                  <a:pt x="519" y="168"/>
                </a:lnTo>
                <a:close/>
                <a:moveTo>
                  <a:pt x="1528" y="169"/>
                </a:moveTo>
                <a:cubicBezTo>
                  <a:pt x="1518" y="169"/>
                  <a:pt x="1509" y="170"/>
                  <a:pt x="1500" y="174"/>
                </a:cubicBezTo>
                <a:cubicBezTo>
                  <a:pt x="1501" y="162"/>
                  <a:pt x="1501" y="150"/>
                  <a:pt x="1499" y="138"/>
                </a:cubicBezTo>
                <a:cubicBezTo>
                  <a:pt x="1486" y="56"/>
                  <a:pt x="1409" y="0"/>
                  <a:pt x="1326" y="13"/>
                </a:cubicBezTo>
                <a:cubicBezTo>
                  <a:pt x="1277" y="21"/>
                  <a:pt x="1238" y="51"/>
                  <a:pt x="1216" y="92"/>
                </a:cubicBezTo>
                <a:cubicBezTo>
                  <a:pt x="1216" y="92"/>
                  <a:pt x="1216" y="92"/>
                  <a:pt x="1216" y="92"/>
                </a:cubicBezTo>
                <a:cubicBezTo>
                  <a:pt x="1200" y="73"/>
                  <a:pt x="1177" y="60"/>
                  <a:pt x="1151" y="58"/>
                </a:cubicBezTo>
                <a:cubicBezTo>
                  <a:pt x="1097" y="54"/>
                  <a:pt x="1050" y="93"/>
                  <a:pt x="1046" y="147"/>
                </a:cubicBezTo>
                <a:cubicBezTo>
                  <a:pt x="1046" y="149"/>
                  <a:pt x="1046" y="152"/>
                  <a:pt x="1046" y="155"/>
                </a:cubicBezTo>
                <a:cubicBezTo>
                  <a:pt x="821" y="155"/>
                  <a:pt x="821" y="155"/>
                  <a:pt x="821" y="155"/>
                </a:cubicBezTo>
                <a:cubicBezTo>
                  <a:pt x="821" y="135"/>
                  <a:pt x="821" y="118"/>
                  <a:pt x="821" y="110"/>
                </a:cubicBezTo>
                <a:cubicBezTo>
                  <a:pt x="625" y="15"/>
                  <a:pt x="625" y="15"/>
                  <a:pt x="625" y="15"/>
                </a:cubicBezTo>
                <a:cubicBezTo>
                  <a:pt x="411" y="117"/>
                  <a:pt x="411" y="117"/>
                  <a:pt x="411" y="117"/>
                </a:cubicBezTo>
                <a:cubicBezTo>
                  <a:pt x="411" y="120"/>
                  <a:pt x="408" y="287"/>
                  <a:pt x="408" y="290"/>
                </a:cubicBezTo>
                <a:cubicBezTo>
                  <a:pt x="393" y="293"/>
                  <a:pt x="379" y="296"/>
                  <a:pt x="364" y="299"/>
                </a:cubicBezTo>
                <a:cubicBezTo>
                  <a:pt x="364" y="302"/>
                  <a:pt x="364" y="305"/>
                  <a:pt x="364" y="308"/>
                </a:cubicBezTo>
                <a:cubicBezTo>
                  <a:pt x="442" y="337"/>
                  <a:pt x="518" y="365"/>
                  <a:pt x="600" y="394"/>
                </a:cubicBezTo>
                <a:cubicBezTo>
                  <a:pt x="682" y="367"/>
                  <a:pt x="743" y="345"/>
                  <a:pt x="841" y="312"/>
                </a:cubicBezTo>
                <a:cubicBezTo>
                  <a:pt x="840" y="305"/>
                  <a:pt x="839" y="298"/>
                  <a:pt x="838" y="291"/>
                </a:cubicBezTo>
                <a:cubicBezTo>
                  <a:pt x="833" y="290"/>
                  <a:pt x="828" y="289"/>
                  <a:pt x="823" y="287"/>
                </a:cubicBezTo>
                <a:cubicBezTo>
                  <a:pt x="823" y="285"/>
                  <a:pt x="823" y="279"/>
                  <a:pt x="823" y="269"/>
                </a:cubicBezTo>
                <a:cubicBezTo>
                  <a:pt x="964" y="269"/>
                  <a:pt x="964" y="269"/>
                  <a:pt x="964" y="269"/>
                </a:cubicBezTo>
                <a:cubicBezTo>
                  <a:pt x="965" y="300"/>
                  <a:pt x="984" y="328"/>
                  <a:pt x="1014" y="340"/>
                </a:cubicBezTo>
                <a:cubicBezTo>
                  <a:pt x="1036" y="348"/>
                  <a:pt x="1059" y="347"/>
                  <a:pt x="1078" y="337"/>
                </a:cubicBezTo>
                <a:cubicBezTo>
                  <a:pt x="1078" y="337"/>
                  <a:pt x="1078" y="337"/>
                  <a:pt x="1078" y="337"/>
                </a:cubicBezTo>
                <a:cubicBezTo>
                  <a:pt x="1080" y="347"/>
                  <a:pt x="1083" y="357"/>
                  <a:pt x="1087" y="366"/>
                </a:cubicBezTo>
                <a:cubicBezTo>
                  <a:pt x="1115" y="421"/>
                  <a:pt x="1182" y="444"/>
                  <a:pt x="1238" y="416"/>
                </a:cubicBezTo>
                <a:cubicBezTo>
                  <a:pt x="1253" y="408"/>
                  <a:pt x="1266" y="397"/>
                  <a:pt x="1276" y="384"/>
                </a:cubicBezTo>
                <a:cubicBezTo>
                  <a:pt x="1294" y="410"/>
                  <a:pt x="1327" y="422"/>
                  <a:pt x="1358" y="412"/>
                </a:cubicBezTo>
                <a:cubicBezTo>
                  <a:pt x="1385" y="404"/>
                  <a:pt x="1403" y="382"/>
                  <a:pt x="1408" y="357"/>
                </a:cubicBezTo>
                <a:cubicBezTo>
                  <a:pt x="1427" y="373"/>
                  <a:pt x="1454" y="375"/>
                  <a:pt x="1476" y="362"/>
                </a:cubicBezTo>
                <a:cubicBezTo>
                  <a:pt x="1491" y="352"/>
                  <a:pt x="1500" y="337"/>
                  <a:pt x="1502" y="320"/>
                </a:cubicBezTo>
                <a:cubicBezTo>
                  <a:pt x="1510" y="323"/>
                  <a:pt x="1519" y="325"/>
                  <a:pt x="1528" y="325"/>
                </a:cubicBezTo>
                <a:cubicBezTo>
                  <a:pt x="1571" y="325"/>
                  <a:pt x="1606" y="290"/>
                  <a:pt x="1606" y="247"/>
                </a:cubicBezTo>
                <a:cubicBezTo>
                  <a:pt x="1606" y="204"/>
                  <a:pt x="1571" y="169"/>
                  <a:pt x="1528" y="169"/>
                </a:cubicBezTo>
                <a:close/>
                <a:moveTo>
                  <a:pt x="414" y="273"/>
                </a:moveTo>
                <a:cubicBezTo>
                  <a:pt x="447" y="278"/>
                  <a:pt x="447" y="278"/>
                  <a:pt x="447" y="278"/>
                </a:cubicBezTo>
                <a:cubicBezTo>
                  <a:pt x="448" y="239"/>
                  <a:pt x="448" y="239"/>
                  <a:pt x="448" y="239"/>
                </a:cubicBezTo>
                <a:cubicBezTo>
                  <a:pt x="414" y="239"/>
                  <a:pt x="414" y="239"/>
                  <a:pt x="414" y="239"/>
                </a:cubicBezTo>
                <a:cubicBezTo>
                  <a:pt x="415" y="232"/>
                  <a:pt x="415" y="229"/>
                  <a:pt x="415" y="222"/>
                </a:cubicBezTo>
                <a:cubicBezTo>
                  <a:pt x="448" y="219"/>
                  <a:pt x="448" y="219"/>
                  <a:pt x="448" y="219"/>
                </a:cubicBezTo>
                <a:cubicBezTo>
                  <a:pt x="449" y="183"/>
                  <a:pt x="449" y="183"/>
                  <a:pt x="449" y="183"/>
                </a:cubicBezTo>
                <a:cubicBezTo>
                  <a:pt x="416" y="190"/>
                  <a:pt x="416" y="190"/>
                  <a:pt x="416" y="190"/>
                </a:cubicBezTo>
                <a:cubicBezTo>
                  <a:pt x="416" y="184"/>
                  <a:pt x="416" y="176"/>
                  <a:pt x="416" y="171"/>
                </a:cubicBezTo>
                <a:cubicBezTo>
                  <a:pt x="449" y="162"/>
                  <a:pt x="449" y="162"/>
                  <a:pt x="449" y="162"/>
                </a:cubicBezTo>
                <a:cubicBezTo>
                  <a:pt x="449" y="126"/>
                  <a:pt x="449" y="126"/>
                  <a:pt x="449" y="126"/>
                </a:cubicBezTo>
                <a:cubicBezTo>
                  <a:pt x="417" y="139"/>
                  <a:pt x="417" y="139"/>
                  <a:pt x="417" y="139"/>
                </a:cubicBezTo>
                <a:cubicBezTo>
                  <a:pt x="417" y="129"/>
                  <a:pt x="417" y="122"/>
                  <a:pt x="417" y="121"/>
                </a:cubicBezTo>
                <a:cubicBezTo>
                  <a:pt x="625" y="25"/>
                  <a:pt x="625" y="25"/>
                  <a:pt x="625" y="25"/>
                </a:cubicBezTo>
                <a:cubicBezTo>
                  <a:pt x="625" y="58"/>
                  <a:pt x="625" y="58"/>
                  <a:pt x="625" y="58"/>
                </a:cubicBezTo>
                <a:cubicBezTo>
                  <a:pt x="539" y="91"/>
                  <a:pt x="539" y="91"/>
                  <a:pt x="539" y="91"/>
                </a:cubicBezTo>
                <a:cubicBezTo>
                  <a:pt x="539" y="138"/>
                  <a:pt x="539" y="138"/>
                  <a:pt x="539" y="138"/>
                </a:cubicBezTo>
                <a:cubicBezTo>
                  <a:pt x="625" y="117"/>
                  <a:pt x="625" y="117"/>
                  <a:pt x="625" y="117"/>
                </a:cubicBezTo>
                <a:cubicBezTo>
                  <a:pt x="625" y="147"/>
                  <a:pt x="625" y="147"/>
                  <a:pt x="625" y="147"/>
                </a:cubicBezTo>
                <a:cubicBezTo>
                  <a:pt x="625" y="147"/>
                  <a:pt x="539" y="164"/>
                  <a:pt x="539" y="164"/>
                </a:cubicBezTo>
                <a:cubicBezTo>
                  <a:pt x="539" y="212"/>
                  <a:pt x="539" y="212"/>
                  <a:pt x="539" y="212"/>
                </a:cubicBezTo>
                <a:cubicBezTo>
                  <a:pt x="539" y="212"/>
                  <a:pt x="624" y="206"/>
                  <a:pt x="625" y="206"/>
                </a:cubicBezTo>
                <a:cubicBezTo>
                  <a:pt x="625" y="240"/>
                  <a:pt x="625" y="240"/>
                  <a:pt x="625" y="240"/>
                </a:cubicBezTo>
                <a:cubicBezTo>
                  <a:pt x="539" y="239"/>
                  <a:pt x="539" y="239"/>
                  <a:pt x="539" y="239"/>
                </a:cubicBezTo>
                <a:cubicBezTo>
                  <a:pt x="539" y="292"/>
                  <a:pt x="539" y="292"/>
                  <a:pt x="539" y="292"/>
                </a:cubicBezTo>
                <a:cubicBezTo>
                  <a:pt x="625" y="306"/>
                  <a:pt x="625" y="306"/>
                  <a:pt x="625" y="306"/>
                </a:cubicBezTo>
                <a:cubicBezTo>
                  <a:pt x="625" y="339"/>
                  <a:pt x="625" y="339"/>
                  <a:pt x="625" y="339"/>
                </a:cubicBezTo>
                <a:cubicBezTo>
                  <a:pt x="625" y="339"/>
                  <a:pt x="568" y="326"/>
                  <a:pt x="519" y="315"/>
                </a:cubicBezTo>
                <a:cubicBezTo>
                  <a:pt x="519" y="239"/>
                  <a:pt x="519" y="239"/>
                  <a:pt x="519" y="239"/>
                </a:cubicBezTo>
                <a:cubicBezTo>
                  <a:pt x="462" y="239"/>
                  <a:pt x="462" y="239"/>
                  <a:pt x="462" y="239"/>
                </a:cubicBezTo>
                <a:cubicBezTo>
                  <a:pt x="462" y="301"/>
                  <a:pt x="462" y="301"/>
                  <a:pt x="462" y="301"/>
                </a:cubicBezTo>
                <a:cubicBezTo>
                  <a:pt x="437" y="295"/>
                  <a:pt x="419" y="291"/>
                  <a:pt x="413" y="289"/>
                </a:cubicBezTo>
                <a:cubicBezTo>
                  <a:pt x="413" y="288"/>
                  <a:pt x="414" y="282"/>
                  <a:pt x="414" y="273"/>
                </a:cubicBezTo>
                <a:close/>
                <a:moveTo>
                  <a:pt x="476" y="249"/>
                </a:moveTo>
                <a:cubicBezTo>
                  <a:pt x="475" y="300"/>
                  <a:pt x="475" y="300"/>
                  <a:pt x="475" y="300"/>
                </a:cubicBezTo>
                <a:cubicBezTo>
                  <a:pt x="471" y="301"/>
                  <a:pt x="471" y="301"/>
                  <a:pt x="471" y="301"/>
                </a:cubicBezTo>
                <a:cubicBezTo>
                  <a:pt x="472" y="246"/>
                  <a:pt x="472" y="246"/>
                  <a:pt x="472" y="246"/>
                </a:cubicBezTo>
                <a:cubicBezTo>
                  <a:pt x="515" y="246"/>
                  <a:pt x="515" y="246"/>
                  <a:pt x="515" y="246"/>
                </a:cubicBezTo>
                <a:cubicBezTo>
                  <a:pt x="515" y="249"/>
                  <a:pt x="515" y="249"/>
                  <a:pt x="515" y="249"/>
                </a:cubicBezTo>
                <a:cubicBezTo>
                  <a:pt x="501" y="249"/>
                  <a:pt x="501" y="249"/>
                  <a:pt x="501" y="249"/>
                </a:cubicBezTo>
                <a:cubicBezTo>
                  <a:pt x="501" y="305"/>
                  <a:pt x="501" y="305"/>
                  <a:pt x="501" y="305"/>
                </a:cubicBezTo>
                <a:cubicBezTo>
                  <a:pt x="498" y="305"/>
                  <a:pt x="498" y="305"/>
                  <a:pt x="498" y="305"/>
                </a:cubicBezTo>
                <a:cubicBezTo>
                  <a:pt x="498" y="249"/>
                  <a:pt x="498" y="249"/>
                  <a:pt x="498" y="249"/>
                </a:cubicBezTo>
                <a:lnTo>
                  <a:pt x="476" y="249"/>
                </a:lnTo>
                <a:close/>
                <a:moveTo>
                  <a:pt x="599" y="379"/>
                </a:moveTo>
                <a:cubicBezTo>
                  <a:pt x="565" y="368"/>
                  <a:pt x="389" y="308"/>
                  <a:pt x="371" y="301"/>
                </a:cubicBezTo>
                <a:cubicBezTo>
                  <a:pt x="384" y="299"/>
                  <a:pt x="397" y="296"/>
                  <a:pt x="410" y="293"/>
                </a:cubicBezTo>
                <a:cubicBezTo>
                  <a:pt x="412" y="294"/>
                  <a:pt x="413" y="294"/>
                  <a:pt x="415" y="294"/>
                </a:cubicBezTo>
                <a:cubicBezTo>
                  <a:pt x="437" y="300"/>
                  <a:pt x="630" y="346"/>
                  <a:pt x="630" y="346"/>
                </a:cubicBezTo>
                <a:cubicBezTo>
                  <a:pt x="630" y="346"/>
                  <a:pt x="630" y="346"/>
                  <a:pt x="630" y="346"/>
                </a:cubicBezTo>
                <a:cubicBezTo>
                  <a:pt x="726" y="342"/>
                  <a:pt x="726" y="342"/>
                  <a:pt x="726" y="342"/>
                </a:cubicBezTo>
                <a:cubicBezTo>
                  <a:pt x="681" y="355"/>
                  <a:pt x="624" y="372"/>
                  <a:pt x="599" y="379"/>
                </a:cubicBezTo>
                <a:close/>
                <a:moveTo>
                  <a:pt x="1137" y="297"/>
                </a:moveTo>
                <a:cubicBezTo>
                  <a:pt x="1137" y="256"/>
                  <a:pt x="1137" y="256"/>
                  <a:pt x="1137" y="256"/>
                </a:cubicBezTo>
                <a:cubicBezTo>
                  <a:pt x="794" y="256"/>
                  <a:pt x="794" y="256"/>
                  <a:pt x="794" y="256"/>
                </a:cubicBezTo>
                <a:cubicBezTo>
                  <a:pt x="794" y="256"/>
                  <a:pt x="794" y="256"/>
                  <a:pt x="794" y="256"/>
                </a:cubicBezTo>
                <a:cubicBezTo>
                  <a:pt x="771" y="256"/>
                  <a:pt x="771" y="256"/>
                  <a:pt x="771" y="256"/>
                </a:cubicBezTo>
                <a:cubicBezTo>
                  <a:pt x="771" y="297"/>
                  <a:pt x="771" y="297"/>
                  <a:pt x="771" y="297"/>
                </a:cubicBezTo>
                <a:cubicBezTo>
                  <a:pt x="686" y="212"/>
                  <a:pt x="686" y="212"/>
                  <a:pt x="686" y="212"/>
                </a:cubicBezTo>
                <a:cubicBezTo>
                  <a:pt x="771" y="127"/>
                  <a:pt x="771" y="127"/>
                  <a:pt x="771" y="127"/>
                </a:cubicBezTo>
                <a:cubicBezTo>
                  <a:pt x="771" y="168"/>
                  <a:pt x="771" y="168"/>
                  <a:pt x="771" y="168"/>
                </a:cubicBezTo>
                <a:cubicBezTo>
                  <a:pt x="1114" y="168"/>
                  <a:pt x="1114" y="168"/>
                  <a:pt x="1114" y="168"/>
                </a:cubicBezTo>
                <a:cubicBezTo>
                  <a:pt x="1114" y="168"/>
                  <a:pt x="1114" y="168"/>
                  <a:pt x="1114" y="168"/>
                </a:cubicBezTo>
                <a:cubicBezTo>
                  <a:pt x="1137" y="168"/>
                  <a:pt x="1137" y="168"/>
                  <a:pt x="1137" y="168"/>
                </a:cubicBezTo>
                <a:cubicBezTo>
                  <a:pt x="1137" y="127"/>
                  <a:pt x="1137" y="127"/>
                  <a:pt x="1137" y="127"/>
                </a:cubicBezTo>
                <a:cubicBezTo>
                  <a:pt x="1222" y="212"/>
                  <a:pt x="1222" y="212"/>
                  <a:pt x="1222" y="212"/>
                </a:cubicBezTo>
                <a:lnTo>
                  <a:pt x="1137" y="297"/>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296" name="Text Placeholder 12"/>
          <p:cNvSpPr txBox="1">
            <a:spLocks/>
          </p:cNvSpPr>
          <p:nvPr/>
        </p:nvSpPr>
        <p:spPr>
          <a:xfrm>
            <a:off x="2470701" y="5498841"/>
            <a:ext cx="3847602" cy="276999"/>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spc="0" dirty="0">
                <a:solidFill>
                  <a:srgbClr val="FFFFFF"/>
                </a:solidFill>
                <a:latin typeface="Segoe UI"/>
              </a:rPr>
              <a:t>Management.  Access.  Protection.</a:t>
            </a:r>
          </a:p>
        </p:txBody>
      </p:sp>
      <p:sp>
        <p:nvSpPr>
          <p:cNvPr id="117" name="Freeform 24"/>
          <p:cNvSpPr>
            <a:spLocks/>
          </p:cNvSpPr>
          <p:nvPr/>
        </p:nvSpPr>
        <p:spPr bwMode="auto">
          <a:xfrm>
            <a:off x="2773067" y="2893017"/>
            <a:ext cx="10927" cy="18143"/>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30" name="Freeform 25"/>
          <p:cNvSpPr>
            <a:spLocks/>
          </p:cNvSpPr>
          <p:nvPr/>
        </p:nvSpPr>
        <p:spPr bwMode="auto">
          <a:xfrm>
            <a:off x="2805849" y="2584582"/>
            <a:ext cx="15025" cy="14256"/>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48" name="Freeform 26"/>
          <p:cNvSpPr>
            <a:spLocks/>
          </p:cNvSpPr>
          <p:nvPr/>
        </p:nvSpPr>
        <p:spPr bwMode="auto">
          <a:xfrm>
            <a:off x="2805849" y="2584582"/>
            <a:ext cx="15025" cy="14256"/>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88" name="Freeform 42"/>
          <p:cNvSpPr>
            <a:spLocks/>
          </p:cNvSpPr>
          <p:nvPr/>
        </p:nvSpPr>
        <p:spPr bwMode="auto">
          <a:xfrm>
            <a:off x="3451420" y="3240695"/>
            <a:ext cx="20866" cy="28944"/>
          </a:xfrm>
          <a:custGeom>
            <a:avLst/>
            <a:gdLst>
              <a:gd name="T0" fmla="*/ 46 w 46"/>
              <a:gd name="T1" fmla="*/ 0 h 65"/>
              <a:gd name="T2" fmla="*/ 35 w 46"/>
              <a:gd name="T3" fmla="*/ 6 h 65"/>
              <a:gd name="T4" fmla="*/ 21 w 46"/>
              <a:gd name="T5" fmla="*/ 19 h 65"/>
              <a:gd name="T6" fmla="*/ 7 w 46"/>
              <a:gd name="T7" fmla="*/ 38 h 65"/>
              <a:gd name="T8" fmla="*/ 0 w 46"/>
              <a:gd name="T9" fmla="*/ 65 h 65"/>
              <a:gd name="T10" fmla="*/ 7 w 46"/>
              <a:gd name="T11" fmla="*/ 38 h 65"/>
              <a:gd name="T12" fmla="*/ 21 w 46"/>
              <a:gd name="T13" fmla="*/ 19 h 65"/>
              <a:gd name="T14" fmla="*/ 35 w 46"/>
              <a:gd name="T15" fmla="*/ 6 h 65"/>
              <a:gd name="T16" fmla="*/ 46 w 46"/>
              <a:gd name="T1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65">
                <a:moveTo>
                  <a:pt x="46" y="0"/>
                </a:moveTo>
                <a:cubicBezTo>
                  <a:pt x="43" y="1"/>
                  <a:pt x="40" y="3"/>
                  <a:pt x="35" y="6"/>
                </a:cubicBezTo>
                <a:cubicBezTo>
                  <a:pt x="31" y="10"/>
                  <a:pt x="26" y="14"/>
                  <a:pt x="21" y="19"/>
                </a:cubicBezTo>
                <a:cubicBezTo>
                  <a:pt x="16" y="24"/>
                  <a:pt x="11" y="31"/>
                  <a:pt x="7" y="38"/>
                </a:cubicBezTo>
                <a:cubicBezTo>
                  <a:pt x="4" y="46"/>
                  <a:pt x="1" y="55"/>
                  <a:pt x="0" y="65"/>
                </a:cubicBezTo>
                <a:cubicBezTo>
                  <a:pt x="1" y="55"/>
                  <a:pt x="4" y="46"/>
                  <a:pt x="7" y="38"/>
                </a:cubicBezTo>
                <a:cubicBezTo>
                  <a:pt x="11" y="31"/>
                  <a:pt x="16" y="24"/>
                  <a:pt x="21" y="19"/>
                </a:cubicBezTo>
                <a:cubicBezTo>
                  <a:pt x="26" y="14"/>
                  <a:pt x="31" y="10"/>
                  <a:pt x="35" y="6"/>
                </a:cubicBezTo>
                <a:cubicBezTo>
                  <a:pt x="40" y="3"/>
                  <a:pt x="43" y="1"/>
                  <a:pt x="46"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95" name="Rectangle 194"/>
          <p:cNvSpPr/>
          <p:nvPr/>
        </p:nvSpPr>
        <p:spPr bwMode="auto">
          <a:xfrm>
            <a:off x="453312" y="4423279"/>
            <a:ext cx="7882380" cy="1382834"/>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sp>
        <p:nvSpPr>
          <p:cNvPr id="222" name="Left-Right Arrow 221"/>
          <p:cNvSpPr/>
          <p:nvPr/>
        </p:nvSpPr>
        <p:spPr bwMode="auto">
          <a:xfrm rot="5400000">
            <a:off x="5006221" y="4454578"/>
            <a:ext cx="893968"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23" name="Left-Right Arrow 222"/>
          <p:cNvSpPr/>
          <p:nvPr/>
        </p:nvSpPr>
        <p:spPr bwMode="auto">
          <a:xfrm rot="5400000">
            <a:off x="6852625" y="4455580"/>
            <a:ext cx="902803"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9" name="Left-Right Arrow 208"/>
          <p:cNvSpPr/>
          <p:nvPr/>
        </p:nvSpPr>
        <p:spPr bwMode="auto">
          <a:xfrm>
            <a:off x="5968221" y="3171521"/>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1" name="Left-Right Arrow 210"/>
          <p:cNvSpPr/>
          <p:nvPr/>
        </p:nvSpPr>
        <p:spPr bwMode="auto">
          <a:xfrm rot="5400000">
            <a:off x="843084" y="4458752"/>
            <a:ext cx="902799"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196" name="Left-Right Arrow 195"/>
          <p:cNvSpPr/>
          <p:nvPr/>
        </p:nvSpPr>
        <p:spPr bwMode="auto">
          <a:xfrm>
            <a:off x="2034611" y="3193870"/>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03" name="Left-Right Arrow 202"/>
          <p:cNvSpPr/>
          <p:nvPr/>
        </p:nvSpPr>
        <p:spPr bwMode="auto">
          <a:xfrm>
            <a:off x="3970043" y="3221174"/>
            <a:ext cx="702237"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sp>
        <p:nvSpPr>
          <p:cNvPr id="212" name="Left-Right Arrow 211"/>
          <p:cNvSpPr/>
          <p:nvPr/>
        </p:nvSpPr>
        <p:spPr bwMode="auto">
          <a:xfrm rot="5400000">
            <a:off x="2906373" y="4458751"/>
            <a:ext cx="902798" cy="322778"/>
          </a:xfrm>
          <a:prstGeom prst="leftRightArrow">
            <a:avLst/>
          </a:prstGeom>
          <a:solidFill>
            <a:srgbClr val="FFFFFF"/>
          </a:solidFill>
          <a:ln w="254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228" name="Group 227"/>
          <p:cNvGrpSpPr/>
          <p:nvPr/>
        </p:nvGrpSpPr>
        <p:grpSpPr>
          <a:xfrm>
            <a:off x="6339613" y="1581089"/>
            <a:ext cx="1996079" cy="2747771"/>
            <a:chOff x="6339630" y="1580816"/>
            <a:chExt cx="1996362" cy="2748161"/>
          </a:xfrm>
        </p:grpSpPr>
        <p:sp>
          <p:nvSpPr>
            <p:cNvPr id="235" name="Text Placeholder 12"/>
            <p:cNvSpPr txBox="1">
              <a:spLocks/>
            </p:cNvSpPr>
            <p:nvPr/>
          </p:nvSpPr>
          <p:spPr>
            <a:xfrm>
              <a:off x="6884596" y="3902176"/>
              <a:ext cx="930174" cy="282553"/>
            </a:xfrm>
            <a:prstGeom prst="rect">
              <a:avLst/>
            </a:prstGeom>
            <a:noFill/>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Data</a:t>
              </a:r>
            </a:p>
          </p:txBody>
        </p:sp>
        <p:sp>
          <p:nvSpPr>
            <p:cNvPr id="194" name="Rectangle 193"/>
            <p:cNvSpPr/>
            <p:nvPr/>
          </p:nvSpPr>
          <p:spPr bwMode="auto">
            <a:xfrm>
              <a:off x="6339630" y="1580816"/>
              <a:ext cx="1996362" cy="2748161"/>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80" name="Group 79"/>
            <p:cNvGrpSpPr/>
            <p:nvPr/>
          </p:nvGrpSpPr>
          <p:grpSpPr>
            <a:xfrm>
              <a:off x="6549739" y="1682732"/>
              <a:ext cx="1571639" cy="1461541"/>
              <a:chOff x="9962648" y="1385701"/>
              <a:chExt cx="1880481" cy="1748748"/>
            </a:xfrm>
          </p:grpSpPr>
          <p:sp>
            <p:nvSpPr>
              <p:cNvPr id="81" name="Freeform 331"/>
              <p:cNvSpPr>
                <a:spLocks noChangeAspect="1" noEditPoints="1"/>
              </p:cNvSpPr>
              <p:nvPr/>
            </p:nvSpPr>
            <p:spPr bwMode="auto">
              <a:xfrm>
                <a:off x="9962648" y="2264337"/>
                <a:ext cx="887171" cy="870112"/>
              </a:xfrm>
              <a:custGeom>
                <a:avLst/>
                <a:gdLst>
                  <a:gd name="T0" fmla="*/ 39 w 88"/>
                  <a:gd name="T1" fmla="*/ 46 h 86"/>
                  <a:gd name="T2" fmla="*/ 79 w 88"/>
                  <a:gd name="T3" fmla="*/ 46 h 86"/>
                  <a:gd name="T4" fmla="*/ 39 w 88"/>
                  <a:gd name="T5" fmla="*/ 86 h 86"/>
                  <a:gd name="T6" fmla="*/ 0 w 88"/>
                  <a:gd name="T7" fmla="*/ 46 h 86"/>
                  <a:gd name="T8" fmla="*/ 39 w 88"/>
                  <a:gd name="T9" fmla="*/ 7 h 86"/>
                  <a:gd name="T10" fmla="*/ 39 w 88"/>
                  <a:gd name="T11" fmla="*/ 46 h 86"/>
                  <a:gd name="T12" fmla="*/ 48 w 88"/>
                  <a:gd name="T13" fmla="*/ 40 h 86"/>
                  <a:gd name="T14" fmla="*/ 88 w 88"/>
                  <a:gd name="T15" fmla="*/ 40 h 86"/>
                  <a:gd name="T16" fmla="*/ 48 w 88"/>
                  <a:gd name="T17" fmla="*/ 0 h 86"/>
                  <a:gd name="T18" fmla="*/ 48 w 88"/>
                  <a:gd name="T19" fmla="*/ 4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6">
                    <a:moveTo>
                      <a:pt x="39" y="46"/>
                    </a:moveTo>
                    <a:cubicBezTo>
                      <a:pt x="79" y="46"/>
                      <a:pt x="79" y="46"/>
                      <a:pt x="79" y="46"/>
                    </a:cubicBezTo>
                    <a:cubicBezTo>
                      <a:pt x="79" y="68"/>
                      <a:pt x="61" y="86"/>
                      <a:pt x="39" y="86"/>
                    </a:cubicBezTo>
                    <a:cubicBezTo>
                      <a:pt x="18" y="86"/>
                      <a:pt x="0" y="68"/>
                      <a:pt x="0" y="46"/>
                    </a:cubicBezTo>
                    <a:cubicBezTo>
                      <a:pt x="0" y="25"/>
                      <a:pt x="18" y="7"/>
                      <a:pt x="39" y="7"/>
                    </a:cubicBezTo>
                    <a:lnTo>
                      <a:pt x="39" y="46"/>
                    </a:lnTo>
                    <a:close/>
                    <a:moveTo>
                      <a:pt x="48" y="40"/>
                    </a:moveTo>
                    <a:cubicBezTo>
                      <a:pt x="88" y="40"/>
                      <a:pt x="88" y="40"/>
                      <a:pt x="88" y="40"/>
                    </a:cubicBezTo>
                    <a:cubicBezTo>
                      <a:pt x="88" y="18"/>
                      <a:pt x="70" y="0"/>
                      <a:pt x="48" y="0"/>
                    </a:cubicBezTo>
                    <a:lnTo>
                      <a:pt x="48" y="40"/>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2" name="Freeform 346"/>
              <p:cNvSpPr>
                <a:spLocks noChangeAspect="1" noEditPoints="1"/>
              </p:cNvSpPr>
              <p:nvPr/>
            </p:nvSpPr>
            <p:spPr bwMode="auto">
              <a:xfrm>
                <a:off x="10935954" y="2386132"/>
                <a:ext cx="907175" cy="518067"/>
              </a:xfrm>
              <a:custGeom>
                <a:avLst/>
                <a:gdLst>
                  <a:gd name="T0" fmla="*/ 0 w 319"/>
                  <a:gd name="T1" fmla="*/ 122 h 198"/>
                  <a:gd name="T2" fmla="*/ 50 w 319"/>
                  <a:gd name="T3" fmla="*/ 122 h 198"/>
                  <a:gd name="T4" fmla="*/ 50 w 319"/>
                  <a:gd name="T5" fmla="*/ 198 h 198"/>
                  <a:gd name="T6" fmla="*/ 0 w 319"/>
                  <a:gd name="T7" fmla="*/ 198 h 198"/>
                  <a:gd name="T8" fmla="*/ 0 w 319"/>
                  <a:gd name="T9" fmla="*/ 122 h 198"/>
                  <a:gd name="T10" fmla="*/ 69 w 319"/>
                  <a:gd name="T11" fmla="*/ 198 h 198"/>
                  <a:gd name="T12" fmla="*/ 119 w 319"/>
                  <a:gd name="T13" fmla="*/ 198 h 198"/>
                  <a:gd name="T14" fmla="*/ 119 w 319"/>
                  <a:gd name="T15" fmla="*/ 28 h 198"/>
                  <a:gd name="T16" fmla="*/ 69 w 319"/>
                  <a:gd name="T17" fmla="*/ 28 h 198"/>
                  <a:gd name="T18" fmla="*/ 69 w 319"/>
                  <a:gd name="T19" fmla="*/ 198 h 198"/>
                  <a:gd name="T20" fmla="*/ 135 w 319"/>
                  <a:gd name="T21" fmla="*/ 198 h 198"/>
                  <a:gd name="T22" fmla="*/ 185 w 319"/>
                  <a:gd name="T23" fmla="*/ 198 h 198"/>
                  <a:gd name="T24" fmla="*/ 185 w 319"/>
                  <a:gd name="T25" fmla="*/ 59 h 198"/>
                  <a:gd name="T26" fmla="*/ 135 w 319"/>
                  <a:gd name="T27" fmla="*/ 59 h 198"/>
                  <a:gd name="T28" fmla="*/ 135 w 319"/>
                  <a:gd name="T29" fmla="*/ 198 h 198"/>
                  <a:gd name="T30" fmla="*/ 201 w 319"/>
                  <a:gd name="T31" fmla="*/ 198 h 198"/>
                  <a:gd name="T32" fmla="*/ 251 w 319"/>
                  <a:gd name="T33" fmla="*/ 198 h 198"/>
                  <a:gd name="T34" fmla="*/ 251 w 319"/>
                  <a:gd name="T35" fmla="*/ 151 h 198"/>
                  <a:gd name="T36" fmla="*/ 201 w 319"/>
                  <a:gd name="T37" fmla="*/ 151 h 198"/>
                  <a:gd name="T38" fmla="*/ 201 w 319"/>
                  <a:gd name="T39" fmla="*/ 198 h 198"/>
                  <a:gd name="T40" fmla="*/ 270 w 319"/>
                  <a:gd name="T41" fmla="*/ 198 h 198"/>
                  <a:gd name="T42" fmla="*/ 319 w 319"/>
                  <a:gd name="T43" fmla="*/ 198 h 198"/>
                  <a:gd name="T44" fmla="*/ 319 w 319"/>
                  <a:gd name="T45" fmla="*/ 0 h 198"/>
                  <a:gd name="T46" fmla="*/ 270 w 319"/>
                  <a:gd name="T47" fmla="*/ 0 h 198"/>
                  <a:gd name="T48" fmla="*/ 270 w 319"/>
                  <a:gd name="T49"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9" h="198">
                    <a:moveTo>
                      <a:pt x="0" y="122"/>
                    </a:moveTo>
                    <a:lnTo>
                      <a:pt x="50" y="122"/>
                    </a:lnTo>
                    <a:lnTo>
                      <a:pt x="50" y="198"/>
                    </a:lnTo>
                    <a:lnTo>
                      <a:pt x="0" y="198"/>
                    </a:lnTo>
                    <a:lnTo>
                      <a:pt x="0" y="122"/>
                    </a:lnTo>
                    <a:close/>
                    <a:moveTo>
                      <a:pt x="69" y="198"/>
                    </a:moveTo>
                    <a:lnTo>
                      <a:pt x="119" y="198"/>
                    </a:lnTo>
                    <a:lnTo>
                      <a:pt x="119" y="28"/>
                    </a:lnTo>
                    <a:lnTo>
                      <a:pt x="69" y="28"/>
                    </a:lnTo>
                    <a:lnTo>
                      <a:pt x="69" y="198"/>
                    </a:lnTo>
                    <a:close/>
                    <a:moveTo>
                      <a:pt x="135" y="198"/>
                    </a:moveTo>
                    <a:lnTo>
                      <a:pt x="185" y="198"/>
                    </a:lnTo>
                    <a:lnTo>
                      <a:pt x="185" y="59"/>
                    </a:lnTo>
                    <a:lnTo>
                      <a:pt x="135" y="59"/>
                    </a:lnTo>
                    <a:lnTo>
                      <a:pt x="135" y="198"/>
                    </a:lnTo>
                    <a:close/>
                    <a:moveTo>
                      <a:pt x="201" y="198"/>
                    </a:moveTo>
                    <a:lnTo>
                      <a:pt x="251" y="198"/>
                    </a:lnTo>
                    <a:lnTo>
                      <a:pt x="251" y="151"/>
                    </a:lnTo>
                    <a:lnTo>
                      <a:pt x="201" y="151"/>
                    </a:lnTo>
                    <a:lnTo>
                      <a:pt x="201" y="198"/>
                    </a:lnTo>
                    <a:close/>
                    <a:moveTo>
                      <a:pt x="270" y="198"/>
                    </a:moveTo>
                    <a:lnTo>
                      <a:pt x="319" y="198"/>
                    </a:lnTo>
                    <a:lnTo>
                      <a:pt x="319" y="0"/>
                    </a:lnTo>
                    <a:lnTo>
                      <a:pt x="270" y="0"/>
                    </a:lnTo>
                    <a:lnTo>
                      <a:pt x="270" y="198"/>
                    </a:lnTo>
                    <a:close/>
                  </a:path>
                </a:pathLst>
              </a:custGeom>
              <a:solidFill>
                <a:srgbClr val="FFFFFF"/>
              </a:solidFill>
              <a:ln>
                <a:noFill/>
              </a:ln>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3" name="Freeform 37"/>
              <p:cNvSpPr>
                <a:spLocks noEditPoints="1"/>
              </p:cNvSpPr>
              <p:nvPr/>
            </p:nvSpPr>
            <p:spPr bwMode="auto">
              <a:xfrm>
                <a:off x="10696245" y="1385701"/>
                <a:ext cx="1146884" cy="817571"/>
              </a:xfrm>
              <a:custGeom>
                <a:avLst/>
                <a:gdLst>
                  <a:gd name="T0" fmla="*/ 1070 w 1214"/>
                  <a:gd name="T1" fmla="*/ 106 h 852"/>
                  <a:gd name="T2" fmla="*/ 787 w 1214"/>
                  <a:gd name="T3" fmla="*/ 621 h 852"/>
                  <a:gd name="T4" fmla="*/ 753 w 1214"/>
                  <a:gd name="T5" fmla="*/ 538 h 852"/>
                  <a:gd name="T6" fmla="*/ 825 w 1214"/>
                  <a:gd name="T7" fmla="*/ 533 h 852"/>
                  <a:gd name="T8" fmla="*/ 782 w 1214"/>
                  <a:gd name="T9" fmla="*/ 550 h 852"/>
                  <a:gd name="T10" fmla="*/ 1214 w 1214"/>
                  <a:gd name="T11" fmla="*/ 117 h 852"/>
                  <a:gd name="T12" fmla="*/ 523 w 1214"/>
                  <a:gd name="T13" fmla="*/ 0 h 852"/>
                  <a:gd name="T14" fmla="*/ 0 w 1214"/>
                  <a:gd name="T15" fmla="*/ 523 h 852"/>
                  <a:gd name="T16" fmla="*/ 218 w 1214"/>
                  <a:gd name="T17" fmla="*/ 803 h 852"/>
                  <a:gd name="T18" fmla="*/ 1214 w 1214"/>
                  <a:gd name="T19" fmla="*/ 803 h 852"/>
                  <a:gd name="T20" fmla="*/ 607 w 1214"/>
                  <a:gd name="T21" fmla="*/ 207 h 852"/>
                  <a:gd name="T22" fmla="*/ 1118 w 1214"/>
                  <a:gd name="T23" fmla="*/ 100 h 852"/>
                  <a:gd name="T24" fmla="*/ 1154 w 1214"/>
                  <a:gd name="T25" fmla="*/ 100 h 852"/>
                  <a:gd name="T26" fmla="*/ 1143 w 1214"/>
                  <a:gd name="T27" fmla="*/ 136 h 852"/>
                  <a:gd name="T28" fmla="*/ 1119 w 1214"/>
                  <a:gd name="T29" fmla="*/ 135 h 852"/>
                  <a:gd name="T30" fmla="*/ 1125 w 1214"/>
                  <a:gd name="T31" fmla="*/ 118 h 852"/>
                  <a:gd name="T32" fmla="*/ 1040 w 1214"/>
                  <a:gd name="T33" fmla="*/ 100 h 852"/>
                  <a:gd name="T34" fmla="*/ 1040 w 1214"/>
                  <a:gd name="T35" fmla="*/ 136 h 852"/>
                  <a:gd name="T36" fmla="*/ 1015 w 1214"/>
                  <a:gd name="T37" fmla="*/ 128 h 852"/>
                  <a:gd name="T38" fmla="*/ 971 w 1214"/>
                  <a:gd name="T39" fmla="*/ 128 h 852"/>
                  <a:gd name="T40" fmla="*/ 607 w 1214"/>
                  <a:gd name="T41" fmla="*/ 397 h 852"/>
                  <a:gd name="T42" fmla="*/ 607 w 1214"/>
                  <a:gd name="T43" fmla="*/ 484 h 852"/>
                  <a:gd name="T44" fmla="*/ 27 w 1214"/>
                  <a:gd name="T45" fmla="*/ 523 h 852"/>
                  <a:gd name="T46" fmla="*/ 523 w 1214"/>
                  <a:gd name="T47" fmla="*/ 26 h 852"/>
                  <a:gd name="T48" fmla="*/ 523 w 1214"/>
                  <a:gd name="T49" fmla="*/ 580 h 852"/>
                  <a:gd name="T50" fmla="*/ 1165 w 1214"/>
                  <a:gd name="T51" fmla="*/ 256 h 852"/>
                  <a:gd name="T52" fmla="*/ 268 w 1214"/>
                  <a:gd name="T53" fmla="*/ 803 h 852"/>
                  <a:gd name="T54" fmla="*/ 523 w 1214"/>
                  <a:gd name="T55" fmla="*/ 606 h 852"/>
                  <a:gd name="T56" fmla="*/ 613 w 1214"/>
                  <a:gd name="T57" fmla="*/ 504 h 852"/>
                  <a:gd name="T58" fmla="*/ 657 w 1214"/>
                  <a:gd name="T59" fmla="*/ 460 h 852"/>
                  <a:gd name="T60" fmla="*/ 657 w 1214"/>
                  <a:gd name="T61" fmla="*/ 398 h 852"/>
                  <a:gd name="T62" fmla="*/ 613 w 1214"/>
                  <a:gd name="T63" fmla="*/ 354 h 852"/>
                  <a:gd name="T64" fmla="*/ 1164 w 1214"/>
                  <a:gd name="T65" fmla="*/ 256 h 852"/>
                  <a:gd name="T66" fmla="*/ 697 w 1214"/>
                  <a:gd name="T67" fmla="*/ 610 h 852"/>
                  <a:gd name="T68" fmla="*/ 763 w 1214"/>
                  <a:gd name="T69" fmla="*/ 678 h 852"/>
                  <a:gd name="T70" fmla="*/ 861 w 1214"/>
                  <a:gd name="T71" fmla="*/ 678 h 852"/>
                  <a:gd name="T72" fmla="*/ 927 w 1214"/>
                  <a:gd name="T73" fmla="*/ 610 h 852"/>
                  <a:gd name="T74" fmla="*/ 927 w 1214"/>
                  <a:gd name="T75" fmla="*/ 516 h 852"/>
                  <a:gd name="T76" fmla="*/ 860 w 1214"/>
                  <a:gd name="T77" fmla="*/ 448 h 852"/>
                  <a:gd name="T78" fmla="*/ 763 w 1214"/>
                  <a:gd name="T79" fmla="*/ 448 h 852"/>
                  <a:gd name="T80" fmla="*/ 697 w 1214"/>
                  <a:gd name="T81" fmla="*/ 516 h 852"/>
                  <a:gd name="T82" fmla="*/ 848 w 1214"/>
                  <a:gd name="T83" fmla="*/ 478 h 852"/>
                  <a:gd name="T84" fmla="*/ 727 w 1214"/>
                  <a:gd name="T85" fmla="*/ 527 h 852"/>
                  <a:gd name="T86" fmla="*/ 296 w 1214"/>
                  <a:gd name="T87" fmla="*/ 265 h 852"/>
                  <a:gd name="T88" fmla="*/ 488 w 1214"/>
                  <a:gd name="T89" fmla="*/ 279 h 852"/>
                  <a:gd name="T90" fmla="*/ 362 w 1214"/>
                  <a:gd name="T91" fmla="*/ 231 h 852"/>
                  <a:gd name="T92" fmla="*/ 223 w 1214"/>
                  <a:gd name="T93" fmla="*/ 330 h 852"/>
                  <a:gd name="T94" fmla="*/ 218 w 1214"/>
                  <a:gd name="T95" fmla="*/ 383 h 852"/>
                  <a:gd name="T96" fmla="*/ 86 w 1214"/>
                  <a:gd name="T97" fmla="*/ 503 h 852"/>
                  <a:gd name="T98" fmla="*/ 123 w 1214"/>
                  <a:gd name="T99" fmla="*/ 465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14" h="852">
                    <a:moveTo>
                      <a:pt x="1046" y="130"/>
                    </a:moveTo>
                    <a:cubicBezTo>
                      <a:pt x="1070" y="130"/>
                      <a:pt x="1070" y="130"/>
                      <a:pt x="1070" y="130"/>
                    </a:cubicBezTo>
                    <a:cubicBezTo>
                      <a:pt x="1070" y="106"/>
                      <a:pt x="1070" y="106"/>
                      <a:pt x="1070" y="106"/>
                    </a:cubicBezTo>
                    <a:cubicBezTo>
                      <a:pt x="1046" y="106"/>
                      <a:pt x="1046" y="106"/>
                      <a:pt x="1046" y="106"/>
                    </a:cubicBezTo>
                    <a:lnTo>
                      <a:pt x="1046" y="130"/>
                    </a:lnTo>
                    <a:close/>
                    <a:moveTo>
                      <a:pt x="787" y="621"/>
                    </a:moveTo>
                    <a:cubicBezTo>
                      <a:pt x="819" y="635"/>
                      <a:pt x="856" y="620"/>
                      <a:pt x="870" y="588"/>
                    </a:cubicBezTo>
                    <a:cubicBezTo>
                      <a:pt x="884" y="556"/>
                      <a:pt x="869" y="518"/>
                      <a:pt x="837" y="505"/>
                    </a:cubicBezTo>
                    <a:cubicBezTo>
                      <a:pt x="804" y="491"/>
                      <a:pt x="767" y="506"/>
                      <a:pt x="753" y="538"/>
                    </a:cubicBezTo>
                    <a:cubicBezTo>
                      <a:pt x="740" y="571"/>
                      <a:pt x="755" y="608"/>
                      <a:pt x="787" y="621"/>
                    </a:cubicBezTo>
                    <a:close/>
                    <a:moveTo>
                      <a:pt x="782" y="550"/>
                    </a:moveTo>
                    <a:cubicBezTo>
                      <a:pt x="789" y="534"/>
                      <a:pt x="808" y="526"/>
                      <a:pt x="825" y="533"/>
                    </a:cubicBezTo>
                    <a:cubicBezTo>
                      <a:pt x="841" y="540"/>
                      <a:pt x="849" y="559"/>
                      <a:pt x="842" y="576"/>
                    </a:cubicBezTo>
                    <a:cubicBezTo>
                      <a:pt x="835" y="592"/>
                      <a:pt x="816" y="600"/>
                      <a:pt x="799" y="593"/>
                    </a:cubicBezTo>
                    <a:cubicBezTo>
                      <a:pt x="782" y="586"/>
                      <a:pt x="775" y="567"/>
                      <a:pt x="782" y="550"/>
                    </a:cubicBezTo>
                    <a:close/>
                    <a:moveTo>
                      <a:pt x="1175" y="166"/>
                    </a:moveTo>
                    <a:cubicBezTo>
                      <a:pt x="1191" y="166"/>
                      <a:pt x="1204" y="173"/>
                      <a:pt x="1214" y="183"/>
                    </a:cubicBezTo>
                    <a:cubicBezTo>
                      <a:pt x="1214" y="117"/>
                      <a:pt x="1214" y="117"/>
                      <a:pt x="1214" y="117"/>
                    </a:cubicBezTo>
                    <a:cubicBezTo>
                      <a:pt x="1214" y="90"/>
                      <a:pt x="1192" y="68"/>
                      <a:pt x="1164" y="68"/>
                    </a:cubicBezTo>
                    <a:cubicBezTo>
                      <a:pt x="606" y="68"/>
                      <a:pt x="606" y="68"/>
                      <a:pt x="606" y="68"/>
                    </a:cubicBezTo>
                    <a:cubicBezTo>
                      <a:pt x="598" y="29"/>
                      <a:pt x="564" y="0"/>
                      <a:pt x="523" y="0"/>
                    </a:cubicBezTo>
                    <a:cubicBezTo>
                      <a:pt x="84" y="0"/>
                      <a:pt x="84" y="0"/>
                      <a:pt x="84" y="0"/>
                    </a:cubicBezTo>
                    <a:cubicBezTo>
                      <a:pt x="38" y="0"/>
                      <a:pt x="0" y="37"/>
                      <a:pt x="0" y="83"/>
                    </a:cubicBezTo>
                    <a:cubicBezTo>
                      <a:pt x="0" y="523"/>
                      <a:pt x="0" y="523"/>
                      <a:pt x="0" y="523"/>
                    </a:cubicBezTo>
                    <a:cubicBezTo>
                      <a:pt x="0" y="569"/>
                      <a:pt x="38" y="606"/>
                      <a:pt x="84" y="606"/>
                    </a:cubicBezTo>
                    <a:cubicBezTo>
                      <a:pt x="218" y="606"/>
                      <a:pt x="218" y="606"/>
                      <a:pt x="218" y="606"/>
                    </a:cubicBezTo>
                    <a:cubicBezTo>
                      <a:pt x="218" y="803"/>
                      <a:pt x="218" y="803"/>
                      <a:pt x="218" y="803"/>
                    </a:cubicBezTo>
                    <a:cubicBezTo>
                      <a:pt x="218" y="830"/>
                      <a:pt x="240" y="852"/>
                      <a:pt x="268" y="852"/>
                    </a:cubicBezTo>
                    <a:cubicBezTo>
                      <a:pt x="1164" y="852"/>
                      <a:pt x="1164" y="852"/>
                      <a:pt x="1164" y="852"/>
                    </a:cubicBezTo>
                    <a:cubicBezTo>
                      <a:pt x="1192" y="852"/>
                      <a:pt x="1214" y="830"/>
                      <a:pt x="1214" y="803"/>
                    </a:cubicBezTo>
                    <a:cubicBezTo>
                      <a:pt x="1214" y="256"/>
                      <a:pt x="1214" y="256"/>
                      <a:pt x="1214" y="256"/>
                    </a:cubicBezTo>
                    <a:cubicBezTo>
                      <a:pt x="1214" y="229"/>
                      <a:pt x="1192" y="207"/>
                      <a:pt x="1164" y="207"/>
                    </a:cubicBezTo>
                    <a:cubicBezTo>
                      <a:pt x="607" y="207"/>
                      <a:pt x="607" y="207"/>
                      <a:pt x="607" y="207"/>
                    </a:cubicBezTo>
                    <a:cubicBezTo>
                      <a:pt x="607" y="166"/>
                      <a:pt x="607" y="166"/>
                      <a:pt x="607" y="166"/>
                    </a:cubicBezTo>
                    <a:lnTo>
                      <a:pt x="1175" y="166"/>
                    </a:lnTo>
                    <a:close/>
                    <a:moveTo>
                      <a:pt x="1118" y="100"/>
                    </a:moveTo>
                    <a:cubicBezTo>
                      <a:pt x="1131" y="112"/>
                      <a:pt x="1131" y="112"/>
                      <a:pt x="1131" y="112"/>
                    </a:cubicBezTo>
                    <a:cubicBezTo>
                      <a:pt x="1143" y="100"/>
                      <a:pt x="1143" y="100"/>
                      <a:pt x="1143" y="100"/>
                    </a:cubicBezTo>
                    <a:cubicBezTo>
                      <a:pt x="1154" y="100"/>
                      <a:pt x="1154" y="100"/>
                      <a:pt x="1154" y="100"/>
                    </a:cubicBezTo>
                    <a:cubicBezTo>
                      <a:pt x="1136" y="118"/>
                      <a:pt x="1136" y="118"/>
                      <a:pt x="1136" y="118"/>
                    </a:cubicBezTo>
                    <a:cubicBezTo>
                      <a:pt x="1154" y="136"/>
                      <a:pt x="1154" y="136"/>
                      <a:pt x="1154" y="136"/>
                    </a:cubicBezTo>
                    <a:cubicBezTo>
                      <a:pt x="1143" y="136"/>
                      <a:pt x="1143" y="136"/>
                      <a:pt x="1143" y="136"/>
                    </a:cubicBezTo>
                    <a:cubicBezTo>
                      <a:pt x="1136" y="129"/>
                      <a:pt x="1136" y="129"/>
                      <a:pt x="1136" y="129"/>
                    </a:cubicBezTo>
                    <a:cubicBezTo>
                      <a:pt x="1131" y="124"/>
                      <a:pt x="1131" y="124"/>
                      <a:pt x="1131" y="124"/>
                    </a:cubicBezTo>
                    <a:cubicBezTo>
                      <a:pt x="1119" y="135"/>
                      <a:pt x="1119" y="135"/>
                      <a:pt x="1119" y="135"/>
                    </a:cubicBezTo>
                    <a:cubicBezTo>
                      <a:pt x="1118" y="136"/>
                      <a:pt x="1118" y="136"/>
                      <a:pt x="1118" y="136"/>
                    </a:cubicBezTo>
                    <a:cubicBezTo>
                      <a:pt x="1107" y="136"/>
                      <a:pt x="1107" y="136"/>
                      <a:pt x="1107" y="136"/>
                    </a:cubicBezTo>
                    <a:cubicBezTo>
                      <a:pt x="1125" y="118"/>
                      <a:pt x="1125" y="118"/>
                      <a:pt x="1125" y="118"/>
                    </a:cubicBezTo>
                    <a:cubicBezTo>
                      <a:pt x="1107" y="100"/>
                      <a:pt x="1107" y="100"/>
                      <a:pt x="1107" y="100"/>
                    </a:cubicBezTo>
                    <a:lnTo>
                      <a:pt x="1118" y="100"/>
                    </a:lnTo>
                    <a:close/>
                    <a:moveTo>
                      <a:pt x="1040" y="100"/>
                    </a:moveTo>
                    <a:cubicBezTo>
                      <a:pt x="1076" y="100"/>
                      <a:pt x="1076" y="100"/>
                      <a:pt x="1076" y="100"/>
                    </a:cubicBezTo>
                    <a:cubicBezTo>
                      <a:pt x="1076" y="136"/>
                      <a:pt x="1076" y="136"/>
                      <a:pt x="1076" y="136"/>
                    </a:cubicBezTo>
                    <a:cubicBezTo>
                      <a:pt x="1040" y="136"/>
                      <a:pt x="1040" y="136"/>
                      <a:pt x="1040" y="136"/>
                    </a:cubicBezTo>
                    <a:lnTo>
                      <a:pt x="1040" y="100"/>
                    </a:lnTo>
                    <a:close/>
                    <a:moveTo>
                      <a:pt x="971" y="128"/>
                    </a:moveTo>
                    <a:cubicBezTo>
                      <a:pt x="1015" y="128"/>
                      <a:pt x="1015" y="128"/>
                      <a:pt x="1015" y="128"/>
                    </a:cubicBezTo>
                    <a:cubicBezTo>
                      <a:pt x="1015" y="137"/>
                      <a:pt x="1015" y="137"/>
                      <a:pt x="1015" y="137"/>
                    </a:cubicBezTo>
                    <a:cubicBezTo>
                      <a:pt x="971" y="137"/>
                      <a:pt x="971" y="137"/>
                      <a:pt x="971" y="137"/>
                    </a:cubicBezTo>
                    <a:lnTo>
                      <a:pt x="971" y="128"/>
                    </a:lnTo>
                    <a:close/>
                    <a:moveTo>
                      <a:pt x="607" y="461"/>
                    </a:moveTo>
                    <a:cubicBezTo>
                      <a:pt x="612" y="457"/>
                      <a:pt x="617" y="452"/>
                      <a:pt x="619" y="445"/>
                    </a:cubicBezTo>
                    <a:cubicBezTo>
                      <a:pt x="627" y="428"/>
                      <a:pt x="621" y="408"/>
                      <a:pt x="607" y="397"/>
                    </a:cubicBezTo>
                    <a:cubicBezTo>
                      <a:pt x="607" y="374"/>
                      <a:pt x="607" y="374"/>
                      <a:pt x="607" y="374"/>
                    </a:cubicBezTo>
                    <a:cubicBezTo>
                      <a:pt x="636" y="388"/>
                      <a:pt x="650" y="423"/>
                      <a:pt x="637" y="453"/>
                    </a:cubicBezTo>
                    <a:cubicBezTo>
                      <a:pt x="631" y="467"/>
                      <a:pt x="620" y="478"/>
                      <a:pt x="607" y="484"/>
                    </a:cubicBezTo>
                    <a:lnTo>
                      <a:pt x="607" y="461"/>
                    </a:lnTo>
                    <a:close/>
                    <a:moveTo>
                      <a:pt x="84" y="580"/>
                    </a:moveTo>
                    <a:cubicBezTo>
                      <a:pt x="52" y="580"/>
                      <a:pt x="27" y="554"/>
                      <a:pt x="27" y="523"/>
                    </a:cubicBezTo>
                    <a:cubicBezTo>
                      <a:pt x="27" y="83"/>
                      <a:pt x="27" y="83"/>
                      <a:pt x="27" y="83"/>
                    </a:cubicBezTo>
                    <a:cubicBezTo>
                      <a:pt x="27" y="52"/>
                      <a:pt x="52" y="26"/>
                      <a:pt x="84" y="26"/>
                    </a:cubicBezTo>
                    <a:cubicBezTo>
                      <a:pt x="523" y="26"/>
                      <a:pt x="523" y="26"/>
                      <a:pt x="523" y="26"/>
                    </a:cubicBezTo>
                    <a:cubicBezTo>
                      <a:pt x="555" y="26"/>
                      <a:pt x="581" y="52"/>
                      <a:pt x="581" y="83"/>
                    </a:cubicBezTo>
                    <a:cubicBezTo>
                      <a:pt x="581" y="523"/>
                      <a:pt x="581" y="523"/>
                      <a:pt x="581" y="523"/>
                    </a:cubicBezTo>
                    <a:cubicBezTo>
                      <a:pt x="581" y="554"/>
                      <a:pt x="555" y="580"/>
                      <a:pt x="523" y="580"/>
                    </a:cubicBezTo>
                    <a:lnTo>
                      <a:pt x="84" y="580"/>
                    </a:lnTo>
                    <a:close/>
                    <a:moveTo>
                      <a:pt x="1164" y="256"/>
                    </a:moveTo>
                    <a:cubicBezTo>
                      <a:pt x="1165" y="256"/>
                      <a:pt x="1165" y="256"/>
                      <a:pt x="1165" y="256"/>
                    </a:cubicBezTo>
                    <a:cubicBezTo>
                      <a:pt x="1165" y="803"/>
                      <a:pt x="1165" y="803"/>
                      <a:pt x="1165" y="803"/>
                    </a:cubicBezTo>
                    <a:cubicBezTo>
                      <a:pt x="1165" y="803"/>
                      <a:pt x="1164" y="803"/>
                      <a:pt x="1164" y="803"/>
                    </a:cubicBezTo>
                    <a:cubicBezTo>
                      <a:pt x="268" y="803"/>
                      <a:pt x="268" y="803"/>
                      <a:pt x="268" y="803"/>
                    </a:cubicBezTo>
                    <a:cubicBezTo>
                      <a:pt x="267" y="803"/>
                      <a:pt x="267" y="803"/>
                      <a:pt x="267" y="803"/>
                    </a:cubicBezTo>
                    <a:cubicBezTo>
                      <a:pt x="267" y="606"/>
                      <a:pt x="267" y="606"/>
                      <a:pt x="267" y="606"/>
                    </a:cubicBezTo>
                    <a:cubicBezTo>
                      <a:pt x="523" y="606"/>
                      <a:pt x="523" y="606"/>
                      <a:pt x="523" y="606"/>
                    </a:cubicBezTo>
                    <a:cubicBezTo>
                      <a:pt x="570" y="606"/>
                      <a:pt x="607" y="569"/>
                      <a:pt x="607" y="523"/>
                    </a:cubicBezTo>
                    <a:cubicBezTo>
                      <a:pt x="607" y="508"/>
                      <a:pt x="607" y="508"/>
                      <a:pt x="607" y="508"/>
                    </a:cubicBezTo>
                    <a:cubicBezTo>
                      <a:pt x="609" y="506"/>
                      <a:pt x="611" y="505"/>
                      <a:pt x="613" y="504"/>
                    </a:cubicBezTo>
                    <a:cubicBezTo>
                      <a:pt x="623" y="500"/>
                      <a:pt x="634" y="502"/>
                      <a:pt x="642" y="508"/>
                    </a:cubicBezTo>
                    <a:cubicBezTo>
                      <a:pt x="649" y="503"/>
                      <a:pt x="656" y="497"/>
                      <a:pt x="661" y="489"/>
                    </a:cubicBezTo>
                    <a:cubicBezTo>
                      <a:pt x="655" y="481"/>
                      <a:pt x="652" y="470"/>
                      <a:pt x="657" y="460"/>
                    </a:cubicBezTo>
                    <a:cubicBezTo>
                      <a:pt x="661" y="450"/>
                      <a:pt x="670" y="443"/>
                      <a:pt x="680" y="442"/>
                    </a:cubicBezTo>
                    <a:cubicBezTo>
                      <a:pt x="681" y="433"/>
                      <a:pt x="681" y="425"/>
                      <a:pt x="680" y="416"/>
                    </a:cubicBezTo>
                    <a:cubicBezTo>
                      <a:pt x="670" y="415"/>
                      <a:pt x="661" y="408"/>
                      <a:pt x="657" y="398"/>
                    </a:cubicBezTo>
                    <a:cubicBezTo>
                      <a:pt x="652" y="388"/>
                      <a:pt x="655" y="377"/>
                      <a:pt x="661" y="369"/>
                    </a:cubicBezTo>
                    <a:cubicBezTo>
                      <a:pt x="656" y="362"/>
                      <a:pt x="649" y="355"/>
                      <a:pt x="642" y="350"/>
                    </a:cubicBezTo>
                    <a:cubicBezTo>
                      <a:pt x="634" y="356"/>
                      <a:pt x="623" y="358"/>
                      <a:pt x="613" y="354"/>
                    </a:cubicBezTo>
                    <a:cubicBezTo>
                      <a:pt x="611" y="353"/>
                      <a:pt x="609" y="352"/>
                      <a:pt x="607" y="350"/>
                    </a:cubicBezTo>
                    <a:cubicBezTo>
                      <a:pt x="607" y="256"/>
                      <a:pt x="607" y="256"/>
                      <a:pt x="607" y="256"/>
                    </a:cubicBezTo>
                    <a:lnTo>
                      <a:pt x="1164" y="256"/>
                    </a:lnTo>
                    <a:close/>
                    <a:moveTo>
                      <a:pt x="660" y="543"/>
                    </a:moveTo>
                    <a:cubicBezTo>
                      <a:pt x="659" y="556"/>
                      <a:pt x="659" y="570"/>
                      <a:pt x="660" y="583"/>
                    </a:cubicBezTo>
                    <a:cubicBezTo>
                      <a:pt x="676" y="585"/>
                      <a:pt x="690" y="595"/>
                      <a:pt x="697" y="610"/>
                    </a:cubicBezTo>
                    <a:cubicBezTo>
                      <a:pt x="703" y="626"/>
                      <a:pt x="700" y="643"/>
                      <a:pt x="690" y="655"/>
                    </a:cubicBezTo>
                    <a:cubicBezTo>
                      <a:pt x="698" y="666"/>
                      <a:pt x="707" y="675"/>
                      <a:pt x="718" y="684"/>
                    </a:cubicBezTo>
                    <a:cubicBezTo>
                      <a:pt x="731" y="674"/>
                      <a:pt x="748" y="671"/>
                      <a:pt x="763" y="678"/>
                    </a:cubicBezTo>
                    <a:cubicBezTo>
                      <a:pt x="779" y="684"/>
                      <a:pt x="788" y="699"/>
                      <a:pt x="790" y="714"/>
                    </a:cubicBezTo>
                    <a:cubicBezTo>
                      <a:pt x="805" y="716"/>
                      <a:pt x="819" y="716"/>
                      <a:pt x="834" y="714"/>
                    </a:cubicBezTo>
                    <a:cubicBezTo>
                      <a:pt x="835" y="699"/>
                      <a:pt x="845" y="684"/>
                      <a:pt x="861" y="678"/>
                    </a:cubicBezTo>
                    <a:cubicBezTo>
                      <a:pt x="876" y="671"/>
                      <a:pt x="893" y="674"/>
                      <a:pt x="905" y="684"/>
                    </a:cubicBezTo>
                    <a:cubicBezTo>
                      <a:pt x="916" y="676"/>
                      <a:pt x="926" y="666"/>
                      <a:pt x="934" y="655"/>
                    </a:cubicBezTo>
                    <a:cubicBezTo>
                      <a:pt x="924" y="643"/>
                      <a:pt x="921" y="626"/>
                      <a:pt x="927" y="610"/>
                    </a:cubicBezTo>
                    <a:cubicBezTo>
                      <a:pt x="933" y="595"/>
                      <a:pt x="948" y="585"/>
                      <a:pt x="963" y="583"/>
                    </a:cubicBezTo>
                    <a:cubicBezTo>
                      <a:pt x="965" y="570"/>
                      <a:pt x="965" y="556"/>
                      <a:pt x="963" y="543"/>
                    </a:cubicBezTo>
                    <a:cubicBezTo>
                      <a:pt x="948" y="541"/>
                      <a:pt x="933" y="531"/>
                      <a:pt x="927" y="516"/>
                    </a:cubicBezTo>
                    <a:cubicBezTo>
                      <a:pt x="921" y="500"/>
                      <a:pt x="924" y="483"/>
                      <a:pt x="934" y="471"/>
                    </a:cubicBezTo>
                    <a:cubicBezTo>
                      <a:pt x="926" y="461"/>
                      <a:pt x="916" y="451"/>
                      <a:pt x="905" y="442"/>
                    </a:cubicBezTo>
                    <a:cubicBezTo>
                      <a:pt x="893" y="452"/>
                      <a:pt x="876" y="455"/>
                      <a:pt x="860" y="448"/>
                    </a:cubicBezTo>
                    <a:cubicBezTo>
                      <a:pt x="845" y="442"/>
                      <a:pt x="835" y="428"/>
                      <a:pt x="834" y="412"/>
                    </a:cubicBezTo>
                    <a:cubicBezTo>
                      <a:pt x="819" y="410"/>
                      <a:pt x="804" y="410"/>
                      <a:pt x="790" y="412"/>
                    </a:cubicBezTo>
                    <a:cubicBezTo>
                      <a:pt x="788" y="428"/>
                      <a:pt x="778" y="442"/>
                      <a:pt x="763" y="448"/>
                    </a:cubicBezTo>
                    <a:cubicBezTo>
                      <a:pt x="748" y="455"/>
                      <a:pt x="731" y="452"/>
                      <a:pt x="718" y="442"/>
                    </a:cubicBezTo>
                    <a:cubicBezTo>
                      <a:pt x="708" y="451"/>
                      <a:pt x="698" y="460"/>
                      <a:pt x="690" y="471"/>
                    </a:cubicBezTo>
                    <a:cubicBezTo>
                      <a:pt x="700" y="483"/>
                      <a:pt x="703" y="500"/>
                      <a:pt x="697" y="516"/>
                    </a:cubicBezTo>
                    <a:cubicBezTo>
                      <a:pt x="690" y="531"/>
                      <a:pt x="676" y="541"/>
                      <a:pt x="660" y="543"/>
                    </a:cubicBezTo>
                    <a:close/>
                    <a:moveTo>
                      <a:pt x="727" y="527"/>
                    </a:moveTo>
                    <a:cubicBezTo>
                      <a:pt x="747" y="480"/>
                      <a:pt x="801" y="458"/>
                      <a:pt x="848" y="478"/>
                    </a:cubicBezTo>
                    <a:cubicBezTo>
                      <a:pt x="895" y="498"/>
                      <a:pt x="917" y="552"/>
                      <a:pt x="897" y="599"/>
                    </a:cubicBezTo>
                    <a:cubicBezTo>
                      <a:pt x="877" y="646"/>
                      <a:pt x="823" y="668"/>
                      <a:pt x="776" y="648"/>
                    </a:cubicBezTo>
                    <a:cubicBezTo>
                      <a:pt x="729" y="628"/>
                      <a:pt x="707" y="574"/>
                      <a:pt x="727" y="527"/>
                    </a:cubicBezTo>
                    <a:close/>
                    <a:moveTo>
                      <a:pt x="218" y="383"/>
                    </a:moveTo>
                    <a:cubicBezTo>
                      <a:pt x="264" y="453"/>
                      <a:pt x="264" y="453"/>
                      <a:pt x="264" y="453"/>
                    </a:cubicBezTo>
                    <a:cubicBezTo>
                      <a:pt x="296" y="265"/>
                      <a:pt x="296" y="265"/>
                      <a:pt x="296" y="265"/>
                    </a:cubicBezTo>
                    <a:cubicBezTo>
                      <a:pt x="379" y="265"/>
                      <a:pt x="379" y="265"/>
                      <a:pt x="379" y="265"/>
                    </a:cubicBezTo>
                    <a:cubicBezTo>
                      <a:pt x="439" y="185"/>
                      <a:pt x="439" y="185"/>
                      <a:pt x="439" y="185"/>
                    </a:cubicBezTo>
                    <a:cubicBezTo>
                      <a:pt x="488" y="279"/>
                      <a:pt x="488" y="279"/>
                      <a:pt x="488" y="279"/>
                    </a:cubicBezTo>
                    <a:cubicBezTo>
                      <a:pt x="518" y="264"/>
                      <a:pt x="518" y="264"/>
                      <a:pt x="518" y="264"/>
                    </a:cubicBezTo>
                    <a:cubicBezTo>
                      <a:pt x="444" y="121"/>
                      <a:pt x="444" y="121"/>
                      <a:pt x="444" y="121"/>
                    </a:cubicBezTo>
                    <a:cubicBezTo>
                      <a:pt x="362" y="231"/>
                      <a:pt x="362" y="231"/>
                      <a:pt x="362" y="231"/>
                    </a:cubicBezTo>
                    <a:cubicBezTo>
                      <a:pt x="267" y="231"/>
                      <a:pt x="267" y="231"/>
                      <a:pt x="267" y="231"/>
                    </a:cubicBezTo>
                    <a:cubicBezTo>
                      <a:pt x="245" y="363"/>
                      <a:pt x="245" y="363"/>
                      <a:pt x="245" y="363"/>
                    </a:cubicBezTo>
                    <a:cubicBezTo>
                      <a:pt x="223" y="330"/>
                      <a:pt x="223" y="330"/>
                      <a:pt x="223" y="330"/>
                    </a:cubicBezTo>
                    <a:cubicBezTo>
                      <a:pt x="137" y="416"/>
                      <a:pt x="137" y="416"/>
                      <a:pt x="137" y="416"/>
                    </a:cubicBezTo>
                    <a:cubicBezTo>
                      <a:pt x="161" y="440"/>
                      <a:pt x="161" y="440"/>
                      <a:pt x="161" y="440"/>
                    </a:cubicBezTo>
                    <a:lnTo>
                      <a:pt x="218" y="383"/>
                    </a:lnTo>
                    <a:close/>
                    <a:moveTo>
                      <a:pt x="123" y="103"/>
                    </a:moveTo>
                    <a:cubicBezTo>
                      <a:pt x="86" y="103"/>
                      <a:pt x="86" y="103"/>
                      <a:pt x="86" y="103"/>
                    </a:cubicBezTo>
                    <a:cubicBezTo>
                      <a:pt x="86" y="503"/>
                      <a:pt x="86" y="503"/>
                      <a:pt x="86" y="503"/>
                    </a:cubicBezTo>
                    <a:cubicBezTo>
                      <a:pt x="522" y="503"/>
                      <a:pt x="522" y="503"/>
                      <a:pt x="522" y="503"/>
                    </a:cubicBezTo>
                    <a:cubicBezTo>
                      <a:pt x="522" y="465"/>
                      <a:pt x="522" y="465"/>
                      <a:pt x="522" y="465"/>
                    </a:cubicBezTo>
                    <a:cubicBezTo>
                      <a:pt x="123" y="465"/>
                      <a:pt x="123" y="465"/>
                      <a:pt x="123" y="465"/>
                    </a:cubicBezTo>
                    <a:lnTo>
                      <a:pt x="123" y="103"/>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grpSp>
        <p:grpSp>
          <p:nvGrpSpPr>
            <p:cNvPr id="13" name="Group 11"/>
            <p:cNvGrpSpPr>
              <a:grpSpLocks noChangeAspect="1"/>
            </p:cNvGrpSpPr>
            <p:nvPr/>
          </p:nvGrpSpPr>
          <p:grpSpPr bwMode="auto">
            <a:xfrm>
              <a:off x="6943932" y="3153520"/>
              <a:ext cx="964736" cy="640605"/>
              <a:chOff x="6553" y="1975"/>
              <a:chExt cx="756" cy="502"/>
            </a:xfrm>
            <a:solidFill>
              <a:srgbClr val="FFFFFF"/>
            </a:solidFill>
          </p:grpSpPr>
          <p:sp>
            <p:nvSpPr>
              <p:cNvPr id="17" name="Freeform 14"/>
              <p:cNvSpPr>
                <a:spLocks noEditPoints="1"/>
              </p:cNvSpPr>
              <p:nvPr/>
            </p:nvSpPr>
            <p:spPr bwMode="auto">
              <a:xfrm>
                <a:off x="6553" y="1975"/>
                <a:ext cx="756" cy="502"/>
              </a:xfrm>
              <a:custGeom>
                <a:avLst/>
                <a:gdLst>
                  <a:gd name="T0" fmla="*/ 2696 w 3779"/>
                  <a:gd name="T1" fmla="*/ 129 h 2508"/>
                  <a:gd name="T2" fmla="*/ 1789 w 3779"/>
                  <a:gd name="T3" fmla="*/ 129 h 2508"/>
                  <a:gd name="T4" fmla="*/ 1159 w 3779"/>
                  <a:gd name="T5" fmla="*/ 129 h 2508"/>
                  <a:gd name="T6" fmla="*/ 598 w 3779"/>
                  <a:gd name="T7" fmla="*/ 131 h 2508"/>
                  <a:gd name="T8" fmla="*/ 598 w 3779"/>
                  <a:gd name="T9" fmla="*/ 345 h 2508"/>
                  <a:gd name="T10" fmla="*/ 597 w 3779"/>
                  <a:gd name="T11" fmla="*/ 485 h 2508"/>
                  <a:gd name="T12" fmla="*/ 570 w 3779"/>
                  <a:gd name="T13" fmla="*/ 552 h 2508"/>
                  <a:gd name="T14" fmla="*/ 504 w 3779"/>
                  <a:gd name="T15" fmla="*/ 583 h 2508"/>
                  <a:gd name="T16" fmla="*/ 448 w 3779"/>
                  <a:gd name="T17" fmla="*/ 590 h 2508"/>
                  <a:gd name="T18" fmla="*/ 439 w 3779"/>
                  <a:gd name="T19" fmla="*/ 590 h 2508"/>
                  <a:gd name="T20" fmla="*/ 115 w 3779"/>
                  <a:gd name="T21" fmla="*/ 590 h 2508"/>
                  <a:gd name="T22" fmla="*/ 115 w 3779"/>
                  <a:gd name="T23" fmla="*/ 594 h 2508"/>
                  <a:gd name="T24" fmla="*/ 115 w 3779"/>
                  <a:gd name="T25" fmla="*/ 612 h 2508"/>
                  <a:gd name="T26" fmla="*/ 115 w 3779"/>
                  <a:gd name="T27" fmla="*/ 838 h 2508"/>
                  <a:gd name="T28" fmla="*/ 115 w 3779"/>
                  <a:gd name="T29" fmla="*/ 1254 h 2508"/>
                  <a:gd name="T30" fmla="*/ 115 w 3779"/>
                  <a:gd name="T31" fmla="*/ 1625 h 2508"/>
                  <a:gd name="T32" fmla="*/ 115 w 3779"/>
                  <a:gd name="T33" fmla="*/ 2115 h 2508"/>
                  <a:gd name="T34" fmla="*/ 136 w 3779"/>
                  <a:gd name="T35" fmla="*/ 2334 h 2508"/>
                  <a:gd name="T36" fmla="*/ 215 w 3779"/>
                  <a:gd name="T37" fmla="*/ 2390 h 2508"/>
                  <a:gd name="T38" fmla="*/ 3664 w 3779"/>
                  <a:gd name="T39" fmla="*/ 2393 h 2508"/>
                  <a:gd name="T40" fmla="*/ 3664 w 3779"/>
                  <a:gd name="T41" fmla="*/ 2365 h 2508"/>
                  <a:gd name="T42" fmla="*/ 3664 w 3779"/>
                  <a:gd name="T43" fmla="*/ 1980 h 2508"/>
                  <a:gd name="T44" fmla="*/ 3664 w 3779"/>
                  <a:gd name="T45" fmla="*/ 1122 h 2508"/>
                  <a:gd name="T46" fmla="*/ 3664 w 3779"/>
                  <a:gd name="T47" fmla="*/ 583 h 2508"/>
                  <a:gd name="T48" fmla="*/ 3655 w 3779"/>
                  <a:gd name="T49" fmla="*/ 211 h 2508"/>
                  <a:gd name="T50" fmla="*/ 3588 w 3779"/>
                  <a:gd name="T51" fmla="*/ 139 h 2508"/>
                  <a:gd name="T52" fmla="*/ 3537 w 3779"/>
                  <a:gd name="T53" fmla="*/ 129 h 2508"/>
                  <a:gd name="T54" fmla="*/ 3526 w 3779"/>
                  <a:gd name="T55" fmla="*/ 129 h 2508"/>
                  <a:gd name="T56" fmla="*/ 3368 w 3779"/>
                  <a:gd name="T57" fmla="*/ 129 h 2508"/>
                  <a:gd name="T58" fmla="*/ 3218 w 3779"/>
                  <a:gd name="T59" fmla="*/ 129 h 2508"/>
                  <a:gd name="T60" fmla="*/ 2999 w 3779"/>
                  <a:gd name="T61" fmla="*/ 129 h 2508"/>
                  <a:gd name="T62" fmla="*/ 518 w 3779"/>
                  <a:gd name="T63" fmla="*/ 0 h 2508"/>
                  <a:gd name="T64" fmla="*/ 1174 w 3779"/>
                  <a:gd name="T65" fmla="*/ 0 h 2508"/>
                  <a:gd name="T66" fmla="*/ 3667 w 3779"/>
                  <a:gd name="T67" fmla="*/ 22 h 2508"/>
                  <a:gd name="T68" fmla="*/ 3755 w 3779"/>
                  <a:gd name="T69" fmla="*/ 105 h 2508"/>
                  <a:gd name="T70" fmla="*/ 3779 w 3779"/>
                  <a:gd name="T71" fmla="*/ 200 h 2508"/>
                  <a:gd name="T72" fmla="*/ 3779 w 3779"/>
                  <a:gd name="T73" fmla="*/ 239 h 2508"/>
                  <a:gd name="T74" fmla="*/ 3779 w 3779"/>
                  <a:gd name="T75" fmla="*/ 510 h 2508"/>
                  <a:gd name="T76" fmla="*/ 3779 w 3779"/>
                  <a:gd name="T77" fmla="*/ 779 h 2508"/>
                  <a:gd name="T78" fmla="*/ 3779 w 3779"/>
                  <a:gd name="T79" fmla="*/ 2508 h 2508"/>
                  <a:gd name="T80" fmla="*/ 3173 w 3779"/>
                  <a:gd name="T81" fmla="*/ 2508 h 2508"/>
                  <a:gd name="T82" fmla="*/ 159 w 3779"/>
                  <a:gd name="T83" fmla="*/ 2506 h 2508"/>
                  <a:gd name="T84" fmla="*/ 61 w 3779"/>
                  <a:gd name="T85" fmla="*/ 2454 h 2508"/>
                  <a:gd name="T86" fmla="*/ 3 w 3779"/>
                  <a:gd name="T87" fmla="*/ 2346 h 2508"/>
                  <a:gd name="T88" fmla="*/ 0 w 3779"/>
                  <a:gd name="T89" fmla="*/ 2274 h 2508"/>
                  <a:gd name="T90" fmla="*/ 1 w 3779"/>
                  <a:gd name="T91" fmla="*/ 2123 h 2508"/>
                  <a:gd name="T92" fmla="*/ 2 w 3779"/>
                  <a:gd name="T93" fmla="*/ 1883 h 2508"/>
                  <a:gd name="T94" fmla="*/ 2 w 3779"/>
                  <a:gd name="T95" fmla="*/ 1579 h 2508"/>
                  <a:gd name="T96" fmla="*/ 3 w 3779"/>
                  <a:gd name="T97" fmla="*/ 1243 h 2508"/>
                  <a:gd name="T98" fmla="*/ 2 w 3779"/>
                  <a:gd name="T99" fmla="*/ 903 h 2508"/>
                  <a:gd name="T100" fmla="*/ 1 w 3779"/>
                  <a:gd name="T101" fmla="*/ 587 h 2508"/>
                  <a:gd name="T102" fmla="*/ 18 w 3779"/>
                  <a:gd name="T103" fmla="*/ 495 h 2508"/>
                  <a:gd name="T104" fmla="*/ 90 w 3779"/>
                  <a:gd name="T105" fmla="*/ 418 h 2508"/>
                  <a:gd name="T106" fmla="*/ 196 w 3779"/>
                  <a:gd name="T107" fmla="*/ 305 h 2508"/>
                  <a:gd name="T108" fmla="*/ 316 w 3779"/>
                  <a:gd name="T109" fmla="*/ 176 h 2508"/>
                  <a:gd name="T110" fmla="*/ 428 w 3779"/>
                  <a:gd name="T111" fmla="*/ 53 h 2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79" h="2508">
                    <a:moveTo>
                      <a:pt x="2931" y="129"/>
                    </a:moveTo>
                    <a:lnTo>
                      <a:pt x="2858" y="129"/>
                    </a:lnTo>
                    <a:lnTo>
                      <a:pt x="2780" y="129"/>
                    </a:lnTo>
                    <a:lnTo>
                      <a:pt x="2696" y="129"/>
                    </a:lnTo>
                    <a:lnTo>
                      <a:pt x="2510" y="129"/>
                    </a:lnTo>
                    <a:lnTo>
                      <a:pt x="2407" y="129"/>
                    </a:lnTo>
                    <a:lnTo>
                      <a:pt x="2298" y="129"/>
                    </a:lnTo>
                    <a:lnTo>
                      <a:pt x="1789" y="129"/>
                    </a:lnTo>
                    <a:lnTo>
                      <a:pt x="1644" y="129"/>
                    </a:lnTo>
                    <a:lnTo>
                      <a:pt x="1490" y="129"/>
                    </a:lnTo>
                    <a:lnTo>
                      <a:pt x="1329" y="129"/>
                    </a:lnTo>
                    <a:lnTo>
                      <a:pt x="1159" y="129"/>
                    </a:lnTo>
                    <a:lnTo>
                      <a:pt x="981" y="129"/>
                    </a:lnTo>
                    <a:lnTo>
                      <a:pt x="598" y="129"/>
                    </a:lnTo>
                    <a:lnTo>
                      <a:pt x="598" y="130"/>
                    </a:lnTo>
                    <a:lnTo>
                      <a:pt x="598" y="131"/>
                    </a:lnTo>
                    <a:lnTo>
                      <a:pt x="598" y="135"/>
                    </a:lnTo>
                    <a:lnTo>
                      <a:pt x="598" y="259"/>
                    </a:lnTo>
                    <a:lnTo>
                      <a:pt x="598" y="298"/>
                    </a:lnTo>
                    <a:lnTo>
                      <a:pt x="598" y="345"/>
                    </a:lnTo>
                    <a:lnTo>
                      <a:pt x="598" y="461"/>
                    </a:lnTo>
                    <a:lnTo>
                      <a:pt x="598" y="463"/>
                    </a:lnTo>
                    <a:lnTo>
                      <a:pt x="598" y="472"/>
                    </a:lnTo>
                    <a:lnTo>
                      <a:pt x="597" y="485"/>
                    </a:lnTo>
                    <a:lnTo>
                      <a:pt x="594" y="501"/>
                    </a:lnTo>
                    <a:lnTo>
                      <a:pt x="589" y="518"/>
                    </a:lnTo>
                    <a:lnTo>
                      <a:pt x="582" y="536"/>
                    </a:lnTo>
                    <a:lnTo>
                      <a:pt x="570" y="552"/>
                    </a:lnTo>
                    <a:lnTo>
                      <a:pt x="554" y="566"/>
                    </a:lnTo>
                    <a:lnTo>
                      <a:pt x="540" y="573"/>
                    </a:lnTo>
                    <a:lnTo>
                      <a:pt x="522" y="579"/>
                    </a:lnTo>
                    <a:lnTo>
                      <a:pt x="504" y="583"/>
                    </a:lnTo>
                    <a:lnTo>
                      <a:pt x="487" y="587"/>
                    </a:lnTo>
                    <a:lnTo>
                      <a:pt x="471" y="589"/>
                    </a:lnTo>
                    <a:lnTo>
                      <a:pt x="457" y="590"/>
                    </a:lnTo>
                    <a:lnTo>
                      <a:pt x="448" y="590"/>
                    </a:lnTo>
                    <a:lnTo>
                      <a:pt x="446" y="590"/>
                    </a:lnTo>
                    <a:lnTo>
                      <a:pt x="444" y="590"/>
                    </a:lnTo>
                    <a:lnTo>
                      <a:pt x="442" y="590"/>
                    </a:lnTo>
                    <a:lnTo>
                      <a:pt x="439" y="590"/>
                    </a:lnTo>
                    <a:lnTo>
                      <a:pt x="315" y="590"/>
                    </a:lnTo>
                    <a:lnTo>
                      <a:pt x="276" y="590"/>
                    </a:lnTo>
                    <a:lnTo>
                      <a:pt x="230" y="590"/>
                    </a:lnTo>
                    <a:lnTo>
                      <a:pt x="115" y="590"/>
                    </a:lnTo>
                    <a:lnTo>
                      <a:pt x="115" y="591"/>
                    </a:lnTo>
                    <a:lnTo>
                      <a:pt x="115" y="591"/>
                    </a:lnTo>
                    <a:lnTo>
                      <a:pt x="115" y="591"/>
                    </a:lnTo>
                    <a:lnTo>
                      <a:pt x="115" y="594"/>
                    </a:lnTo>
                    <a:lnTo>
                      <a:pt x="115" y="596"/>
                    </a:lnTo>
                    <a:lnTo>
                      <a:pt x="115" y="599"/>
                    </a:lnTo>
                    <a:lnTo>
                      <a:pt x="115" y="605"/>
                    </a:lnTo>
                    <a:lnTo>
                      <a:pt x="115" y="612"/>
                    </a:lnTo>
                    <a:lnTo>
                      <a:pt x="115" y="621"/>
                    </a:lnTo>
                    <a:lnTo>
                      <a:pt x="115" y="633"/>
                    </a:lnTo>
                    <a:lnTo>
                      <a:pt x="115" y="799"/>
                    </a:lnTo>
                    <a:lnTo>
                      <a:pt x="115" y="838"/>
                    </a:lnTo>
                    <a:lnTo>
                      <a:pt x="115" y="881"/>
                    </a:lnTo>
                    <a:lnTo>
                      <a:pt x="115" y="1107"/>
                    </a:lnTo>
                    <a:lnTo>
                      <a:pt x="115" y="1177"/>
                    </a:lnTo>
                    <a:lnTo>
                      <a:pt x="115" y="1254"/>
                    </a:lnTo>
                    <a:lnTo>
                      <a:pt x="115" y="1336"/>
                    </a:lnTo>
                    <a:lnTo>
                      <a:pt x="115" y="1425"/>
                    </a:lnTo>
                    <a:lnTo>
                      <a:pt x="115" y="1522"/>
                    </a:lnTo>
                    <a:lnTo>
                      <a:pt x="115" y="1625"/>
                    </a:lnTo>
                    <a:lnTo>
                      <a:pt x="115" y="1736"/>
                    </a:lnTo>
                    <a:lnTo>
                      <a:pt x="115" y="1854"/>
                    </a:lnTo>
                    <a:lnTo>
                      <a:pt x="115" y="1980"/>
                    </a:lnTo>
                    <a:lnTo>
                      <a:pt x="115" y="2115"/>
                    </a:lnTo>
                    <a:lnTo>
                      <a:pt x="115" y="2257"/>
                    </a:lnTo>
                    <a:lnTo>
                      <a:pt x="117" y="2285"/>
                    </a:lnTo>
                    <a:lnTo>
                      <a:pt x="125" y="2311"/>
                    </a:lnTo>
                    <a:lnTo>
                      <a:pt x="136" y="2334"/>
                    </a:lnTo>
                    <a:lnTo>
                      <a:pt x="151" y="2353"/>
                    </a:lnTo>
                    <a:lnTo>
                      <a:pt x="170" y="2371"/>
                    </a:lnTo>
                    <a:lnTo>
                      <a:pt x="191" y="2383"/>
                    </a:lnTo>
                    <a:lnTo>
                      <a:pt x="215" y="2390"/>
                    </a:lnTo>
                    <a:lnTo>
                      <a:pt x="242" y="2393"/>
                    </a:lnTo>
                    <a:lnTo>
                      <a:pt x="3664" y="2393"/>
                    </a:lnTo>
                    <a:lnTo>
                      <a:pt x="3664" y="2393"/>
                    </a:lnTo>
                    <a:lnTo>
                      <a:pt x="3664" y="2393"/>
                    </a:lnTo>
                    <a:lnTo>
                      <a:pt x="3664" y="2392"/>
                    </a:lnTo>
                    <a:lnTo>
                      <a:pt x="3664" y="2380"/>
                    </a:lnTo>
                    <a:lnTo>
                      <a:pt x="3664" y="2374"/>
                    </a:lnTo>
                    <a:lnTo>
                      <a:pt x="3664" y="2365"/>
                    </a:lnTo>
                    <a:lnTo>
                      <a:pt x="3664" y="2128"/>
                    </a:lnTo>
                    <a:lnTo>
                      <a:pt x="3664" y="2083"/>
                    </a:lnTo>
                    <a:lnTo>
                      <a:pt x="3664" y="2034"/>
                    </a:lnTo>
                    <a:lnTo>
                      <a:pt x="3664" y="1980"/>
                    </a:lnTo>
                    <a:lnTo>
                      <a:pt x="3664" y="1921"/>
                    </a:lnTo>
                    <a:lnTo>
                      <a:pt x="3664" y="1857"/>
                    </a:lnTo>
                    <a:lnTo>
                      <a:pt x="3664" y="1787"/>
                    </a:lnTo>
                    <a:lnTo>
                      <a:pt x="3664" y="1122"/>
                    </a:lnTo>
                    <a:lnTo>
                      <a:pt x="3664" y="999"/>
                    </a:lnTo>
                    <a:lnTo>
                      <a:pt x="3664" y="869"/>
                    </a:lnTo>
                    <a:lnTo>
                      <a:pt x="3664" y="730"/>
                    </a:lnTo>
                    <a:lnTo>
                      <a:pt x="3664" y="583"/>
                    </a:lnTo>
                    <a:lnTo>
                      <a:pt x="3664" y="429"/>
                    </a:lnTo>
                    <a:lnTo>
                      <a:pt x="3664" y="265"/>
                    </a:lnTo>
                    <a:lnTo>
                      <a:pt x="3662" y="237"/>
                    </a:lnTo>
                    <a:lnTo>
                      <a:pt x="3655" y="211"/>
                    </a:lnTo>
                    <a:lnTo>
                      <a:pt x="3644" y="188"/>
                    </a:lnTo>
                    <a:lnTo>
                      <a:pt x="3628" y="168"/>
                    </a:lnTo>
                    <a:lnTo>
                      <a:pt x="3609" y="152"/>
                    </a:lnTo>
                    <a:lnTo>
                      <a:pt x="3588" y="139"/>
                    </a:lnTo>
                    <a:lnTo>
                      <a:pt x="3564" y="131"/>
                    </a:lnTo>
                    <a:lnTo>
                      <a:pt x="3537" y="129"/>
                    </a:lnTo>
                    <a:lnTo>
                      <a:pt x="3537" y="129"/>
                    </a:lnTo>
                    <a:lnTo>
                      <a:pt x="3537" y="129"/>
                    </a:lnTo>
                    <a:lnTo>
                      <a:pt x="3535" y="129"/>
                    </a:lnTo>
                    <a:lnTo>
                      <a:pt x="3534" y="129"/>
                    </a:lnTo>
                    <a:lnTo>
                      <a:pt x="3530" y="129"/>
                    </a:lnTo>
                    <a:lnTo>
                      <a:pt x="3526" y="129"/>
                    </a:lnTo>
                    <a:lnTo>
                      <a:pt x="3520" y="129"/>
                    </a:lnTo>
                    <a:lnTo>
                      <a:pt x="3421" y="129"/>
                    </a:lnTo>
                    <a:lnTo>
                      <a:pt x="3396" y="129"/>
                    </a:lnTo>
                    <a:lnTo>
                      <a:pt x="3368" y="129"/>
                    </a:lnTo>
                    <a:lnTo>
                      <a:pt x="3337" y="129"/>
                    </a:lnTo>
                    <a:lnTo>
                      <a:pt x="3301" y="129"/>
                    </a:lnTo>
                    <a:lnTo>
                      <a:pt x="3261" y="129"/>
                    </a:lnTo>
                    <a:lnTo>
                      <a:pt x="3218" y="129"/>
                    </a:lnTo>
                    <a:lnTo>
                      <a:pt x="3171" y="129"/>
                    </a:lnTo>
                    <a:lnTo>
                      <a:pt x="3118" y="129"/>
                    </a:lnTo>
                    <a:lnTo>
                      <a:pt x="3061" y="129"/>
                    </a:lnTo>
                    <a:lnTo>
                      <a:pt x="2999" y="129"/>
                    </a:lnTo>
                    <a:lnTo>
                      <a:pt x="2931" y="129"/>
                    </a:lnTo>
                    <a:close/>
                    <a:moveTo>
                      <a:pt x="477" y="0"/>
                    </a:moveTo>
                    <a:lnTo>
                      <a:pt x="513" y="0"/>
                    </a:lnTo>
                    <a:lnTo>
                      <a:pt x="518" y="0"/>
                    </a:lnTo>
                    <a:lnTo>
                      <a:pt x="530" y="0"/>
                    </a:lnTo>
                    <a:lnTo>
                      <a:pt x="1034" y="0"/>
                    </a:lnTo>
                    <a:lnTo>
                      <a:pt x="1102" y="0"/>
                    </a:lnTo>
                    <a:lnTo>
                      <a:pt x="1174" y="0"/>
                    </a:lnTo>
                    <a:lnTo>
                      <a:pt x="3586" y="0"/>
                    </a:lnTo>
                    <a:lnTo>
                      <a:pt x="3613" y="4"/>
                    </a:lnTo>
                    <a:lnTo>
                      <a:pt x="3640" y="11"/>
                    </a:lnTo>
                    <a:lnTo>
                      <a:pt x="3667" y="22"/>
                    </a:lnTo>
                    <a:lnTo>
                      <a:pt x="3692" y="37"/>
                    </a:lnTo>
                    <a:lnTo>
                      <a:pt x="3716" y="56"/>
                    </a:lnTo>
                    <a:lnTo>
                      <a:pt x="3736" y="79"/>
                    </a:lnTo>
                    <a:lnTo>
                      <a:pt x="3755" y="105"/>
                    </a:lnTo>
                    <a:lnTo>
                      <a:pt x="3767" y="134"/>
                    </a:lnTo>
                    <a:lnTo>
                      <a:pt x="3777" y="165"/>
                    </a:lnTo>
                    <a:lnTo>
                      <a:pt x="3779" y="200"/>
                    </a:lnTo>
                    <a:lnTo>
                      <a:pt x="3779" y="200"/>
                    </a:lnTo>
                    <a:lnTo>
                      <a:pt x="3779" y="201"/>
                    </a:lnTo>
                    <a:lnTo>
                      <a:pt x="3779" y="202"/>
                    </a:lnTo>
                    <a:lnTo>
                      <a:pt x="3779" y="227"/>
                    </a:lnTo>
                    <a:lnTo>
                      <a:pt x="3779" y="239"/>
                    </a:lnTo>
                    <a:lnTo>
                      <a:pt x="3779" y="251"/>
                    </a:lnTo>
                    <a:lnTo>
                      <a:pt x="3779" y="266"/>
                    </a:lnTo>
                    <a:lnTo>
                      <a:pt x="3779" y="467"/>
                    </a:lnTo>
                    <a:lnTo>
                      <a:pt x="3779" y="510"/>
                    </a:lnTo>
                    <a:lnTo>
                      <a:pt x="3779" y="559"/>
                    </a:lnTo>
                    <a:lnTo>
                      <a:pt x="3779" y="699"/>
                    </a:lnTo>
                    <a:lnTo>
                      <a:pt x="3779" y="737"/>
                    </a:lnTo>
                    <a:lnTo>
                      <a:pt x="3779" y="779"/>
                    </a:lnTo>
                    <a:lnTo>
                      <a:pt x="3779" y="1868"/>
                    </a:lnTo>
                    <a:lnTo>
                      <a:pt x="3779" y="2014"/>
                    </a:lnTo>
                    <a:lnTo>
                      <a:pt x="3779" y="2108"/>
                    </a:lnTo>
                    <a:lnTo>
                      <a:pt x="3779" y="2508"/>
                    </a:lnTo>
                    <a:lnTo>
                      <a:pt x="3779" y="2508"/>
                    </a:lnTo>
                    <a:lnTo>
                      <a:pt x="3778" y="2508"/>
                    </a:lnTo>
                    <a:lnTo>
                      <a:pt x="3775" y="2508"/>
                    </a:lnTo>
                    <a:lnTo>
                      <a:pt x="3173" y="2508"/>
                    </a:lnTo>
                    <a:lnTo>
                      <a:pt x="3112" y="2508"/>
                    </a:lnTo>
                    <a:lnTo>
                      <a:pt x="3046" y="2508"/>
                    </a:lnTo>
                    <a:lnTo>
                      <a:pt x="186" y="2508"/>
                    </a:lnTo>
                    <a:lnTo>
                      <a:pt x="159" y="2506"/>
                    </a:lnTo>
                    <a:lnTo>
                      <a:pt x="133" y="2499"/>
                    </a:lnTo>
                    <a:lnTo>
                      <a:pt x="108" y="2487"/>
                    </a:lnTo>
                    <a:lnTo>
                      <a:pt x="82" y="2472"/>
                    </a:lnTo>
                    <a:lnTo>
                      <a:pt x="61" y="2454"/>
                    </a:lnTo>
                    <a:lnTo>
                      <a:pt x="40" y="2432"/>
                    </a:lnTo>
                    <a:lnTo>
                      <a:pt x="24" y="2407"/>
                    </a:lnTo>
                    <a:lnTo>
                      <a:pt x="11" y="2379"/>
                    </a:lnTo>
                    <a:lnTo>
                      <a:pt x="3" y="2346"/>
                    </a:lnTo>
                    <a:lnTo>
                      <a:pt x="0" y="2312"/>
                    </a:lnTo>
                    <a:lnTo>
                      <a:pt x="0" y="2308"/>
                    </a:lnTo>
                    <a:lnTo>
                      <a:pt x="0" y="2295"/>
                    </a:lnTo>
                    <a:lnTo>
                      <a:pt x="0" y="2274"/>
                    </a:lnTo>
                    <a:lnTo>
                      <a:pt x="0" y="2247"/>
                    </a:lnTo>
                    <a:lnTo>
                      <a:pt x="0" y="2211"/>
                    </a:lnTo>
                    <a:lnTo>
                      <a:pt x="1" y="2170"/>
                    </a:lnTo>
                    <a:lnTo>
                      <a:pt x="1" y="2123"/>
                    </a:lnTo>
                    <a:lnTo>
                      <a:pt x="1" y="2070"/>
                    </a:lnTo>
                    <a:lnTo>
                      <a:pt x="1" y="2012"/>
                    </a:lnTo>
                    <a:lnTo>
                      <a:pt x="1" y="1949"/>
                    </a:lnTo>
                    <a:lnTo>
                      <a:pt x="2" y="1883"/>
                    </a:lnTo>
                    <a:lnTo>
                      <a:pt x="2" y="1811"/>
                    </a:lnTo>
                    <a:lnTo>
                      <a:pt x="2" y="1737"/>
                    </a:lnTo>
                    <a:lnTo>
                      <a:pt x="2" y="1659"/>
                    </a:lnTo>
                    <a:lnTo>
                      <a:pt x="2" y="1579"/>
                    </a:lnTo>
                    <a:lnTo>
                      <a:pt x="2" y="1498"/>
                    </a:lnTo>
                    <a:lnTo>
                      <a:pt x="2" y="1414"/>
                    </a:lnTo>
                    <a:lnTo>
                      <a:pt x="3" y="1329"/>
                    </a:lnTo>
                    <a:lnTo>
                      <a:pt x="3" y="1243"/>
                    </a:lnTo>
                    <a:lnTo>
                      <a:pt x="2" y="1157"/>
                    </a:lnTo>
                    <a:lnTo>
                      <a:pt x="2" y="1073"/>
                    </a:lnTo>
                    <a:lnTo>
                      <a:pt x="2" y="988"/>
                    </a:lnTo>
                    <a:lnTo>
                      <a:pt x="2" y="903"/>
                    </a:lnTo>
                    <a:lnTo>
                      <a:pt x="2" y="821"/>
                    </a:lnTo>
                    <a:lnTo>
                      <a:pt x="1" y="740"/>
                    </a:lnTo>
                    <a:lnTo>
                      <a:pt x="1" y="662"/>
                    </a:lnTo>
                    <a:lnTo>
                      <a:pt x="1" y="587"/>
                    </a:lnTo>
                    <a:lnTo>
                      <a:pt x="0" y="515"/>
                    </a:lnTo>
                    <a:lnTo>
                      <a:pt x="2" y="512"/>
                    </a:lnTo>
                    <a:lnTo>
                      <a:pt x="8" y="505"/>
                    </a:lnTo>
                    <a:lnTo>
                      <a:pt x="18" y="495"/>
                    </a:lnTo>
                    <a:lnTo>
                      <a:pt x="32" y="480"/>
                    </a:lnTo>
                    <a:lnTo>
                      <a:pt x="48" y="463"/>
                    </a:lnTo>
                    <a:lnTo>
                      <a:pt x="68" y="441"/>
                    </a:lnTo>
                    <a:lnTo>
                      <a:pt x="90" y="418"/>
                    </a:lnTo>
                    <a:lnTo>
                      <a:pt x="115" y="392"/>
                    </a:lnTo>
                    <a:lnTo>
                      <a:pt x="140" y="365"/>
                    </a:lnTo>
                    <a:lnTo>
                      <a:pt x="167" y="335"/>
                    </a:lnTo>
                    <a:lnTo>
                      <a:pt x="196" y="305"/>
                    </a:lnTo>
                    <a:lnTo>
                      <a:pt x="226" y="273"/>
                    </a:lnTo>
                    <a:lnTo>
                      <a:pt x="255" y="241"/>
                    </a:lnTo>
                    <a:lnTo>
                      <a:pt x="285" y="208"/>
                    </a:lnTo>
                    <a:lnTo>
                      <a:pt x="316" y="176"/>
                    </a:lnTo>
                    <a:lnTo>
                      <a:pt x="346" y="143"/>
                    </a:lnTo>
                    <a:lnTo>
                      <a:pt x="375" y="111"/>
                    </a:lnTo>
                    <a:lnTo>
                      <a:pt x="402" y="82"/>
                    </a:lnTo>
                    <a:lnTo>
                      <a:pt x="428" y="53"/>
                    </a:lnTo>
                    <a:lnTo>
                      <a:pt x="454" y="25"/>
                    </a:lnTo>
                    <a:lnTo>
                      <a:pt x="477"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2" name="Freeform 15"/>
              <p:cNvSpPr>
                <a:spLocks noEditPoints="1"/>
              </p:cNvSpPr>
              <p:nvPr/>
            </p:nvSpPr>
            <p:spPr bwMode="auto">
              <a:xfrm>
                <a:off x="6625" y="2104"/>
                <a:ext cx="614" cy="268"/>
              </a:xfrm>
              <a:custGeom>
                <a:avLst/>
                <a:gdLst>
                  <a:gd name="T0" fmla="*/ 3050 w 3073"/>
                  <a:gd name="T1" fmla="*/ 1231 h 1342"/>
                  <a:gd name="T2" fmla="*/ 3014 w 3073"/>
                  <a:gd name="T3" fmla="*/ 1342 h 1342"/>
                  <a:gd name="T4" fmla="*/ 2680 w 3073"/>
                  <a:gd name="T5" fmla="*/ 1342 h 1342"/>
                  <a:gd name="T6" fmla="*/ 2230 w 3073"/>
                  <a:gd name="T7" fmla="*/ 1281 h 1342"/>
                  <a:gd name="T8" fmla="*/ 1325 w 3073"/>
                  <a:gd name="T9" fmla="*/ 1219 h 1342"/>
                  <a:gd name="T10" fmla="*/ 1953 w 3073"/>
                  <a:gd name="T11" fmla="*/ 1261 h 1342"/>
                  <a:gd name="T12" fmla="*/ 1895 w 3073"/>
                  <a:gd name="T13" fmla="*/ 1342 h 1342"/>
                  <a:gd name="T14" fmla="*/ 1356 w 3073"/>
                  <a:gd name="T15" fmla="*/ 1342 h 1342"/>
                  <a:gd name="T16" fmla="*/ 1130 w 3073"/>
                  <a:gd name="T17" fmla="*/ 1245 h 1342"/>
                  <a:gd name="T18" fmla="*/ 288 w 3073"/>
                  <a:gd name="T19" fmla="*/ 1219 h 1342"/>
                  <a:gd name="T20" fmla="*/ 840 w 3073"/>
                  <a:gd name="T21" fmla="*/ 1300 h 1342"/>
                  <a:gd name="T22" fmla="*/ 666 w 3073"/>
                  <a:gd name="T23" fmla="*/ 1342 h 1342"/>
                  <a:gd name="T24" fmla="*/ 59 w 3073"/>
                  <a:gd name="T25" fmla="*/ 1342 h 1342"/>
                  <a:gd name="T26" fmla="*/ 41 w 3073"/>
                  <a:gd name="T27" fmla="*/ 1222 h 1342"/>
                  <a:gd name="T28" fmla="*/ 3050 w 3073"/>
                  <a:gd name="T29" fmla="*/ 923 h 1342"/>
                  <a:gd name="T30" fmla="*/ 3014 w 3073"/>
                  <a:gd name="T31" fmla="*/ 1040 h 1342"/>
                  <a:gd name="T32" fmla="*/ 2828 w 3073"/>
                  <a:gd name="T33" fmla="*/ 1040 h 1342"/>
                  <a:gd name="T34" fmla="*/ 2255 w 3073"/>
                  <a:gd name="T35" fmla="*/ 1027 h 1342"/>
                  <a:gd name="T36" fmla="*/ 2380 w 3073"/>
                  <a:gd name="T37" fmla="*/ 911 h 1342"/>
                  <a:gd name="T38" fmla="*/ 1953 w 3073"/>
                  <a:gd name="T39" fmla="*/ 955 h 1342"/>
                  <a:gd name="T40" fmla="*/ 1895 w 3073"/>
                  <a:gd name="T41" fmla="*/ 1040 h 1342"/>
                  <a:gd name="T42" fmla="*/ 1619 w 3073"/>
                  <a:gd name="T43" fmla="*/ 1040 h 1342"/>
                  <a:gd name="T44" fmla="*/ 1121 w 3073"/>
                  <a:gd name="T45" fmla="*/ 996 h 1342"/>
                  <a:gd name="T46" fmla="*/ 176 w 3073"/>
                  <a:gd name="T47" fmla="*/ 911 h 1342"/>
                  <a:gd name="T48" fmla="*/ 840 w 3073"/>
                  <a:gd name="T49" fmla="*/ 996 h 1342"/>
                  <a:gd name="T50" fmla="*/ 750 w 3073"/>
                  <a:gd name="T51" fmla="*/ 1040 h 1342"/>
                  <a:gd name="T52" fmla="*/ 317 w 3073"/>
                  <a:gd name="T53" fmla="*/ 1040 h 1342"/>
                  <a:gd name="T54" fmla="*/ 3 w 3073"/>
                  <a:gd name="T55" fmla="*/ 955 h 1342"/>
                  <a:gd name="T56" fmla="*/ 3034 w 3073"/>
                  <a:gd name="T57" fmla="*/ 613 h 1342"/>
                  <a:gd name="T58" fmla="*/ 3014 w 3073"/>
                  <a:gd name="T59" fmla="*/ 732 h 1342"/>
                  <a:gd name="T60" fmla="*/ 2255 w 3073"/>
                  <a:gd name="T61" fmla="*/ 621 h 1342"/>
                  <a:gd name="T62" fmla="*/ 1955 w 3073"/>
                  <a:gd name="T63" fmla="*/ 671 h 1342"/>
                  <a:gd name="T64" fmla="*/ 1130 w 3073"/>
                  <a:gd name="T65" fmla="*/ 707 h 1342"/>
                  <a:gd name="T66" fmla="*/ 784 w 3073"/>
                  <a:gd name="T67" fmla="*/ 609 h 1342"/>
                  <a:gd name="T68" fmla="*/ 802 w 3073"/>
                  <a:gd name="T69" fmla="*/ 728 h 1342"/>
                  <a:gd name="T70" fmla="*/ 12 w 3073"/>
                  <a:gd name="T71" fmla="*/ 634 h 1342"/>
                  <a:gd name="T72" fmla="*/ 3034 w 3073"/>
                  <a:gd name="T73" fmla="*/ 310 h 1342"/>
                  <a:gd name="T74" fmla="*/ 3014 w 3073"/>
                  <a:gd name="T75" fmla="*/ 431 h 1342"/>
                  <a:gd name="T76" fmla="*/ 2680 w 3073"/>
                  <a:gd name="T77" fmla="*/ 431 h 1342"/>
                  <a:gd name="T78" fmla="*/ 2255 w 3073"/>
                  <a:gd name="T79" fmla="*/ 319 h 1342"/>
                  <a:gd name="T80" fmla="*/ 1932 w 3073"/>
                  <a:gd name="T81" fmla="*/ 319 h 1342"/>
                  <a:gd name="T82" fmla="*/ 1896 w 3073"/>
                  <a:gd name="T83" fmla="*/ 431 h 1342"/>
                  <a:gd name="T84" fmla="*/ 1176 w 3073"/>
                  <a:gd name="T85" fmla="*/ 431 h 1342"/>
                  <a:gd name="T86" fmla="*/ 1159 w 3073"/>
                  <a:gd name="T87" fmla="*/ 310 h 1342"/>
                  <a:gd name="T88" fmla="*/ 832 w 3073"/>
                  <a:gd name="T89" fmla="*/ 332 h 1342"/>
                  <a:gd name="T90" fmla="*/ 784 w 3073"/>
                  <a:gd name="T91" fmla="*/ 431 h 1342"/>
                  <a:gd name="T92" fmla="*/ 41 w 3073"/>
                  <a:gd name="T93" fmla="*/ 427 h 1342"/>
                  <a:gd name="T94" fmla="*/ 59 w 3073"/>
                  <a:gd name="T95" fmla="*/ 307 h 1342"/>
                  <a:gd name="T96" fmla="*/ 3062 w 3073"/>
                  <a:gd name="T97" fmla="*/ 25 h 1342"/>
                  <a:gd name="T98" fmla="*/ 3014 w 3073"/>
                  <a:gd name="T99" fmla="*/ 122 h 1342"/>
                  <a:gd name="T100" fmla="*/ 2784 w 3073"/>
                  <a:gd name="T101" fmla="*/ 122 h 1342"/>
                  <a:gd name="T102" fmla="*/ 2242 w 3073"/>
                  <a:gd name="T103" fmla="*/ 97 h 1342"/>
                  <a:gd name="T104" fmla="*/ 2407 w 3073"/>
                  <a:gd name="T105" fmla="*/ 0 h 1342"/>
                  <a:gd name="T106" fmla="*/ 1932 w 3073"/>
                  <a:gd name="T107" fmla="*/ 11 h 1342"/>
                  <a:gd name="T108" fmla="*/ 1896 w 3073"/>
                  <a:gd name="T109" fmla="*/ 122 h 1342"/>
                  <a:gd name="T110" fmla="*/ 1711 w 3073"/>
                  <a:gd name="T111" fmla="*/ 122 h 1342"/>
                  <a:gd name="T112" fmla="*/ 1143 w 3073"/>
                  <a:gd name="T113" fmla="*/ 111 h 1342"/>
                  <a:gd name="T114" fmla="*/ 1266 w 3073"/>
                  <a:gd name="T115" fmla="*/ 0 h 1342"/>
                  <a:gd name="T116" fmla="*/ 802 w 3073"/>
                  <a:gd name="T117" fmla="*/ 2 h 1342"/>
                  <a:gd name="T118" fmla="*/ 784 w 3073"/>
                  <a:gd name="T119" fmla="*/ 122 h 1342"/>
                  <a:gd name="T120" fmla="*/ 655 w 3073"/>
                  <a:gd name="T121" fmla="*/ 122 h 1342"/>
                  <a:gd name="T122" fmla="*/ 400 w 3073"/>
                  <a:gd name="T123" fmla="*/ 63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73" h="1342">
                    <a:moveTo>
                      <a:pt x="2407" y="1219"/>
                    </a:moveTo>
                    <a:lnTo>
                      <a:pt x="2438" y="1219"/>
                    </a:lnTo>
                    <a:lnTo>
                      <a:pt x="2476" y="1219"/>
                    </a:lnTo>
                    <a:lnTo>
                      <a:pt x="2520" y="1219"/>
                    </a:lnTo>
                    <a:lnTo>
                      <a:pt x="2568" y="1219"/>
                    </a:lnTo>
                    <a:lnTo>
                      <a:pt x="2624" y="1219"/>
                    </a:lnTo>
                    <a:lnTo>
                      <a:pt x="3014" y="1219"/>
                    </a:lnTo>
                    <a:lnTo>
                      <a:pt x="3034" y="1222"/>
                    </a:lnTo>
                    <a:lnTo>
                      <a:pt x="3050" y="1231"/>
                    </a:lnTo>
                    <a:lnTo>
                      <a:pt x="3062" y="1245"/>
                    </a:lnTo>
                    <a:lnTo>
                      <a:pt x="3070" y="1261"/>
                    </a:lnTo>
                    <a:lnTo>
                      <a:pt x="3073" y="1281"/>
                    </a:lnTo>
                    <a:lnTo>
                      <a:pt x="3070" y="1300"/>
                    </a:lnTo>
                    <a:lnTo>
                      <a:pt x="3062" y="1317"/>
                    </a:lnTo>
                    <a:lnTo>
                      <a:pt x="3050" y="1330"/>
                    </a:lnTo>
                    <a:lnTo>
                      <a:pt x="3034" y="1339"/>
                    </a:lnTo>
                    <a:lnTo>
                      <a:pt x="3014" y="1342"/>
                    </a:lnTo>
                    <a:lnTo>
                      <a:pt x="3014" y="1342"/>
                    </a:lnTo>
                    <a:lnTo>
                      <a:pt x="3014" y="1342"/>
                    </a:lnTo>
                    <a:lnTo>
                      <a:pt x="3013" y="1342"/>
                    </a:lnTo>
                    <a:lnTo>
                      <a:pt x="2924" y="1342"/>
                    </a:lnTo>
                    <a:lnTo>
                      <a:pt x="2896" y="1342"/>
                    </a:lnTo>
                    <a:lnTo>
                      <a:pt x="2865" y="1342"/>
                    </a:lnTo>
                    <a:lnTo>
                      <a:pt x="2828" y="1342"/>
                    </a:lnTo>
                    <a:lnTo>
                      <a:pt x="2784" y="1342"/>
                    </a:lnTo>
                    <a:lnTo>
                      <a:pt x="2736" y="1342"/>
                    </a:lnTo>
                    <a:lnTo>
                      <a:pt x="2680" y="1342"/>
                    </a:lnTo>
                    <a:lnTo>
                      <a:pt x="2547" y="1342"/>
                    </a:lnTo>
                    <a:lnTo>
                      <a:pt x="2469" y="1342"/>
                    </a:lnTo>
                    <a:lnTo>
                      <a:pt x="2383" y="1342"/>
                    </a:lnTo>
                    <a:lnTo>
                      <a:pt x="2289" y="1342"/>
                    </a:lnTo>
                    <a:lnTo>
                      <a:pt x="2271" y="1339"/>
                    </a:lnTo>
                    <a:lnTo>
                      <a:pt x="2255" y="1330"/>
                    </a:lnTo>
                    <a:lnTo>
                      <a:pt x="2242" y="1317"/>
                    </a:lnTo>
                    <a:lnTo>
                      <a:pt x="2233" y="1300"/>
                    </a:lnTo>
                    <a:lnTo>
                      <a:pt x="2230" y="1281"/>
                    </a:lnTo>
                    <a:lnTo>
                      <a:pt x="2233" y="1261"/>
                    </a:lnTo>
                    <a:lnTo>
                      <a:pt x="2242" y="1245"/>
                    </a:lnTo>
                    <a:lnTo>
                      <a:pt x="2255" y="1231"/>
                    </a:lnTo>
                    <a:lnTo>
                      <a:pt x="2271" y="1222"/>
                    </a:lnTo>
                    <a:lnTo>
                      <a:pt x="2289" y="1219"/>
                    </a:lnTo>
                    <a:lnTo>
                      <a:pt x="2380" y="1219"/>
                    </a:lnTo>
                    <a:lnTo>
                      <a:pt x="2407" y="1219"/>
                    </a:lnTo>
                    <a:close/>
                    <a:moveTo>
                      <a:pt x="1293" y="1219"/>
                    </a:moveTo>
                    <a:lnTo>
                      <a:pt x="1325" y="1219"/>
                    </a:lnTo>
                    <a:lnTo>
                      <a:pt x="1361" y="1219"/>
                    </a:lnTo>
                    <a:lnTo>
                      <a:pt x="1405" y="1219"/>
                    </a:lnTo>
                    <a:lnTo>
                      <a:pt x="1453" y="1219"/>
                    </a:lnTo>
                    <a:lnTo>
                      <a:pt x="1509" y="1219"/>
                    </a:lnTo>
                    <a:lnTo>
                      <a:pt x="1896" y="1219"/>
                    </a:lnTo>
                    <a:lnTo>
                      <a:pt x="1916" y="1222"/>
                    </a:lnTo>
                    <a:lnTo>
                      <a:pt x="1932" y="1231"/>
                    </a:lnTo>
                    <a:lnTo>
                      <a:pt x="1945" y="1245"/>
                    </a:lnTo>
                    <a:lnTo>
                      <a:pt x="1953" y="1261"/>
                    </a:lnTo>
                    <a:lnTo>
                      <a:pt x="1955" y="1281"/>
                    </a:lnTo>
                    <a:lnTo>
                      <a:pt x="1953" y="1300"/>
                    </a:lnTo>
                    <a:lnTo>
                      <a:pt x="1945" y="1317"/>
                    </a:lnTo>
                    <a:lnTo>
                      <a:pt x="1932" y="1330"/>
                    </a:lnTo>
                    <a:lnTo>
                      <a:pt x="1916" y="1339"/>
                    </a:lnTo>
                    <a:lnTo>
                      <a:pt x="1896" y="1342"/>
                    </a:lnTo>
                    <a:lnTo>
                      <a:pt x="1896" y="1342"/>
                    </a:lnTo>
                    <a:lnTo>
                      <a:pt x="1896" y="1342"/>
                    </a:lnTo>
                    <a:lnTo>
                      <a:pt x="1895" y="1342"/>
                    </a:lnTo>
                    <a:lnTo>
                      <a:pt x="1807" y="1342"/>
                    </a:lnTo>
                    <a:lnTo>
                      <a:pt x="1780" y="1342"/>
                    </a:lnTo>
                    <a:lnTo>
                      <a:pt x="1749" y="1342"/>
                    </a:lnTo>
                    <a:lnTo>
                      <a:pt x="1711" y="1342"/>
                    </a:lnTo>
                    <a:lnTo>
                      <a:pt x="1668" y="1342"/>
                    </a:lnTo>
                    <a:lnTo>
                      <a:pt x="1619" y="1342"/>
                    </a:lnTo>
                    <a:lnTo>
                      <a:pt x="1564" y="1342"/>
                    </a:lnTo>
                    <a:lnTo>
                      <a:pt x="1432" y="1342"/>
                    </a:lnTo>
                    <a:lnTo>
                      <a:pt x="1356" y="1342"/>
                    </a:lnTo>
                    <a:lnTo>
                      <a:pt x="1270" y="1342"/>
                    </a:lnTo>
                    <a:lnTo>
                      <a:pt x="1176" y="1342"/>
                    </a:lnTo>
                    <a:lnTo>
                      <a:pt x="1159" y="1339"/>
                    </a:lnTo>
                    <a:lnTo>
                      <a:pt x="1143" y="1330"/>
                    </a:lnTo>
                    <a:lnTo>
                      <a:pt x="1130" y="1317"/>
                    </a:lnTo>
                    <a:lnTo>
                      <a:pt x="1121" y="1300"/>
                    </a:lnTo>
                    <a:lnTo>
                      <a:pt x="1117" y="1281"/>
                    </a:lnTo>
                    <a:lnTo>
                      <a:pt x="1121" y="1261"/>
                    </a:lnTo>
                    <a:lnTo>
                      <a:pt x="1130" y="1245"/>
                    </a:lnTo>
                    <a:lnTo>
                      <a:pt x="1143" y="1231"/>
                    </a:lnTo>
                    <a:lnTo>
                      <a:pt x="1159" y="1222"/>
                    </a:lnTo>
                    <a:lnTo>
                      <a:pt x="1176" y="1219"/>
                    </a:lnTo>
                    <a:lnTo>
                      <a:pt x="1266" y="1219"/>
                    </a:lnTo>
                    <a:lnTo>
                      <a:pt x="1293" y="1219"/>
                    </a:lnTo>
                    <a:close/>
                    <a:moveTo>
                      <a:pt x="176" y="1219"/>
                    </a:moveTo>
                    <a:lnTo>
                      <a:pt x="208" y="1219"/>
                    </a:lnTo>
                    <a:lnTo>
                      <a:pt x="246" y="1219"/>
                    </a:lnTo>
                    <a:lnTo>
                      <a:pt x="288" y="1219"/>
                    </a:lnTo>
                    <a:lnTo>
                      <a:pt x="337" y="1219"/>
                    </a:lnTo>
                    <a:lnTo>
                      <a:pt x="394" y="1219"/>
                    </a:lnTo>
                    <a:lnTo>
                      <a:pt x="784" y="1219"/>
                    </a:lnTo>
                    <a:lnTo>
                      <a:pt x="802" y="1222"/>
                    </a:lnTo>
                    <a:lnTo>
                      <a:pt x="820" y="1231"/>
                    </a:lnTo>
                    <a:lnTo>
                      <a:pt x="832" y="1245"/>
                    </a:lnTo>
                    <a:lnTo>
                      <a:pt x="840" y="1261"/>
                    </a:lnTo>
                    <a:lnTo>
                      <a:pt x="843" y="1281"/>
                    </a:lnTo>
                    <a:lnTo>
                      <a:pt x="840" y="1300"/>
                    </a:lnTo>
                    <a:lnTo>
                      <a:pt x="832" y="1317"/>
                    </a:lnTo>
                    <a:lnTo>
                      <a:pt x="820" y="1330"/>
                    </a:lnTo>
                    <a:lnTo>
                      <a:pt x="802" y="1339"/>
                    </a:lnTo>
                    <a:lnTo>
                      <a:pt x="784" y="1342"/>
                    </a:lnTo>
                    <a:lnTo>
                      <a:pt x="784" y="1342"/>
                    </a:lnTo>
                    <a:lnTo>
                      <a:pt x="784" y="1342"/>
                    </a:lnTo>
                    <a:lnTo>
                      <a:pt x="782" y="1342"/>
                    </a:lnTo>
                    <a:lnTo>
                      <a:pt x="694" y="1342"/>
                    </a:lnTo>
                    <a:lnTo>
                      <a:pt x="666" y="1342"/>
                    </a:lnTo>
                    <a:lnTo>
                      <a:pt x="634" y="1342"/>
                    </a:lnTo>
                    <a:lnTo>
                      <a:pt x="597" y="1342"/>
                    </a:lnTo>
                    <a:lnTo>
                      <a:pt x="554" y="1342"/>
                    </a:lnTo>
                    <a:lnTo>
                      <a:pt x="505" y="1342"/>
                    </a:lnTo>
                    <a:lnTo>
                      <a:pt x="450" y="1342"/>
                    </a:lnTo>
                    <a:lnTo>
                      <a:pt x="317" y="1342"/>
                    </a:lnTo>
                    <a:lnTo>
                      <a:pt x="239" y="1342"/>
                    </a:lnTo>
                    <a:lnTo>
                      <a:pt x="153" y="1342"/>
                    </a:lnTo>
                    <a:lnTo>
                      <a:pt x="59" y="1342"/>
                    </a:lnTo>
                    <a:lnTo>
                      <a:pt x="41" y="1339"/>
                    </a:lnTo>
                    <a:lnTo>
                      <a:pt x="25" y="1330"/>
                    </a:lnTo>
                    <a:lnTo>
                      <a:pt x="12" y="1317"/>
                    </a:lnTo>
                    <a:lnTo>
                      <a:pt x="3" y="1300"/>
                    </a:lnTo>
                    <a:lnTo>
                      <a:pt x="0" y="1281"/>
                    </a:lnTo>
                    <a:lnTo>
                      <a:pt x="3" y="1261"/>
                    </a:lnTo>
                    <a:lnTo>
                      <a:pt x="12" y="1245"/>
                    </a:lnTo>
                    <a:lnTo>
                      <a:pt x="25" y="1231"/>
                    </a:lnTo>
                    <a:lnTo>
                      <a:pt x="41" y="1222"/>
                    </a:lnTo>
                    <a:lnTo>
                      <a:pt x="59" y="1219"/>
                    </a:lnTo>
                    <a:lnTo>
                      <a:pt x="150" y="1219"/>
                    </a:lnTo>
                    <a:lnTo>
                      <a:pt x="176" y="1219"/>
                    </a:lnTo>
                    <a:close/>
                    <a:moveTo>
                      <a:pt x="2407" y="911"/>
                    </a:moveTo>
                    <a:lnTo>
                      <a:pt x="2438" y="911"/>
                    </a:lnTo>
                    <a:lnTo>
                      <a:pt x="2476" y="911"/>
                    </a:lnTo>
                    <a:lnTo>
                      <a:pt x="3014" y="911"/>
                    </a:lnTo>
                    <a:lnTo>
                      <a:pt x="3034" y="914"/>
                    </a:lnTo>
                    <a:lnTo>
                      <a:pt x="3050" y="923"/>
                    </a:lnTo>
                    <a:lnTo>
                      <a:pt x="3062" y="937"/>
                    </a:lnTo>
                    <a:lnTo>
                      <a:pt x="3070" y="955"/>
                    </a:lnTo>
                    <a:lnTo>
                      <a:pt x="3073" y="976"/>
                    </a:lnTo>
                    <a:lnTo>
                      <a:pt x="3070" y="996"/>
                    </a:lnTo>
                    <a:lnTo>
                      <a:pt x="3062" y="1014"/>
                    </a:lnTo>
                    <a:lnTo>
                      <a:pt x="3050" y="1027"/>
                    </a:lnTo>
                    <a:lnTo>
                      <a:pt x="3034" y="1037"/>
                    </a:lnTo>
                    <a:lnTo>
                      <a:pt x="3014" y="1040"/>
                    </a:lnTo>
                    <a:lnTo>
                      <a:pt x="3014" y="1040"/>
                    </a:lnTo>
                    <a:lnTo>
                      <a:pt x="3014" y="1040"/>
                    </a:lnTo>
                    <a:lnTo>
                      <a:pt x="3013" y="1040"/>
                    </a:lnTo>
                    <a:lnTo>
                      <a:pt x="2991" y="1040"/>
                    </a:lnTo>
                    <a:lnTo>
                      <a:pt x="2980" y="1040"/>
                    </a:lnTo>
                    <a:lnTo>
                      <a:pt x="2965" y="1040"/>
                    </a:lnTo>
                    <a:lnTo>
                      <a:pt x="2924" y="1040"/>
                    </a:lnTo>
                    <a:lnTo>
                      <a:pt x="2896" y="1040"/>
                    </a:lnTo>
                    <a:lnTo>
                      <a:pt x="2865" y="1040"/>
                    </a:lnTo>
                    <a:lnTo>
                      <a:pt x="2828" y="1040"/>
                    </a:lnTo>
                    <a:lnTo>
                      <a:pt x="2784" y="1040"/>
                    </a:lnTo>
                    <a:lnTo>
                      <a:pt x="2736" y="1040"/>
                    </a:lnTo>
                    <a:lnTo>
                      <a:pt x="2680" y="1040"/>
                    </a:lnTo>
                    <a:lnTo>
                      <a:pt x="2547" y="1040"/>
                    </a:lnTo>
                    <a:lnTo>
                      <a:pt x="2469" y="1040"/>
                    </a:lnTo>
                    <a:lnTo>
                      <a:pt x="2383" y="1040"/>
                    </a:lnTo>
                    <a:lnTo>
                      <a:pt x="2289" y="1040"/>
                    </a:lnTo>
                    <a:lnTo>
                      <a:pt x="2271" y="1037"/>
                    </a:lnTo>
                    <a:lnTo>
                      <a:pt x="2255" y="1027"/>
                    </a:lnTo>
                    <a:lnTo>
                      <a:pt x="2242" y="1014"/>
                    </a:lnTo>
                    <a:lnTo>
                      <a:pt x="2233" y="996"/>
                    </a:lnTo>
                    <a:lnTo>
                      <a:pt x="2230" y="976"/>
                    </a:lnTo>
                    <a:lnTo>
                      <a:pt x="2233" y="955"/>
                    </a:lnTo>
                    <a:lnTo>
                      <a:pt x="2242" y="937"/>
                    </a:lnTo>
                    <a:lnTo>
                      <a:pt x="2255" y="923"/>
                    </a:lnTo>
                    <a:lnTo>
                      <a:pt x="2271" y="914"/>
                    </a:lnTo>
                    <a:lnTo>
                      <a:pt x="2289" y="911"/>
                    </a:lnTo>
                    <a:lnTo>
                      <a:pt x="2380" y="911"/>
                    </a:lnTo>
                    <a:lnTo>
                      <a:pt x="2407" y="911"/>
                    </a:lnTo>
                    <a:close/>
                    <a:moveTo>
                      <a:pt x="1293" y="911"/>
                    </a:moveTo>
                    <a:lnTo>
                      <a:pt x="1325" y="911"/>
                    </a:lnTo>
                    <a:lnTo>
                      <a:pt x="1361" y="911"/>
                    </a:lnTo>
                    <a:lnTo>
                      <a:pt x="1896" y="911"/>
                    </a:lnTo>
                    <a:lnTo>
                      <a:pt x="1916" y="914"/>
                    </a:lnTo>
                    <a:lnTo>
                      <a:pt x="1932" y="923"/>
                    </a:lnTo>
                    <a:lnTo>
                      <a:pt x="1945" y="937"/>
                    </a:lnTo>
                    <a:lnTo>
                      <a:pt x="1953" y="955"/>
                    </a:lnTo>
                    <a:lnTo>
                      <a:pt x="1955" y="976"/>
                    </a:lnTo>
                    <a:lnTo>
                      <a:pt x="1953" y="996"/>
                    </a:lnTo>
                    <a:lnTo>
                      <a:pt x="1945" y="1014"/>
                    </a:lnTo>
                    <a:lnTo>
                      <a:pt x="1932" y="1027"/>
                    </a:lnTo>
                    <a:lnTo>
                      <a:pt x="1916" y="1037"/>
                    </a:lnTo>
                    <a:lnTo>
                      <a:pt x="1896" y="1040"/>
                    </a:lnTo>
                    <a:lnTo>
                      <a:pt x="1896" y="1040"/>
                    </a:lnTo>
                    <a:lnTo>
                      <a:pt x="1896" y="1040"/>
                    </a:lnTo>
                    <a:lnTo>
                      <a:pt x="1895" y="1040"/>
                    </a:lnTo>
                    <a:lnTo>
                      <a:pt x="1873" y="1040"/>
                    </a:lnTo>
                    <a:lnTo>
                      <a:pt x="1862" y="1040"/>
                    </a:lnTo>
                    <a:lnTo>
                      <a:pt x="1847" y="1040"/>
                    </a:lnTo>
                    <a:lnTo>
                      <a:pt x="1807" y="1040"/>
                    </a:lnTo>
                    <a:lnTo>
                      <a:pt x="1780" y="1040"/>
                    </a:lnTo>
                    <a:lnTo>
                      <a:pt x="1749" y="1040"/>
                    </a:lnTo>
                    <a:lnTo>
                      <a:pt x="1711" y="1040"/>
                    </a:lnTo>
                    <a:lnTo>
                      <a:pt x="1668" y="1040"/>
                    </a:lnTo>
                    <a:lnTo>
                      <a:pt x="1619" y="1040"/>
                    </a:lnTo>
                    <a:lnTo>
                      <a:pt x="1564" y="1040"/>
                    </a:lnTo>
                    <a:lnTo>
                      <a:pt x="1432" y="1040"/>
                    </a:lnTo>
                    <a:lnTo>
                      <a:pt x="1356" y="1040"/>
                    </a:lnTo>
                    <a:lnTo>
                      <a:pt x="1270" y="1040"/>
                    </a:lnTo>
                    <a:lnTo>
                      <a:pt x="1176" y="1040"/>
                    </a:lnTo>
                    <a:lnTo>
                      <a:pt x="1159" y="1037"/>
                    </a:lnTo>
                    <a:lnTo>
                      <a:pt x="1143" y="1027"/>
                    </a:lnTo>
                    <a:lnTo>
                      <a:pt x="1130" y="1014"/>
                    </a:lnTo>
                    <a:lnTo>
                      <a:pt x="1121" y="996"/>
                    </a:lnTo>
                    <a:lnTo>
                      <a:pt x="1117" y="976"/>
                    </a:lnTo>
                    <a:lnTo>
                      <a:pt x="1121" y="955"/>
                    </a:lnTo>
                    <a:lnTo>
                      <a:pt x="1130" y="937"/>
                    </a:lnTo>
                    <a:lnTo>
                      <a:pt x="1143" y="923"/>
                    </a:lnTo>
                    <a:lnTo>
                      <a:pt x="1159" y="914"/>
                    </a:lnTo>
                    <a:lnTo>
                      <a:pt x="1176" y="911"/>
                    </a:lnTo>
                    <a:lnTo>
                      <a:pt x="1266" y="911"/>
                    </a:lnTo>
                    <a:lnTo>
                      <a:pt x="1293" y="911"/>
                    </a:lnTo>
                    <a:close/>
                    <a:moveTo>
                      <a:pt x="176" y="911"/>
                    </a:moveTo>
                    <a:lnTo>
                      <a:pt x="208" y="911"/>
                    </a:lnTo>
                    <a:lnTo>
                      <a:pt x="246" y="911"/>
                    </a:lnTo>
                    <a:lnTo>
                      <a:pt x="784" y="911"/>
                    </a:lnTo>
                    <a:lnTo>
                      <a:pt x="802" y="914"/>
                    </a:lnTo>
                    <a:lnTo>
                      <a:pt x="820" y="923"/>
                    </a:lnTo>
                    <a:lnTo>
                      <a:pt x="832" y="937"/>
                    </a:lnTo>
                    <a:lnTo>
                      <a:pt x="840" y="955"/>
                    </a:lnTo>
                    <a:lnTo>
                      <a:pt x="843" y="976"/>
                    </a:lnTo>
                    <a:lnTo>
                      <a:pt x="840" y="996"/>
                    </a:lnTo>
                    <a:lnTo>
                      <a:pt x="832" y="1014"/>
                    </a:lnTo>
                    <a:lnTo>
                      <a:pt x="820" y="1027"/>
                    </a:lnTo>
                    <a:lnTo>
                      <a:pt x="802" y="1037"/>
                    </a:lnTo>
                    <a:lnTo>
                      <a:pt x="784" y="1040"/>
                    </a:lnTo>
                    <a:lnTo>
                      <a:pt x="784" y="1040"/>
                    </a:lnTo>
                    <a:lnTo>
                      <a:pt x="784" y="1040"/>
                    </a:lnTo>
                    <a:lnTo>
                      <a:pt x="782" y="1040"/>
                    </a:lnTo>
                    <a:lnTo>
                      <a:pt x="761" y="1040"/>
                    </a:lnTo>
                    <a:lnTo>
                      <a:pt x="750" y="1040"/>
                    </a:lnTo>
                    <a:lnTo>
                      <a:pt x="735" y="1040"/>
                    </a:lnTo>
                    <a:lnTo>
                      <a:pt x="694" y="1040"/>
                    </a:lnTo>
                    <a:lnTo>
                      <a:pt x="666" y="1040"/>
                    </a:lnTo>
                    <a:lnTo>
                      <a:pt x="634" y="1040"/>
                    </a:lnTo>
                    <a:lnTo>
                      <a:pt x="597" y="1040"/>
                    </a:lnTo>
                    <a:lnTo>
                      <a:pt x="554" y="1040"/>
                    </a:lnTo>
                    <a:lnTo>
                      <a:pt x="505" y="1040"/>
                    </a:lnTo>
                    <a:lnTo>
                      <a:pt x="450" y="1040"/>
                    </a:lnTo>
                    <a:lnTo>
                      <a:pt x="317" y="1040"/>
                    </a:lnTo>
                    <a:lnTo>
                      <a:pt x="239" y="1040"/>
                    </a:lnTo>
                    <a:lnTo>
                      <a:pt x="153" y="1040"/>
                    </a:lnTo>
                    <a:lnTo>
                      <a:pt x="59" y="1040"/>
                    </a:lnTo>
                    <a:lnTo>
                      <a:pt x="41" y="1037"/>
                    </a:lnTo>
                    <a:lnTo>
                      <a:pt x="25" y="1027"/>
                    </a:lnTo>
                    <a:lnTo>
                      <a:pt x="12" y="1014"/>
                    </a:lnTo>
                    <a:lnTo>
                      <a:pt x="3" y="996"/>
                    </a:lnTo>
                    <a:lnTo>
                      <a:pt x="0" y="976"/>
                    </a:lnTo>
                    <a:lnTo>
                      <a:pt x="3" y="955"/>
                    </a:lnTo>
                    <a:lnTo>
                      <a:pt x="12" y="937"/>
                    </a:lnTo>
                    <a:lnTo>
                      <a:pt x="25" y="923"/>
                    </a:lnTo>
                    <a:lnTo>
                      <a:pt x="41" y="914"/>
                    </a:lnTo>
                    <a:lnTo>
                      <a:pt x="59" y="911"/>
                    </a:lnTo>
                    <a:lnTo>
                      <a:pt x="150" y="911"/>
                    </a:lnTo>
                    <a:lnTo>
                      <a:pt x="176" y="911"/>
                    </a:lnTo>
                    <a:close/>
                    <a:moveTo>
                      <a:pt x="2289" y="609"/>
                    </a:moveTo>
                    <a:lnTo>
                      <a:pt x="3014" y="609"/>
                    </a:lnTo>
                    <a:lnTo>
                      <a:pt x="3034" y="613"/>
                    </a:lnTo>
                    <a:lnTo>
                      <a:pt x="3050" y="621"/>
                    </a:lnTo>
                    <a:lnTo>
                      <a:pt x="3062" y="634"/>
                    </a:lnTo>
                    <a:lnTo>
                      <a:pt x="3070" y="651"/>
                    </a:lnTo>
                    <a:lnTo>
                      <a:pt x="3073" y="671"/>
                    </a:lnTo>
                    <a:lnTo>
                      <a:pt x="3070" y="689"/>
                    </a:lnTo>
                    <a:lnTo>
                      <a:pt x="3062" y="707"/>
                    </a:lnTo>
                    <a:lnTo>
                      <a:pt x="3050" y="720"/>
                    </a:lnTo>
                    <a:lnTo>
                      <a:pt x="3034" y="728"/>
                    </a:lnTo>
                    <a:lnTo>
                      <a:pt x="3014" y="732"/>
                    </a:lnTo>
                    <a:lnTo>
                      <a:pt x="2289" y="732"/>
                    </a:lnTo>
                    <a:lnTo>
                      <a:pt x="2271" y="728"/>
                    </a:lnTo>
                    <a:lnTo>
                      <a:pt x="2255" y="720"/>
                    </a:lnTo>
                    <a:lnTo>
                      <a:pt x="2242" y="707"/>
                    </a:lnTo>
                    <a:lnTo>
                      <a:pt x="2233" y="689"/>
                    </a:lnTo>
                    <a:lnTo>
                      <a:pt x="2230" y="671"/>
                    </a:lnTo>
                    <a:lnTo>
                      <a:pt x="2233" y="651"/>
                    </a:lnTo>
                    <a:lnTo>
                      <a:pt x="2242" y="634"/>
                    </a:lnTo>
                    <a:lnTo>
                      <a:pt x="2255" y="621"/>
                    </a:lnTo>
                    <a:lnTo>
                      <a:pt x="2271" y="613"/>
                    </a:lnTo>
                    <a:lnTo>
                      <a:pt x="2289" y="609"/>
                    </a:lnTo>
                    <a:close/>
                    <a:moveTo>
                      <a:pt x="1176" y="609"/>
                    </a:moveTo>
                    <a:lnTo>
                      <a:pt x="1896" y="609"/>
                    </a:lnTo>
                    <a:lnTo>
                      <a:pt x="1916" y="613"/>
                    </a:lnTo>
                    <a:lnTo>
                      <a:pt x="1932" y="621"/>
                    </a:lnTo>
                    <a:lnTo>
                      <a:pt x="1945" y="634"/>
                    </a:lnTo>
                    <a:lnTo>
                      <a:pt x="1953" y="651"/>
                    </a:lnTo>
                    <a:lnTo>
                      <a:pt x="1955" y="671"/>
                    </a:lnTo>
                    <a:lnTo>
                      <a:pt x="1953" y="689"/>
                    </a:lnTo>
                    <a:lnTo>
                      <a:pt x="1945" y="707"/>
                    </a:lnTo>
                    <a:lnTo>
                      <a:pt x="1932" y="720"/>
                    </a:lnTo>
                    <a:lnTo>
                      <a:pt x="1916" y="728"/>
                    </a:lnTo>
                    <a:lnTo>
                      <a:pt x="1896" y="732"/>
                    </a:lnTo>
                    <a:lnTo>
                      <a:pt x="1176" y="732"/>
                    </a:lnTo>
                    <a:lnTo>
                      <a:pt x="1159" y="728"/>
                    </a:lnTo>
                    <a:lnTo>
                      <a:pt x="1143" y="720"/>
                    </a:lnTo>
                    <a:lnTo>
                      <a:pt x="1130" y="707"/>
                    </a:lnTo>
                    <a:lnTo>
                      <a:pt x="1121" y="689"/>
                    </a:lnTo>
                    <a:lnTo>
                      <a:pt x="1117" y="671"/>
                    </a:lnTo>
                    <a:lnTo>
                      <a:pt x="1121" y="651"/>
                    </a:lnTo>
                    <a:lnTo>
                      <a:pt x="1130" y="634"/>
                    </a:lnTo>
                    <a:lnTo>
                      <a:pt x="1143" y="621"/>
                    </a:lnTo>
                    <a:lnTo>
                      <a:pt x="1159" y="613"/>
                    </a:lnTo>
                    <a:lnTo>
                      <a:pt x="1176" y="609"/>
                    </a:lnTo>
                    <a:close/>
                    <a:moveTo>
                      <a:pt x="59" y="609"/>
                    </a:moveTo>
                    <a:lnTo>
                      <a:pt x="784" y="609"/>
                    </a:lnTo>
                    <a:lnTo>
                      <a:pt x="802" y="613"/>
                    </a:lnTo>
                    <a:lnTo>
                      <a:pt x="820" y="621"/>
                    </a:lnTo>
                    <a:lnTo>
                      <a:pt x="832" y="634"/>
                    </a:lnTo>
                    <a:lnTo>
                      <a:pt x="840" y="651"/>
                    </a:lnTo>
                    <a:lnTo>
                      <a:pt x="843" y="671"/>
                    </a:lnTo>
                    <a:lnTo>
                      <a:pt x="840" y="689"/>
                    </a:lnTo>
                    <a:lnTo>
                      <a:pt x="832" y="707"/>
                    </a:lnTo>
                    <a:lnTo>
                      <a:pt x="820" y="720"/>
                    </a:lnTo>
                    <a:lnTo>
                      <a:pt x="802" y="728"/>
                    </a:lnTo>
                    <a:lnTo>
                      <a:pt x="784" y="732"/>
                    </a:lnTo>
                    <a:lnTo>
                      <a:pt x="59" y="732"/>
                    </a:lnTo>
                    <a:lnTo>
                      <a:pt x="41" y="728"/>
                    </a:lnTo>
                    <a:lnTo>
                      <a:pt x="25" y="720"/>
                    </a:lnTo>
                    <a:lnTo>
                      <a:pt x="12" y="707"/>
                    </a:lnTo>
                    <a:lnTo>
                      <a:pt x="3" y="689"/>
                    </a:lnTo>
                    <a:lnTo>
                      <a:pt x="0" y="671"/>
                    </a:lnTo>
                    <a:lnTo>
                      <a:pt x="3" y="651"/>
                    </a:lnTo>
                    <a:lnTo>
                      <a:pt x="12" y="634"/>
                    </a:lnTo>
                    <a:lnTo>
                      <a:pt x="25" y="621"/>
                    </a:lnTo>
                    <a:lnTo>
                      <a:pt x="41" y="613"/>
                    </a:lnTo>
                    <a:lnTo>
                      <a:pt x="59" y="609"/>
                    </a:lnTo>
                    <a:close/>
                    <a:moveTo>
                      <a:pt x="2289" y="307"/>
                    </a:moveTo>
                    <a:lnTo>
                      <a:pt x="2380" y="307"/>
                    </a:lnTo>
                    <a:lnTo>
                      <a:pt x="2407" y="307"/>
                    </a:lnTo>
                    <a:lnTo>
                      <a:pt x="2438" y="307"/>
                    </a:lnTo>
                    <a:lnTo>
                      <a:pt x="3014" y="307"/>
                    </a:lnTo>
                    <a:lnTo>
                      <a:pt x="3034" y="310"/>
                    </a:lnTo>
                    <a:lnTo>
                      <a:pt x="3050" y="319"/>
                    </a:lnTo>
                    <a:lnTo>
                      <a:pt x="3062" y="332"/>
                    </a:lnTo>
                    <a:lnTo>
                      <a:pt x="3070" y="349"/>
                    </a:lnTo>
                    <a:lnTo>
                      <a:pt x="3073" y="369"/>
                    </a:lnTo>
                    <a:lnTo>
                      <a:pt x="3070" y="388"/>
                    </a:lnTo>
                    <a:lnTo>
                      <a:pt x="3062" y="404"/>
                    </a:lnTo>
                    <a:lnTo>
                      <a:pt x="3050" y="418"/>
                    </a:lnTo>
                    <a:lnTo>
                      <a:pt x="3034" y="427"/>
                    </a:lnTo>
                    <a:lnTo>
                      <a:pt x="3014" y="431"/>
                    </a:lnTo>
                    <a:lnTo>
                      <a:pt x="3014" y="431"/>
                    </a:lnTo>
                    <a:lnTo>
                      <a:pt x="3014" y="431"/>
                    </a:lnTo>
                    <a:lnTo>
                      <a:pt x="3013" y="431"/>
                    </a:lnTo>
                    <a:lnTo>
                      <a:pt x="2896" y="431"/>
                    </a:lnTo>
                    <a:lnTo>
                      <a:pt x="2865" y="431"/>
                    </a:lnTo>
                    <a:lnTo>
                      <a:pt x="2828" y="431"/>
                    </a:lnTo>
                    <a:lnTo>
                      <a:pt x="2784" y="431"/>
                    </a:lnTo>
                    <a:lnTo>
                      <a:pt x="2736" y="431"/>
                    </a:lnTo>
                    <a:lnTo>
                      <a:pt x="2680" y="431"/>
                    </a:lnTo>
                    <a:lnTo>
                      <a:pt x="2289" y="431"/>
                    </a:lnTo>
                    <a:lnTo>
                      <a:pt x="2271" y="427"/>
                    </a:lnTo>
                    <a:lnTo>
                      <a:pt x="2255" y="418"/>
                    </a:lnTo>
                    <a:lnTo>
                      <a:pt x="2242" y="404"/>
                    </a:lnTo>
                    <a:lnTo>
                      <a:pt x="2233" y="388"/>
                    </a:lnTo>
                    <a:lnTo>
                      <a:pt x="2230" y="369"/>
                    </a:lnTo>
                    <a:lnTo>
                      <a:pt x="2233" y="349"/>
                    </a:lnTo>
                    <a:lnTo>
                      <a:pt x="2242" y="332"/>
                    </a:lnTo>
                    <a:lnTo>
                      <a:pt x="2255" y="319"/>
                    </a:lnTo>
                    <a:lnTo>
                      <a:pt x="2271" y="310"/>
                    </a:lnTo>
                    <a:lnTo>
                      <a:pt x="2289" y="307"/>
                    </a:lnTo>
                    <a:close/>
                    <a:moveTo>
                      <a:pt x="1176" y="307"/>
                    </a:moveTo>
                    <a:lnTo>
                      <a:pt x="1266" y="307"/>
                    </a:lnTo>
                    <a:lnTo>
                      <a:pt x="1293" y="307"/>
                    </a:lnTo>
                    <a:lnTo>
                      <a:pt x="1325" y="307"/>
                    </a:lnTo>
                    <a:lnTo>
                      <a:pt x="1896" y="307"/>
                    </a:lnTo>
                    <a:lnTo>
                      <a:pt x="1916" y="310"/>
                    </a:lnTo>
                    <a:lnTo>
                      <a:pt x="1932" y="319"/>
                    </a:lnTo>
                    <a:lnTo>
                      <a:pt x="1945" y="332"/>
                    </a:lnTo>
                    <a:lnTo>
                      <a:pt x="1953" y="349"/>
                    </a:lnTo>
                    <a:lnTo>
                      <a:pt x="1955" y="369"/>
                    </a:lnTo>
                    <a:lnTo>
                      <a:pt x="1953" y="388"/>
                    </a:lnTo>
                    <a:lnTo>
                      <a:pt x="1945" y="404"/>
                    </a:lnTo>
                    <a:lnTo>
                      <a:pt x="1932" y="418"/>
                    </a:lnTo>
                    <a:lnTo>
                      <a:pt x="1916" y="427"/>
                    </a:lnTo>
                    <a:lnTo>
                      <a:pt x="1896" y="431"/>
                    </a:lnTo>
                    <a:lnTo>
                      <a:pt x="1896" y="431"/>
                    </a:lnTo>
                    <a:lnTo>
                      <a:pt x="1896" y="431"/>
                    </a:lnTo>
                    <a:lnTo>
                      <a:pt x="1895" y="431"/>
                    </a:lnTo>
                    <a:lnTo>
                      <a:pt x="1780" y="431"/>
                    </a:lnTo>
                    <a:lnTo>
                      <a:pt x="1749" y="431"/>
                    </a:lnTo>
                    <a:lnTo>
                      <a:pt x="1711" y="431"/>
                    </a:lnTo>
                    <a:lnTo>
                      <a:pt x="1668" y="431"/>
                    </a:lnTo>
                    <a:lnTo>
                      <a:pt x="1619" y="431"/>
                    </a:lnTo>
                    <a:lnTo>
                      <a:pt x="1564" y="431"/>
                    </a:lnTo>
                    <a:lnTo>
                      <a:pt x="1176" y="431"/>
                    </a:lnTo>
                    <a:lnTo>
                      <a:pt x="1159" y="427"/>
                    </a:lnTo>
                    <a:lnTo>
                      <a:pt x="1143" y="418"/>
                    </a:lnTo>
                    <a:lnTo>
                      <a:pt x="1130" y="404"/>
                    </a:lnTo>
                    <a:lnTo>
                      <a:pt x="1121" y="388"/>
                    </a:lnTo>
                    <a:lnTo>
                      <a:pt x="1117" y="369"/>
                    </a:lnTo>
                    <a:lnTo>
                      <a:pt x="1121" y="349"/>
                    </a:lnTo>
                    <a:lnTo>
                      <a:pt x="1130" y="332"/>
                    </a:lnTo>
                    <a:lnTo>
                      <a:pt x="1143" y="319"/>
                    </a:lnTo>
                    <a:lnTo>
                      <a:pt x="1159" y="310"/>
                    </a:lnTo>
                    <a:lnTo>
                      <a:pt x="1176" y="307"/>
                    </a:lnTo>
                    <a:close/>
                    <a:moveTo>
                      <a:pt x="59" y="307"/>
                    </a:moveTo>
                    <a:lnTo>
                      <a:pt x="150" y="307"/>
                    </a:lnTo>
                    <a:lnTo>
                      <a:pt x="176" y="307"/>
                    </a:lnTo>
                    <a:lnTo>
                      <a:pt x="208" y="307"/>
                    </a:lnTo>
                    <a:lnTo>
                      <a:pt x="784" y="307"/>
                    </a:lnTo>
                    <a:lnTo>
                      <a:pt x="802" y="310"/>
                    </a:lnTo>
                    <a:lnTo>
                      <a:pt x="820" y="319"/>
                    </a:lnTo>
                    <a:lnTo>
                      <a:pt x="832" y="332"/>
                    </a:lnTo>
                    <a:lnTo>
                      <a:pt x="840" y="349"/>
                    </a:lnTo>
                    <a:lnTo>
                      <a:pt x="843" y="369"/>
                    </a:lnTo>
                    <a:lnTo>
                      <a:pt x="840" y="388"/>
                    </a:lnTo>
                    <a:lnTo>
                      <a:pt x="832" y="404"/>
                    </a:lnTo>
                    <a:lnTo>
                      <a:pt x="820" y="418"/>
                    </a:lnTo>
                    <a:lnTo>
                      <a:pt x="802" y="427"/>
                    </a:lnTo>
                    <a:lnTo>
                      <a:pt x="784" y="431"/>
                    </a:lnTo>
                    <a:lnTo>
                      <a:pt x="784" y="431"/>
                    </a:lnTo>
                    <a:lnTo>
                      <a:pt x="784" y="431"/>
                    </a:lnTo>
                    <a:lnTo>
                      <a:pt x="782" y="431"/>
                    </a:lnTo>
                    <a:lnTo>
                      <a:pt x="666" y="431"/>
                    </a:lnTo>
                    <a:lnTo>
                      <a:pt x="634" y="431"/>
                    </a:lnTo>
                    <a:lnTo>
                      <a:pt x="597" y="431"/>
                    </a:lnTo>
                    <a:lnTo>
                      <a:pt x="554" y="431"/>
                    </a:lnTo>
                    <a:lnTo>
                      <a:pt x="505" y="431"/>
                    </a:lnTo>
                    <a:lnTo>
                      <a:pt x="450" y="431"/>
                    </a:lnTo>
                    <a:lnTo>
                      <a:pt x="59" y="431"/>
                    </a:lnTo>
                    <a:lnTo>
                      <a:pt x="41" y="427"/>
                    </a:lnTo>
                    <a:lnTo>
                      <a:pt x="25" y="418"/>
                    </a:lnTo>
                    <a:lnTo>
                      <a:pt x="12" y="404"/>
                    </a:lnTo>
                    <a:lnTo>
                      <a:pt x="3" y="388"/>
                    </a:lnTo>
                    <a:lnTo>
                      <a:pt x="0" y="369"/>
                    </a:lnTo>
                    <a:lnTo>
                      <a:pt x="3" y="349"/>
                    </a:lnTo>
                    <a:lnTo>
                      <a:pt x="12" y="332"/>
                    </a:lnTo>
                    <a:lnTo>
                      <a:pt x="25" y="319"/>
                    </a:lnTo>
                    <a:lnTo>
                      <a:pt x="41" y="310"/>
                    </a:lnTo>
                    <a:lnTo>
                      <a:pt x="59" y="307"/>
                    </a:lnTo>
                    <a:close/>
                    <a:moveTo>
                      <a:pt x="2438" y="0"/>
                    </a:moveTo>
                    <a:lnTo>
                      <a:pt x="2476" y="0"/>
                    </a:lnTo>
                    <a:lnTo>
                      <a:pt x="2520" y="0"/>
                    </a:lnTo>
                    <a:lnTo>
                      <a:pt x="2568" y="0"/>
                    </a:lnTo>
                    <a:lnTo>
                      <a:pt x="2624" y="0"/>
                    </a:lnTo>
                    <a:lnTo>
                      <a:pt x="3014" y="0"/>
                    </a:lnTo>
                    <a:lnTo>
                      <a:pt x="3034" y="2"/>
                    </a:lnTo>
                    <a:lnTo>
                      <a:pt x="3050" y="11"/>
                    </a:lnTo>
                    <a:lnTo>
                      <a:pt x="3062" y="25"/>
                    </a:lnTo>
                    <a:lnTo>
                      <a:pt x="3070" y="42"/>
                    </a:lnTo>
                    <a:lnTo>
                      <a:pt x="3073" y="63"/>
                    </a:lnTo>
                    <a:lnTo>
                      <a:pt x="3070" y="81"/>
                    </a:lnTo>
                    <a:lnTo>
                      <a:pt x="3062" y="97"/>
                    </a:lnTo>
                    <a:lnTo>
                      <a:pt x="3050" y="111"/>
                    </a:lnTo>
                    <a:lnTo>
                      <a:pt x="3034" y="119"/>
                    </a:lnTo>
                    <a:lnTo>
                      <a:pt x="3014" y="122"/>
                    </a:lnTo>
                    <a:lnTo>
                      <a:pt x="3014" y="122"/>
                    </a:lnTo>
                    <a:lnTo>
                      <a:pt x="3014" y="122"/>
                    </a:lnTo>
                    <a:lnTo>
                      <a:pt x="3013" y="122"/>
                    </a:lnTo>
                    <a:lnTo>
                      <a:pt x="2991" y="122"/>
                    </a:lnTo>
                    <a:lnTo>
                      <a:pt x="2980" y="122"/>
                    </a:lnTo>
                    <a:lnTo>
                      <a:pt x="2965" y="122"/>
                    </a:lnTo>
                    <a:lnTo>
                      <a:pt x="2924" y="122"/>
                    </a:lnTo>
                    <a:lnTo>
                      <a:pt x="2896" y="122"/>
                    </a:lnTo>
                    <a:lnTo>
                      <a:pt x="2865" y="122"/>
                    </a:lnTo>
                    <a:lnTo>
                      <a:pt x="2828" y="122"/>
                    </a:lnTo>
                    <a:lnTo>
                      <a:pt x="2784" y="122"/>
                    </a:lnTo>
                    <a:lnTo>
                      <a:pt x="2736" y="122"/>
                    </a:lnTo>
                    <a:lnTo>
                      <a:pt x="2680" y="122"/>
                    </a:lnTo>
                    <a:lnTo>
                      <a:pt x="2547" y="122"/>
                    </a:lnTo>
                    <a:lnTo>
                      <a:pt x="2469" y="122"/>
                    </a:lnTo>
                    <a:lnTo>
                      <a:pt x="2383" y="122"/>
                    </a:lnTo>
                    <a:lnTo>
                      <a:pt x="2289" y="122"/>
                    </a:lnTo>
                    <a:lnTo>
                      <a:pt x="2271" y="119"/>
                    </a:lnTo>
                    <a:lnTo>
                      <a:pt x="2255" y="111"/>
                    </a:lnTo>
                    <a:lnTo>
                      <a:pt x="2242" y="97"/>
                    </a:lnTo>
                    <a:lnTo>
                      <a:pt x="2233" y="81"/>
                    </a:lnTo>
                    <a:lnTo>
                      <a:pt x="2230" y="63"/>
                    </a:lnTo>
                    <a:lnTo>
                      <a:pt x="2233" y="42"/>
                    </a:lnTo>
                    <a:lnTo>
                      <a:pt x="2242" y="25"/>
                    </a:lnTo>
                    <a:lnTo>
                      <a:pt x="2255" y="11"/>
                    </a:lnTo>
                    <a:lnTo>
                      <a:pt x="2271" y="2"/>
                    </a:lnTo>
                    <a:lnTo>
                      <a:pt x="2289" y="0"/>
                    </a:lnTo>
                    <a:lnTo>
                      <a:pt x="2380" y="0"/>
                    </a:lnTo>
                    <a:lnTo>
                      <a:pt x="2407" y="0"/>
                    </a:lnTo>
                    <a:lnTo>
                      <a:pt x="2438" y="0"/>
                    </a:lnTo>
                    <a:close/>
                    <a:moveTo>
                      <a:pt x="1325" y="0"/>
                    </a:moveTo>
                    <a:lnTo>
                      <a:pt x="1361" y="0"/>
                    </a:lnTo>
                    <a:lnTo>
                      <a:pt x="1405" y="0"/>
                    </a:lnTo>
                    <a:lnTo>
                      <a:pt x="1453" y="0"/>
                    </a:lnTo>
                    <a:lnTo>
                      <a:pt x="1509" y="0"/>
                    </a:lnTo>
                    <a:lnTo>
                      <a:pt x="1896" y="0"/>
                    </a:lnTo>
                    <a:lnTo>
                      <a:pt x="1916" y="2"/>
                    </a:lnTo>
                    <a:lnTo>
                      <a:pt x="1932" y="11"/>
                    </a:lnTo>
                    <a:lnTo>
                      <a:pt x="1945" y="25"/>
                    </a:lnTo>
                    <a:lnTo>
                      <a:pt x="1953" y="42"/>
                    </a:lnTo>
                    <a:lnTo>
                      <a:pt x="1955" y="63"/>
                    </a:lnTo>
                    <a:lnTo>
                      <a:pt x="1953" y="81"/>
                    </a:lnTo>
                    <a:lnTo>
                      <a:pt x="1945" y="97"/>
                    </a:lnTo>
                    <a:lnTo>
                      <a:pt x="1932" y="111"/>
                    </a:lnTo>
                    <a:lnTo>
                      <a:pt x="1916" y="119"/>
                    </a:lnTo>
                    <a:lnTo>
                      <a:pt x="1896" y="122"/>
                    </a:lnTo>
                    <a:lnTo>
                      <a:pt x="1896" y="122"/>
                    </a:lnTo>
                    <a:lnTo>
                      <a:pt x="1896" y="122"/>
                    </a:lnTo>
                    <a:lnTo>
                      <a:pt x="1895" y="122"/>
                    </a:lnTo>
                    <a:lnTo>
                      <a:pt x="1873" y="122"/>
                    </a:lnTo>
                    <a:lnTo>
                      <a:pt x="1862" y="122"/>
                    </a:lnTo>
                    <a:lnTo>
                      <a:pt x="1847" y="122"/>
                    </a:lnTo>
                    <a:lnTo>
                      <a:pt x="1807" y="122"/>
                    </a:lnTo>
                    <a:lnTo>
                      <a:pt x="1780" y="122"/>
                    </a:lnTo>
                    <a:lnTo>
                      <a:pt x="1749" y="122"/>
                    </a:lnTo>
                    <a:lnTo>
                      <a:pt x="1711" y="122"/>
                    </a:lnTo>
                    <a:lnTo>
                      <a:pt x="1668" y="122"/>
                    </a:lnTo>
                    <a:lnTo>
                      <a:pt x="1619" y="122"/>
                    </a:lnTo>
                    <a:lnTo>
                      <a:pt x="1564" y="122"/>
                    </a:lnTo>
                    <a:lnTo>
                      <a:pt x="1432" y="122"/>
                    </a:lnTo>
                    <a:lnTo>
                      <a:pt x="1356" y="122"/>
                    </a:lnTo>
                    <a:lnTo>
                      <a:pt x="1270" y="122"/>
                    </a:lnTo>
                    <a:lnTo>
                      <a:pt x="1176" y="122"/>
                    </a:lnTo>
                    <a:lnTo>
                      <a:pt x="1159" y="119"/>
                    </a:lnTo>
                    <a:lnTo>
                      <a:pt x="1143" y="111"/>
                    </a:lnTo>
                    <a:lnTo>
                      <a:pt x="1130" y="97"/>
                    </a:lnTo>
                    <a:lnTo>
                      <a:pt x="1121" y="81"/>
                    </a:lnTo>
                    <a:lnTo>
                      <a:pt x="1117" y="63"/>
                    </a:lnTo>
                    <a:lnTo>
                      <a:pt x="1121" y="42"/>
                    </a:lnTo>
                    <a:lnTo>
                      <a:pt x="1130" y="25"/>
                    </a:lnTo>
                    <a:lnTo>
                      <a:pt x="1143" y="11"/>
                    </a:lnTo>
                    <a:lnTo>
                      <a:pt x="1159" y="2"/>
                    </a:lnTo>
                    <a:lnTo>
                      <a:pt x="1176" y="0"/>
                    </a:lnTo>
                    <a:lnTo>
                      <a:pt x="1266" y="0"/>
                    </a:lnTo>
                    <a:lnTo>
                      <a:pt x="1293" y="0"/>
                    </a:lnTo>
                    <a:lnTo>
                      <a:pt x="1325" y="0"/>
                    </a:lnTo>
                    <a:close/>
                    <a:moveTo>
                      <a:pt x="459" y="0"/>
                    </a:moveTo>
                    <a:lnTo>
                      <a:pt x="463" y="0"/>
                    </a:lnTo>
                    <a:lnTo>
                      <a:pt x="586" y="0"/>
                    </a:lnTo>
                    <a:lnTo>
                      <a:pt x="624" y="0"/>
                    </a:lnTo>
                    <a:lnTo>
                      <a:pt x="670" y="0"/>
                    </a:lnTo>
                    <a:lnTo>
                      <a:pt x="784" y="0"/>
                    </a:lnTo>
                    <a:lnTo>
                      <a:pt x="802" y="2"/>
                    </a:lnTo>
                    <a:lnTo>
                      <a:pt x="820" y="11"/>
                    </a:lnTo>
                    <a:lnTo>
                      <a:pt x="832" y="25"/>
                    </a:lnTo>
                    <a:lnTo>
                      <a:pt x="840" y="42"/>
                    </a:lnTo>
                    <a:lnTo>
                      <a:pt x="843" y="63"/>
                    </a:lnTo>
                    <a:lnTo>
                      <a:pt x="840" y="81"/>
                    </a:lnTo>
                    <a:lnTo>
                      <a:pt x="832" y="97"/>
                    </a:lnTo>
                    <a:lnTo>
                      <a:pt x="820" y="111"/>
                    </a:lnTo>
                    <a:lnTo>
                      <a:pt x="802" y="119"/>
                    </a:lnTo>
                    <a:lnTo>
                      <a:pt x="784" y="122"/>
                    </a:lnTo>
                    <a:lnTo>
                      <a:pt x="784" y="122"/>
                    </a:lnTo>
                    <a:lnTo>
                      <a:pt x="783" y="122"/>
                    </a:lnTo>
                    <a:lnTo>
                      <a:pt x="782" y="122"/>
                    </a:lnTo>
                    <a:lnTo>
                      <a:pt x="778" y="122"/>
                    </a:lnTo>
                    <a:lnTo>
                      <a:pt x="764" y="122"/>
                    </a:lnTo>
                    <a:lnTo>
                      <a:pt x="751" y="122"/>
                    </a:lnTo>
                    <a:lnTo>
                      <a:pt x="735" y="122"/>
                    </a:lnTo>
                    <a:lnTo>
                      <a:pt x="713" y="122"/>
                    </a:lnTo>
                    <a:lnTo>
                      <a:pt x="655" y="122"/>
                    </a:lnTo>
                    <a:lnTo>
                      <a:pt x="617" y="122"/>
                    </a:lnTo>
                    <a:lnTo>
                      <a:pt x="571" y="122"/>
                    </a:lnTo>
                    <a:lnTo>
                      <a:pt x="518" y="122"/>
                    </a:lnTo>
                    <a:lnTo>
                      <a:pt x="457" y="122"/>
                    </a:lnTo>
                    <a:lnTo>
                      <a:pt x="439" y="119"/>
                    </a:lnTo>
                    <a:lnTo>
                      <a:pt x="423" y="111"/>
                    </a:lnTo>
                    <a:lnTo>
                      <a:pt x="412" y="97"/>
                    </a:lnTo>
                    <a:lnTo>
                      <a:pt x="404" y="81"/>
                    </a:lnTo>
                    <a:lnTo>
                      <a:pt x="400" y="63"/>
                    </a:lnTo>
                    <a:lnTo>
                      <a:pt x="404" y="42"/>
                    </a:lnTo>
                    <a:lnTo>
                      <a:pt x="412" y="25"/>
                    </a:lnTo>
                    <a:lnTo>
                      <a:pt x="423" y="11"/>
                    </a:lnTo>
                    <a:lnTo>
                      <a:pt x="439" y="2"/>
                    </a:lnTo>
                    <a:lnTo>
                      <a:pt x="457" y="0"/>
                    </a:lnTo>
                    <a:lnTo>
                      <a:pt x="458" y="0"/>
                    </a:lnTo>
                    <a:lnTo>
                      <a:pt x="459"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nvGrpSpPr>
            <p:cNvPr id="23" name="Group 18"/>
            <p:cNvGrpSpPr>
              <a:grpSpLocks noChangeAspect="1"/>
            </p:cNvGrpSpPr>
            <p:nvPr/>
          </p:nvGrpSpPr>
          <p:grpSpPr bwMode="auto">
            <a:xfrm>
              <a:off x="6590226" y="1701673"/>
              <a:ext cx="400973" cy="637857"/>
              <a:chOff x="6346" y="886"/>
              <a:chExt cx="325" cy="517"/>
            </a:xfrm>
            <a:solidFill>
              <a:srgbClr val="FFFFFF"/>
            </a:solidFill>
          </p:grpSpPr>
          <p:sp>
            <p:nvSpPr>
              <p:cNvPr id="27" name="Freeform 21"/>
              <p:cNvSpPr>
                <a:spLocks noEditPoints="1"/>
              </p:cNvSpPr>
              <p:nvPr/>
            </p:nvSpPr>
            <p:spPr bwMode="auto">
              <a:xfrm>
                <a:off x="6346" y="886"/>
                <a:ext cx="325" cy="517"/>
              </a:xfrm>
              <a:custGeom>
                <a:avLst/>
                <a:gdLst>
                  <a:gd name="T0" fmla="*/ 861 w 2279"/>
                  <a:gd name="T1" fmla="*/ 666 h 3618"/>
                  <a:gd name="T2" fmla="*/ 859 w 2279"/>
                  <a:gd name="T3" fmla="*/ 703 h 3618"/>
                  <a:gd name="T4" fmla="*/ 843 w 2279"/>
                  <a:gd name="T5" fmla="*/ 762 h 3618"/>
                  <a:gd name="T6" fmla="*/ 799 w 2279"/>
                  <a:gd name="T7" fmla="*/ 816 h 3618"/>
                  <a:gd name="T8" fmla="*/ 735 w 2279"/>
                  <a:gd name="T9" fmla="*/ 839 h 3618"/>
                  <a:gd name="T10" fmla="*/ 671 w 2279"/>
                  <a:gd name="T11" fmla="*/ 849 h 3618"/>
                  <a:gd name="T12" fmla="*/ 641 w 2279"/>
                  <a:gd name="T13" fmla="*/ 851 h 3618"/>
                  <a:gd name="T14" fmla="*/ 639 w 2279"/>
                  <a:gd name="T15" fmla="*/ 851 h 3618"/>
                  <a:gd name="T16" fmla="*/ 591 w 2279"/>
                  <a:gd name="T17" fmla="*/ 851 h 3618"/>
                  <a:gd name="T18" fmla="*/ 521 w 2279"/>
                  <a:gd name="T19" fmla="*/ 851 h 3618"/>
                  <a:gd name="T20" fmla="*/ 236 w 2279"/>
                  <a:gd name="T21" fmla="*/ 851 h 3618"/>
                  <a:gd name="T22" fmla="*/ 165 w 2279"/>
                  <a:gd name="T23" fmla="*/ 852 h 3618"/>
                  <a:gd name="T24" fmla="*/ 165 w 2279"/>
                  <a:gd name="T25" fmla="*/ 855 h 3618"/>
                  <a:gd name="T26" fmla="*/ 165 w 2279"/>
                  <a:gd name="T27" fmla="*/ 870 h 3618"/>
                  <a:gd name="T28" fmla="*/ 165 w 2279"/>
                  <a:gd name="T29" fmla="*/ 898 h 3618"/>
                  <a:gd name="T30" fmla="*/ 165 w 2279"/>
                  <a:gd name="T31" fmla="*/ 1023 h 3618"/>
                  <a:gd name="T32" fmla="*/ 165 w 2279"/>
                  <a:gd name="T33" fmla="*/ 1131 h 3618"/>
                  <a:gd name="T34" fmla="*/ 165 w 2279"/>
                  <a:gd name="T35" fmla="*/ 1397 h 3618"/>
                  <a:gd name="T36" fmla="*/ 165 w 2279"/>
                  <a:gd name="T37" fmla="*/ 1618 h 3618"/>
                  <a:gd name="T38" fmla="*/ 165 w 2279"/>
                  <a:gd name="T39" fmla="*/ 1892 h 3618"/>
                  <a:gd name="T40" fmla="*/ 165 w 2279"/>
                  <a:gd name="T41" fmla="*/ 2223 h 3618"/>
                  <a:gd name="T42" fmla="*/ 165 w 2279"/>
                  <a:gd name="T43" fmla="*/ 2619 h 3618"/>
                  <a:gd name="T44" fmla="*/ 165 w 2279"/>
                  <a:gd name="T45" fmla="*/ 3085 h 3618"/>
                  <a:gd name="T46" fmla="*/ 176 w 2279"/>
                  <a:gd name="T47" fmla="*/ 3326 h 3618"/>
                  <a:gd name="T48" fmla="*/ 230 w 2279"/>
                  <a:gd name="T49" fmla="*/ 3407 h 3618"/>
                  <a:gd name="T50" fmla="*/ 315 w 2279"/>
                  <a:gd name="T51" fmla="*/ 3450 h 3618"/>
                  <a:gd name="T52" fmla="*/ 2114 w 2279"/>
                  <a:gd name="T53" fmla="*/ 3454 h 3618"/>
                  <a:gd name="T54" fmla="*/ 2114 w 2279"/>
                  <a:gd name="T55" fmla="*/ 3449 h 3618"/>
                  <a:gd name="T56" fmla="*/ 2114 w 2279"/>
                  <a:gd name="T57" fmla="*/ 3367 h 3618"/>
                  <a:gd name="T58" fmla="*/ 2114 w 2279"/>
                  <a:gd name="T59" fmla="*/ 3269 h 3618"/>
                  <a:gd name="T60" fmla="*/ 2114 w 2279"/>
                  <a:gd name="T61" fmla="*/ 2832 h 3618"/>
                  <a:gd name="T62" fmla="*/ 2114 w 2279"/>
                  <a:gd name="T63" fmla="*/ 2419 h 3618"/>
                  <a:gd name="T64" fmla="*/ 2114 w 2279"/>
                  <a:gd name="T65" fmla="*/ 2100 h 3618"/>
                  <a:gd name="T66" fmla="*/ 2114 w 2279"/>
                  <a:gd name="T67" fmla="*/ 1721 h 3618"/>
                  <a:gd name="T68" fmla="*/ 2114 w 2279"/>
                  <a:gd name="T69" fmla="*/ 1278 h 3618"/>
                  <a:gd name="T70" fmla="*/ 2114 w 2279"/>
                  <a:gd name="T71" fmla="*/ 764 h 3618"/>
                  <a:gd name="T72" fmla="*/ 2102 w 2279"/>
                  <a:gd name="T73" fmla="*/ 312 h 3618"/>
                  <a:gd name="T74" fmla="*/ 2050 w 2279"/>
                  <a:gd name="T75" fmla="*/ 230 h 3618"/>
                  <a:gd name="T76" fmla="*/ 1965 w 2279"/>
                  <a:gd name="T77" fmla="*/ 188 h 3618"/>
                  <a:gd name="T78" fmla="*/ 773 w 2279"/>
                  <a:gd name="T79" fmla="*/ 0 h 3618"/>
                  <a:gd name="T80" fmla="*/ 2065 w 2279"/>
                  <a:gd name="T81" fmla="*/ 10 h 3618"/>
                  <a:gd name="T82" fmla="*/ 2159 w 2279"/>
                  <a:gd name="T83" fmla="*/ 56 h 3618"/>
                  <a:gd name="T84" fmla="*/ 2235 w 2279"/>
                  <a:gd name="T85" fmla="*/ 137 h 3618"/>
                  <a:gd name="T86" fmla="*/ 2275 w 2279"/>
                  <a:gd name="T87" fmla="*/ 246 h 3618"/>
                  <a:gd name="T88" fmla="*/ 2279 w 2279"/>
                  <a:gd name="T89" fmla="*/ 333 h 3618"/>
                  <a:gd name="T90" fmla="*/ 2279 w 2279"/>
                  <a:gd name="T91" fmla="*/ 880 h 3618"/>
                  <a:gd name="T92" fmla="*/ 2279 w 2279"/>
                  <a:gd name="T93" fmla="*/ 1959 h 3618"/>
                  <a:gd name="T94" fmla="*/ 2279 w 2279"/>
                  <a:gd name="T95" fmla="*/ 3467 h 3618"/>
                  <a:gd name="T96" fmla="*/ 2275 w 2279"/>
                  <a:gd name="T97" fmla="*/ 3492 h 3618"/>
                  <a:gd name="T98" fmla="*/ 2262 w 2279"/>
                  <a:gd name="T99" fmla="*/ 3534 h 3618"/>
                  <a:gd name="T100" fmla="*/ 2230 w 2279"/>
                  <a:gd name="T101" fmla="*/ 3579 h 3618"/>
                  <a:gd name="T102" fmla="*/ 2171 w 2279"/>
                  <a:gd name="T103" fmla="*/ 3610 h 3618"/>
                  <a:gd name="T104" fmla="*/ 267 w 2279"/>
                  <a:gd name="T105" fmla="*/ 3618 h 3618"/>
                  <a:gd name="T106" fmla="*/ 173 w 2279"/>
                  <a:gd name="T107" fmla="*/ 3598 h 3618"/>
                  <a:gd name="T108" fmla="*/ 87 w 2279"/>
                  <a:gd name="T109" fmla="*/ 3541 h 3618"/>
                  <a:gd name="T110" fmla="*/ 24 w 2279"/>
                  <a:gd name="T111" fmla="*/ 3452 h 3618"/>
                  <a:gd name="T112" fmla="*/ 0 w 2279"/>
                  <a:gd name="T113" fmla="*/ 3335 h 3618"/>
                  <a:gd name="T114" fmla="*/ 180 w 2279"/>
                  <a:gd name="T115" fmla="*/ 578 h 3618"/>
                  <a:gd name="T116" fmla="*/ 428 w 2279"/>
                  <a:gd name="T117" fmla="*/ 340 h 3618"/>
                  <a:gd name="T118" fmla="*/ 646 w 2279"/>
                  <a:gd name="T119" fmla="*/ 125 h 3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79" h="3618">
                    <a:moveTo>
                      <a:pt x="861" y="184"/>
                    </a:moveTo>
                    <a:lnTo>
                      <a:pt x="861" y="664"/>
                    </a:lnTo>
                    <a:lnTo>
                      <a:pt x="861" y="666"/>
                    </a:lnTo>
                    <a:lnTo>
                      <a:pt x="861" y="675"/>
                    </a:lnTo>
                    <a:lnTo>
                      <a:pt x="860" y="688"/>
                    </a:lnTo>
                    <a:lnTo>
                      <a:pt x="859" y="703"/>
                    </a:lnTo>
                    <a:lnTo>
                      <a:pt x="856" y="722"/>
                    </a:lnTo>
                    <a:lnTo>
                      <a:pt x="850" y="743"/>
                    </a:lnTo>
                    <a:lnTo>
                      <a:pt x="843" y="762"/>
                    </a:lnTo>
                    <a:lnTo>
                      <a:pt x="832" y="782"/>
                    </a:lnTo>
                    <a:lnTo>
                      <a:pt x="817" y="801"/>
                    </a:lnTo>
                    <a:lnTo>
                      <a:pt x="799" y="816"/>
                    </a:lnTo>
                    <a:lnTo>
                      <a:pt x="780" y="826"/>
                    </a:lnTo>
                    <a:lnTo>
                      <a:pt x="758" y="834"/>
                    </a:lnTo>
                    <a:lnTo>
                      <a:pt x="735" y="839"/>
                    </a:lnTo>
                    <a:lnTo>
                      <a:pt x="712" y="843"/>
                    </a:lnTo>
                    <a:lnTo>
                      <a:pt x="689" y="847"/>
                    </a:lnTo>
                    <a:lnTo>
                      <a:pt x="671" y="849"/>
                    </a:lnTo>
                    <a:lnTo>
                      <a:pt x="656" y="851"/>
                    </a:lnTo>
                    <a:lnTo>
                      <a:pt x="645" y="851"/>
                    </a:lnTo>
                    <a:lnTo>
                      <a:pt x="641" y="851"/>
                    </a:lnTo>
                    <a:lnTo>
                      <a:pt x="641" y="851"/>
                    </a:lnTo>
                    <a:lnTo>
                      <a:pt x="640" y="851"/>
                    </a:lnTo>
                    <a:lnTo>
                      <a:pt x="639" y="851"/>
                    </a:lnTo>
                    <a:lnTo>
                      <a:pt x="637" y="851"/>
                    </a:lnTo>
                    <a:lnTo>
                      <a:pt x="633" y="851"/>
                    </a:lnTo>
                    <a:lnTo>
                      <a:pt x="591" y="851"/>
                    </a:lnTo>
                    <a:lnTo>
                      <a:pt x="571" y="851"/>
                    </a:lnTo>
                    <a:lnTo>
                      <a:pt x="548" y="851"/>
                    </a:lnTo>
                    <a:lnTo>
                      <a:pt x="521" y="851"/>
                    </a:lnTo>
                    <a:lnTo>
                      <a:pt x="488" y="851"/>
                    </a:lnTo>
                    <a:lnTo>
                      <a:pt x="300" y="851"/>
                    </a:lnTo>
                    <a:lnTo>
                      <a:pt x="236" y="851"/>
                    </a:lnTo>
                    <a:lnTo>
                      <a:pt x="165" y="851"/>
                    </a:lnTo>
                    <a:lnTo>
                      <a:pt x="165" y="851"/>
                    </a:lnTo>
                    <a:lnTo>
                      <a:pt x="165" y="852"/>
                    </a:lnTo>
                    <a:lnTo>
                      <a:pt x="165" y="852"/>
                    </a:lnTo>
                    <a:lnTo>
                      <a:pt x="165" y="853"/>
                    </a:lnTo>
                    <a:lnTo>
                      <a:pt x="165" y="855"/>
                    </a:lnTo>
                    <a:lnTo>
                      <a:pt x="165" y="859"/>
                    </a:lnTo>
                    <a:lnTo>
                      <a:pt x="165" y="863"/>
                    </a:lnTo>
                    <a:lnTo>
                      <a:pt x="165" y="870"/>
                    </a:lnTo>
                    <a:lnTo>
                      <a:pt x="165" y="877"/>
                    </a:lnTo>
                    <a:lnTo>
                      <a:pt x="165" y="886"/>
                    </a:lnTo>
                    <a:lnTo>
                      <a:pt x="165" y="898"/>
                    </a:lnTo>
                    <a:lnTo>
                      <a:pt x="165" y="970"/>
                    </a:lnTo>
                    <a:lnTo>
                      <a:pt x="165" y="995"/>
                    </a:lnTo>
                    <a:lnTo>
                      <a:pt x="165" y="1023"/>
                    </a:lnTo>
                    <a:lnTo>
                      <a:pt x="165" y="1055"/>
                    </a:lnTo>
                    <a:lnTo>
                      <a:pt x="165" y="1091"/>
                    </a:lnTo>
                    <a:lnTo>
                      <a:pt x="165" y="1131"/>
                    </a:lnTo>
                    <a:lnTo>
                      <a:pt x="165" y="1277"/>
                    </a:lnTo>
                    <a:lnTo>
                      <a:pt x="165" y="1334"/>
                    </a:lnTo>
                    <a:lnTo>
                      <a:pt x="165" y="1397"/>
                    </a:lnTo>
                    <a:lnTo>
                      <a:pt x="165" y="1465"/>
                    </a:lnTo>
                    <a:lnTo>
                      <a:pt x="165" y="1539"/>
                    </a:lnTo>
                    <a:lnTo>
                      <a:pt x="165" y="1618"/>
                    </a:lnTo>
                    <a:lnTo>
                      <a:pt x="165" y="1703"/>
                    </a:lnTo>
                    <a:lnTo>
                      <a:pt x="165" y="1794"/>
                    </a:lnTo>
                    <a:lnTo>
                      <a:pt x="165" y="1892"/>
                    </a:lnTo>
                    <a:lnTo>
                      <a:pt x="165" y="1995"/>
                    </a:lnTo>
                    <a:lnTo>
                      <a:pt x="165" y="2106"/>
                    </a:lnTo>
                    <a:lnTo>
                      <a:pt x="165" y="2223"/>
                    </a:lnTo>
                    <a:lnTo>
                      <a:pt x="165" y="2348"/>
                    </a:lnTo>
                    <a:lnTo>
                      <a:pt x="165" y="2480"/>
                    </a:lnTo>
                    <a:lnTo>
                      <a:pt x="165" y="2619"/>
                    </a:lnTo>
                    <a:lnTo>
                      <a:pt x="165" y="2767"/>
                    </a:lnTo>
                    <a:lnTo>
                      <a:pt x="165" y="2922"/>
                    </a:lnTo>
                    <a:lnTo>
                      <a:pt x="165" y="3085"/>
                    </a:lnTo>
                    <a:lnTo>
                      <a:pt x="165" y="3257"/>
                    </a:lnTo>
                    <a:lnTo>
                      <a:pt x="167" y="3292"/>
                    </a:lnTo>
                    <a:lnTo>
                      <a:pt x="176" y="3326"/>
                    </a:lnTo>
                    <a:lnTo>
                      <a:pt x="189" y="3357"/>
                    </a:lnTo>
                    <a:lnTo>
                      <a:pt x="208" y="3384"/>
                    </a:lnTo>
                    <a:lnTo>
                      <a:pt x="230" y="3407"/>
                    </a:lnTo>
                    <a:lnTo>
                      <a:pt x="255" y="3427"/>
                    </a:lnTo>
                    <a:lnTo>
                      <a:pt x="283" y="3441"/>
                    </a:lnTo>
                    <a:lnTo>
                      <a:pt x="315" y="3450"/>
                    </a:lnTo>
                    <a:lnTo>
                      <a:pt x="348" y="3454"/>
                    </a:lnTo>
                    <a:lnTo>
                      <a:pt x="2114" y="3454"/>
                    </a:lnTo>
                    <a:lnTo>
                      <a:pt x="2114" y="3454"/>
                    </a:lnTo>
                    <a:lnTo>
                      <a:pt x="2114" y="3452"/>
                    </a:lnTo>
                    <a:lnTo>
                      <a:pt x="2114" y="3451"/>
                    </a:lnTo>
                    <a:lnTo>
                      <a:pt x="2114" y="3449"/>
                    </a:lnTo>
                    <a:lnTo>
                      <a:pt x="2114" y="3399"/>
                    </a:lnTo>
                    <a:lnTo>
                      <a:pt x="2114" y="3384"/>
                    </a:lnTo>
                    <a:lnTo>
                      <a:pt x="2114" y="3367"/>
                    </a:lnTo>
                    <a:lnTo>
                      <a:pt x="2114" y="3324"/>
                    </a:lnTo>
                    <a:lnTo>
                      <a:pt x="2114" y="3298"/>
                    </a:lnTo>
                    <a:lnTo>
                      <a:pt x="2114" y="3269"/>
                    </a:lnTo>
                    <a:lnTo>
                      <a:pt x="2114" y="2960"/>
                    </a:lnTo>
                    <a:lnTo>
                      <a:pt x="2114" y="2899"/>
                    </a:lnTo>
                    <a:lnTo>
                      <a:pt x="2114" y="2832"/>
                    </a:lnTo>
                    <a:lnTo>
                      <a:pt x="2114" y="2760"/>
                    </a:lnTo>
                    <a:lnTo>
                      <a:pt x="2114" y="2513"/>
                    </a:lnTo>
                    <a:lnTo>
                      <a:pt x="2114" y="2419"/>
                    </a:lnTo>
                    <a:lnTo>
                      <a:pt x="2114" y="2318"/>
                    </a:lnTo>
                    <a:lnTo>
                      <a:pt x="2114" y="2212"/>
                    </a:lnTo>
                    <a:lnTo>
                      <a:pt x="2114" y="2100"/>
                    </a:lnTo>
                    <a:lnTo>
                      <a:pt x="2114" y="1981"/>
                    </a:lnTo>
                    <a:lnTo>
                      <a:pt x="2114" y="1855"/>
                    </a:lnTo>
                    <a:lnTo>
                      <a:pt x="2114" y="1721"/>
                    </a:lnTo>
                    <a:lnTo>
                      <a:pt x="2114" y="1580"/>
                    </a:lnTo>
                    <a:lnTo>
                      <a:pt x="2114" y="1433"/>
                    </a:lnTo>
                    <a:lnTo>
                      <a:pt x="2114" y="1278"/>
                    </a:lnTo>
                    <a:lnTo>
                      <a:pt x="2114" y="1114"/>
                    </a:lnTo>
                    <a:lnTo>
                      <a:pt x="2114" y="943"/>
                    </a:lnTo>
                    <a:lnTo>
                      <a:pt x="2114" y="764"/>
                    </a:lnTo>
                    <a:lnTo>
                      <a:pt x="2114" y="381"/>
                    </a:lnTo>
                    <a:lnTo>
                      <a:pt x="2111" y="346"/>
                    </a:lnTo>
                    <a:lnTo>
                      <a:pt x="2102" y="312"/>
                    </a:lnTo>
                    <a:lnTo>
                      <a:pt x="2089" y="281"/>
                    </a:lnTo>
                    <a:lnTo>
                      <a:pt x="2072" y="253"/>
                    </a:lnTo>
                    <a:lnTo>
                      <a:pt x="2050" y="230"/>
                    </a:lnTo>
                    <a:lnTo>
                      <a:pt x="2024" y="211"/>
                    </a:lnTo>
                    <a:lnTo>
                      <a:pt x="1995" y="196"/>
                    </a:lnTo>
                    <a:lnTo>
                      <a:pt x="1965" y="188"/>
                    </a:lnTo>
                    <a:lnTo>
                      <a:pt x="1931" y="184"/>
                    </a:lnTo>
                    <a:lnTo>
                      <a:pt x="861" y="184"/>
                    </a:lnTo>
                    <a:close/>
                    <a:moveTo>
                      <a:pt x="773" y="0"/>
                    </a:moveTo>
                    <a:lnTo>
                      <a:pt x="2001" y="0"/>
                    </a:lnTo>
                    <a:lnTo>
                      <a:pt x="2032" y="2"/>
                    </a:lnTo>
                    <a:lnTo>
                      <a:pt x="2065" y="10"/>
                    </a:lnTo>
                    <a:lnTo>
                      <a:pt x="2098" y="21"/>
                    </a:lnTo>
                    <a:lnTo>
                      <a:pt x="2130" y="37"/>
                    </a:lnTo>
                    <a:lnTo>
                      <a:pt x="2159" y="56"/>
                    </a:lnTo>
                    <a:lnTo>
                      <a:pt x="2188" y="80"/>
                    </a:lnTo>
                    <a:lnTo>
                      <a:pt x="2213" y="106"/>
                    </a:lnTo>
                    <a:lnTo>
                      <a:pt x="2235" y="137"/>
                    </a:lnTo>
                    <a:lnTo>
                      <a:pt x="2253" y="170"/>
                    </a:lnTo>
                    <a:lnTo>
                      <a:pt x="2267" y="206"/>
                    </a:lnTo>
                    <a:lnTo>
                      <a:pt x="2275" y="246"/>
                    </a:lnTo>
                    <a:lnTo>
                      <a:pt x="2279" y="286"/>
                    </a:lnTo>
                    <a:lnTo>
                      <a:pt x="2279" y="323"/>
                    </a:lnTo>
                    <a:lnTo>
                      <a:pt x="2279" y="333"/>
                    </a:lnTo>
                    <a:lnTo>
                      <a:pt x="2279" y="348"/>
                    </a:lnTo>
                    <a:lnTo>
                      <a:pt x="2279" y="815"/>
                    </a:lnTo>
                    <a:lnTo>
                      <a:pt x="2279" y="880"/>
                    </a:lnTo>
                    <a:lnTo>
                      <a:pt x="2279" y="949"/>
                    </a:lnTo>
                    <a:lnTo>
                      <a:pt x="2279" y="1829"/>
                    </a:lnTo>
                    <a:lnTo>
                      <a:pt x="2279" y="1959"/>
                    </a:lnTo>
                    <a:lnTo>
                      <a:pt x="2279" y="2096"/>
                    </a:lnTo>
                    <a:lnTo>
                      <a:pt x="2279" y="3464"/>
                    </a:lnTo>
                    <a:lnTo>
                      <a:pt x="2279" y="3467"/>
                    </a:lnTo>
                    <a:lnTo>
                      <a:pt x="2279" y="3472"/>
                    </a:lnTo>
                    <a:lnTo>
                      <a:pt x="2278" y="3481"/>
                    </a:lnTo>
                    <a:lnTo>
                      <a:pt x="2275" y="3492"/>
                    </a:lnTo>
                    <a:lnTo>
                      <a:pt x="2273" y="3504"/>
                    </a:lnTo>
                    <a:lnTo>
                      <a:pt x="2269" y="3518"/>
                    </a:lnTo>
                    <a:lnTo>
                      <a:pt x="2262" y="3534"/>
                    </a:lnTo>
                    <a:lnTo>
                      <a:pt x="2253" y="3549"/>
                    </a:lnTo>
                    <a:lnTo>
                      <a:pt x="2244" y="3564"/>
                    </a:lnTo>
                    <a:lnTo>
                      <a:pt x="2230" y="3579"/>
                    </a:lnTo>
                    <a:lnTo>
                      <a:pt x="2214" y="3591"/>
                    </a:lnTo>
                    <a:lnTo>
                      <a:pt x="2194" y="3602"/>
                    </a:lnTo>
                    <a:lnTo>
                      <a:pt x="2171" y="3610"/>
                    </a:lnTo>
                    <a:lnTo>
                      <a:pt x="2145" y="3616"/>
                    </a:lnTo>
                    <a:lnTo>
                      <a:pt x="2114" y="3618"/>
                    </a:lnTo>
                    <a:lnTo>
                      <a:pt x="267" y="3618"/>
                    </a:lnTo>
                    <a:lnTo>
                      <a:pt x="236" y="3616"/>
                    </a:lnTo>
                    <a:lnTo>
                      <a:pt x="205" y="3609"/>
                    </a:lnTo>
                    <a:lnTo>
                      <a:pt x="173" y="3598"/>
                    </a:lnTo>
                    <a:lnTo>
                      <a:pt x="142" y="3583"/>
                    </a:lnTo>
                    <a:lnTo>
                      <a:pt x="114" y="3564"/>
                    </a:lnTo>
                    <a:lnTo>
                      <a:pt x="87" y="3541"/>
                    </a:lnTo>
                    <a:lnTo>
                      <a:pt x="62" y="3515"/>
                    </a:lnTo>
                    <a:lnTo>
                      <a:pt x="41" y="3485"/>
                    </a:lnTo>
                    <a:lnTo>
                      <a:pt x="24" y="3452"/>
                    </a:lnTo>
                    <a:lnTo>
                      <a:pt x="11" y="3416"/>
                    </a:lnTo>
                    <a:lnTo>
                      <a:pt x="3" y="3378"/>
                    </a:lnTo>
                    <a:lnTo>
                      <a:pt x="0" y="3335"/>
                    </a:lnTo>
                    <a:lnTo>
                      <a:pt x="0" y="741"/>
                    </a:lnTo>
                    <a:lnTo>
                      <a:pt x="92" y="659"/>
                    </a:lnTo>
                    <a:lnTo>
                      <a:pt x="180" y="578"/>
                    </a:lnTo>
                    <a:lnTo>
                      <a:pt x="266" y="497"/>
                    </a:lnTo>
                    <a:lnTo>
                      <a:pt x="349" y="417"/>
                    </a:lnTo>
                    <a:lnTo>
                      <a:pt x="428" y="340"/>
                    </a:lnTo>
                    <a:lnTo>
                      <a:pt x="503" y="265"/>
                    </a:lnTo>
                    <a:lnTo>
                      <a:pt x="576" y="193"/>
                    </a:lnTo>
                    <a:lnTo>
                      <a:pt x="646" y="125"/>
                    </a:lnTo>
                    <a:lnTo>
                      <a:pt x="711" y="60"/>
                    </a:lnTo>
                    <a:lnTo>
                      <a:pt x="773"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8" name="Freeform 22"/>
              <p:cNvSpPr>
                <a:spLocks/>
              </p:cNvSpPr>
              <p:nvPr/>
            </p:nvSpPr>
            <p:spPr bwMode="auto">
              <a:xfrm>
                <a:off x="6502" y="1037"/>
                <a:ext cx="91" cy="25"/>
              </a:xfrm>
              <a:custGeom>
                <a:avLst/>
                <a:gdLst>
                  <a:gd name="T0" fmla="*/ 81 w 637"/>
                  <a:gd name="T1" fmla="*/ 0 h 178"/>
                  <a:gd name="T2" fmla="*/ 81 w 637"/>
                  <a:gd name="T3" fmla="*/ 0 h 178"/>
                  <a:gd name="T4" fmla="*/ 84 w 637"/>
                  <a:gd name="T5" fmla="*/ 0 h 178"/>
                  <a:gd name="T6" fmla="*/ 87 w 637"/>
                  <a:gd name="T7" fmla="*/ 0 h 178"/>
                  <a:gd name="T8" fmla="*/ 91 w 637"/>
                  <a:gd name="T9" fmla="*/ 0 h 178"/>
                  <a:gd name="T10" fmla="*/ 99 w 637"/>
                  <a:gd name="T11" fmla="*/ 0 h 178"/>
                  <a:gd name="T12" fmla="*/ 140 w 637"/>
                  <a:gd name="T13" fmla="*/ 0 h 178"/>
                  <a:gd name="T14" fmla="*/ 162 w 637"/>
                  <a:gd name="T15" fmla="*/ 0 h 178"/>
                  <a:gd name="T16" fmla="*/ 189 w 637"/>
                  <a:gd name="T17" fmla="*/ 0 h 178"/>
                  <a:gd name="T18" fmla="*/ 220 w 637"/>
                  <a:gd name="T19" fmla="*/ 0 h 178"/>
                  <a:gd name="T20" fmla="*/ 259 w 637"/>
                  <a:gd name="T21" fmla="*/ 0 h 178"/>
                  <a:gd name="T22" fmla="*/ 304 w 637"/>
                  <a:gd name="T23" fmla="*/ 0 h 178"/>
                  <a:gd name="T24" fmla="*/ 354 w 637"/>
                  <a:gd name="T25" fmla="*/ 0 h 178"/>
                  <a:gd name="T26" fmla="*/ 412 w 637"/>
                  <a:gd name="T27" fmla="*/ 0 h 178"/>
                  <a:gd name="T28" fmla="*/ 479 w 637"/>
                  <a:gd name="T29" fmla="*/ 0 h 178"/>
                  <a:gd name="T30" fmla="*/ 553 w 637"/>
                  <a:gd name="T31" fmla="*/ 0 h 178"/>
                  <a:gd name="T32" fmla="*/ 576 w 637"/>
                  <a:gd name="T33" fmla="*/ 3 h 178"/>
                  <a:gd name="T34" fmla="*/ 596 w 637"/>
                  <a:gd name="T35" fmla="*/ 12 h 178"/>
                  <a:gd name="T36" fmla="*/ 613 w 637"/>
                  <a:gd name="T37" fmla="*/ 26 h 178"/>
                  <a:gd name="T38" fmla="*/ 626 w 637"/>
                  <a:gd name="T39" fmla="*/ 44 h 178"/>
                  <a:gd name="T40" fmla="*/ 634 w 637"/>
                  <a:gd name="T41" fmla="*/ 66 h 178"/>
                  <a:gd name="T42" fmla="*/ 637 w 637"/>
                  <a:gd name="T43" fmla="*/ 91 h 178"/>
                  <a:gd name="T44" fmla="*/ 634 w 637"/>
                  <a:gd name="T45" fmla="*/ 114 h 178"/>
                  <a:gd name="T46" fmla="*/ 626 w 637"/>
                  <a:gd name="T47" fmla="*/ 134 h 178"/>
                  <a:gd name="T48" fmla="*/ 613 w 637"/>
                  <a:gd name="T49" fmla="*/ 153 h 178"/>
                  <a:gd name="T50" fmla="*/ 596 w 637"/>
                  <a:gd name="T51" fmla="*/ 166 h 178"/>
                  <a:gd name="T52" fmla="*/ 576 w 637"/>
                  <a:gd name="T53" fmla="*/ 174 h 178"/>
                  <a:gd name="T54" fmla="*/ 553 w 637"/>
                  <a:gd name="T55" fmla="*/ 178 h 178"/>
                  <a:gd name="T56" fmla="*/ 553 w 637"/>
                  <a:gd name="T57" fmla="*/ 178 h 178"/>
                  <a:gd name="T58" fmla="*/ 552 w 637"/>
                  <a:gd name="T59" fmla="*/ 178 h 178"/>
                  <a:gd name="T60" fmla="*/ 551 w 637"/>
                  <a:gd name="T61" fmla="*/ 178 h 178"/>
                  <a:gd name="T62" fmla="*/ 548 w 637"/>
                  <a:gd name="T63" fmla="*/ 178 h 178"/>
                  <a:gd name="T64" fmla="*/ 542 w 637"/>
                  <a:gd name="T65" fmla="*/ 178 h 178"/>
                  <a:gd name="T66" fmla="*/ 536 w 637"/>
                  <a:gd name="T67" fmla="*/ 178 h 178"/>
                  <a:gd name="T68" fmla="*/ 413 w 637"/>
                  <a:gd name="T69" fmla="*/ 178 h 178"/>
                  <a:gd name="T70" fmla="*/ 375 w 637"/>
                  <a:gd name="T71" fmla="*/ 178 h 178"/>
                  <a:gd name="T72" fmla="*/ 331 w 637"/>
                  <a:gd name="T73" fmla="*/ 178 h 178"/>
                  <a:gd name="T74" fmla="*/ 221 w 637"/>
                  <a:gd name="T75" fmla="*/ 178 h 178"/>
                  <a:gd name="T76" fmla="*/ 156 w 637"/>
                  <a:gd name="T77" fmla="*/ 178 h 178"/>
                  <a:gd name="T78" fmla="*/ 81 w 637"/>
                  <a:gd name="T79" fmla="*/ 178 h 178"/>
                  <a:gd name="T80" fmla="*/ 59 w 637"/>
                  <a:gd name="T81" fmla="*/ 174 h 178"/>
                  <a:gd name="T82" fmla="*/ 41 w 637"/>
                  <a:gd name="T83" fmla="*/ 166 h 178"/>
                  <a:gd name="T84" fmla="*/ 24 w 637"/>
                  <a:gd name="T85" fmla="*/ 153 h 178"/>
                  <a:gd name="T86" fmla="*/ 11 w 637"/>
                  <a:gd name="T87" fmla="*/ 134 h 178"/>
                  <a:gd name="T88" fmla="*/ 3 w 637"/>
                  <a:gd name="T89" fmla="*/ 114 h 178"/>
                  <a:gd name="T90" fmla="*/ 0 w 637"/>
                  <a:gd name="T91" fmla="*/ 91 h 178"/>
                  <a:gd name="T92" fmla="*/ 3 w 637"/>
                  <a:gd name="T93" fmla="*/ 66 h 178"/>
                  <a:gd name="T94" fmla="*/ 11 w 637"/>
                  <a:gd name="T95" fmla="*/ 44 h 178"/>
                  <a:gd name="T96" fmla="*/ 24 w 637"/>
                  <a:gd name="T97" fmla="*/ 26 h 178"/>
                  <a:gd name="T98" fmla="*/ 41 w 637"/>
                  <a:gd name="T99" fmla="*/ 12 h 178"/>
                  <a:gd name="T100" fmla="*/ 59 w 637"/>
                  <a:gd name="T101" fmla="*/ 3 h 178"/>
                  <a:gd name="T102" fmla="*/ 81 w 637"/>
                  <a:gd name="T103" fmla="*/ 0 h 178"/>
                  <a:gd name="T104" fmla="*/ 81 w 637"/>
                  <a:gd name="T10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37" h="178">
                    <a:moveTo>
                      <a:pt x="81" y="0"/>
                    </a:moveTo>
                    <a:lnTo>
                      <a:pt x="81" y="0"/>
                    </a:lnTo>
                    <a:lnTo>
                      <a:pt x="84" y="0"/>
                    </a:lnTo>
                    <a:lnTo>
                      <a:pt x="87" y="0"/>
                    </a:lnTo>
                    <a:lnTo>
                      <a:pt x="91" y="0"/>
                    </a:lnTo>
                    <a:lnTo>
                      <a:pt x="99" y="0"/>
                    </a:lnTo>
                    <a:lnTo>
                      <a:pt x="140" y="0"/>
                    </a:lnTo>
                    <a:lnTo>
                      <a:pt x="162" y="0"/>
                    </a:lnTo>
                    <a:lnTo>
                      <a:pt x="189" y="0"/>
                    </a:lnTo>
                    <a:lnTo>
                      <a:pt x="220" y="0"/>
                    </a:lnTo>
                    <a:lnTo>
                      <a:pt x="259" y="0"/>
                    </a:lnTo>
                    <a:lnTo>
                      <a:pt x="304" y="0"/>
                    </a:lnTo>
                    <a:lnTo>
                      <a:pt x="354" y="0"/>
                    </a:lnTo>
                    <a:lnTo>
                      <a:pt x="412" y="0"/>
                    </a:lnTo>
                    <a:lnTo>
                      <a:pt x="479" y="0"/>
                    </a:lnTo>
                    <a:lnTo>
                      <a:pt x="553" y="0"/>
                    </a:lnTo>
                    <a:lnTo>
                      <a:pt x="576" y="3"/>
                    </a:lnTo>
                    <a:lnTo>
                      <a:pt x="596" y="12"/>
                    </a:lnTo>
                    <a:lnTo>
                      <a:pt x="613" y="26"/>
                    </a:lnTo>
                    <a:lnTo>
                      <a:pt x="626" y="44"/>
                    </a:lnTo>
                    <a:lnTo>
                      <a:pt x="634" y="66"/>
                    </a:lnTo>
                    <a:lnTo>
                      <a:pt x="637" y="91"/>
                    </a:lnTo>
                    <a:lnTo>
                      <a:pt x="634" y="114"/>
                    </a:lnTo>
                    <a:lnTo>
                      <a:pt x="626" y="134"/>
                    </a:lnTo>
                    <a:lnTo>
                      <a:pt x="613" y="153"/>
                    </a:lnTo>
                    <a:lnTo>
                      <a:pt x="596" y="166"/>
                    </a:lnTo>
                    <a:lnTo>
                      <a:pt x="576" y="174"/>
                    </a:lnTo>
                    <a:lnTo>
                      <a:pt x="553" y="178"/>
                    </a:lnTo>
                    <a:lnTo>
                      <a:pt x="553" y="178"/>
                    </a:lnTo>
                    <a:lnTo>
                      <a:pt x="552" y="178"/>
                    </a:lnTo>
                    <a:lnTo>
                      <a:pt x="551" y="178"/>
                    </a:lnTo>
                    <a:lnTo>
                      <a:pt x="548" y="178"/>
                    </a:lnTo>
                    <a:lnTo>
                      <a:pt x="542" y="178"/>
                    </a:lnTo>
                    <a:lnTo>
                      <a:pt x="536" y="178"/>
                    </a:lnTo>
                    <a:lnTo>
                      <a:pt x="413" y="178"/>
                    </a:lnTo>
                    <a:lnTo>
                      <a:pt x="375" y="178"/>
                    </a:lnTo>
                    <a:lnTo>
                      <a:pt x="331" y="178"/>
                    </a:lnTo>
                    <a:lnTo>
                      <a:pt x="221" y="178"/>
                    </a:lnTo>
                    <a:lnTo>
                      <a:pt x="156" y="178"/>
                    </a:lnTo>
                    <a:lnTo>
                      <a:pt x="81" y="178"/>
                    </a:lnTo>
                    <a:lnTo>
                      <a:pt x="59" y="174"/>
                    </a:lnTo>
                    <a:lnTo>
                      <a:pt x="41" y="166"/>
                    </a:lnTo>
                    <a:lnTo>
                      <a:pt x="24" y="153"/>
                    </a:lnTo>
                    <a:lnTo>
                      <a:pt x="11" y="134"/>
                    </a:lnTo>
                    <a:lnTo>
                      <a:pt x="3" y="114"/>
                    </a:lnTo>
                    <a:lnTo>
                      <a:pt x="0" y="91"/>
                    </a:lnTo>
                    <a:lnTo>
                      <a:pt x="3" y="66"/>
                    </a:lnTo>
                    <a:lnTo>
                      <a:pt x="11" y="44"/>
                    </a:lnTo>
                    <a:lnTo>
                      <a:pt x="24" y="26"/>
                    </a:lnTo>
                    <a:lnTo>
                      <a:pt x="41" y="12"/>
                    </a:lnTo>
                    <a:lnTo>
                      <a:pt x="59" y="3"/>
                    </a:lnTo>
                    <a:lnTo>
                      <a:pt x="81" y="0"/>
                    </a:lnTo>
                    <a:lnTo>
                      <a:pt x="81"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9" name="Freeform 23"/>
              <p:cNvSpPr>
                <a:spLocks/>
              </p:cNvSpPr>
              <p:nvPr/>
            </p:nvSpPr>
            <p:spPr bwMode="auto">
              <a:xfrm>
                <a:off x="6420" y="1100"/>
                <a:ext cx="173" cy="26"/>
              </a:xfrm>
              <a:custGeom>
                <a:avLst/>
                <a:gdLst>
                  <a:gd name="T0" fmla="*/ 85 w 1214"/>
                  <a:gd name="T1" fmla="*/ 0 h 178"/>
                  <a:gd name="T2" fmla="*/ 91 w 1214"/>
                  <a:gd name="T3" fmla="*/ 0 h 178"/>
                  <a:gd name="T4" fmla="*/ 96 w 1214"/>
                  <a:gd name="T5" fmla="*/ 0 h 178"/>
                  <a:gd name="T6" fmla="*/ 102 w 1214"/>
                  <a:gd name="T7" fmla="*/ 0 h 178"/>
                  <a:gd name="T8" fmla="*/ 302 w 1214"/>
                  <a:gd name="T9" fmla="*/ 0 h 178"/>
                  <a:gd name="T10" fmla="*/ 345 w 1214"/>
                  <a:gd name="T11" fmla="*/ 0 h 178"/>
                  <a:gd name="T12" fmla="*/ 395 w 1214"/>
                  <a:gd name="T13" fmla="*/ 0 h 178"/>
                  <a:gd name="T14" fmla="*/ 1130 w 1214"/>
                  <a:gd name="T15" fmla="*/ 0 h 178"/>
                  <a:gd name="T16" fmla="*/ 1153 w 1214"/>
                  <a:gd name="T17" fmla="*/ 4 h 178"/>
                  <a:gd name="T18" fmla="*/ 1173 w 1214"/>
                  <a:gd name="T19" fmla="*/ 12 h 178"/>
                  <a:gd name="T20" fmla="*/ 1190 w 1214"/>
                  <a:gd name="T21" fmla="*/ 27 h 178"/>
                  <a:gd name="T22" fmla="*/ 1203 w 1214"/>
                  <a:gd name="T23" fmla="*/ 44 h 178"/>
                  <a:gd name="T24" fmla="*/ 1211 w 1214"/>
                  <a:gd name="T25" fmla="*/ 65 h 178"/>
                  <a:gd name="T26" fmla="*/ 1214 w 1214"/>
                  <a:gd name="T27" fmla="*/ 89 h 178"/>
                  <a:gd name="T28" fmla="*/ 1212 w 1214"/>
                  <a:gd name="T29" fmla="*/ 109 h 178"/>
                  <a:gd name="T30" fmla="*/ 1206 w 1214"/>
                  <a:gd name="T31" fmla="*/ 127 h 178"/>
                  <a:gd name="T32" fmla="*/ 1196 w 1214"/>
                  <a:gd name="T33" fmla="*/ 144 h 178"/>
                  <a:gd name="T34" fmla="*/ 1184 w 1214"/>
                  <a:gd name="T35" fmla="*/ 158 h 178"/>
                  <a:gd name="T36" fmla="*/ 1167 w 1214"/>
                  <a:gd name="T37" fmla="*/ 169 h 178"/>
                  <a:gd name="T38" fmla="*/ 1150 w 1214"/>
                  <a:gd name="T39" fmla="*/ 176 h 178"/>
                  <a:gd name="T40" fmla="*/ 1130 w 1214"/>
                  <a:gd name="T41" fmla="*/ 178 h 178"/>
                  <a:gd name="T42" fmla="*/ 85 w 1214"/>
                  <a:gd name="T43" fmla="*/ 178 h 178"/>
                  <a:gd name="T44" fmla="*/ 63 w 1214"/>
                  <a:gd name="T45" fmla="*/ 175 h 178"/>
                  <a:gd name="T46" fmla="*/ 43 w 1214"/>
                  <a:gd name="T47" fmla="*/ 166 h 178"/>
                  <a:gd name="T48" fmla="*/ 26 w 1214"/>
                  <a:gd name="T49" fmla="*/ 152 h 178"/>
                  <a:gd name="T50" fmla="*/ 12 w 1214"/>
                  <a:gd name="T51" fmla="*/ 133 h 178"/>
                  <a:gd name="T52" fmla="*/ 3 w 1214"/>
                  <a:gd name="T53" fmla="*/ 112 h 178"/>
                  <a:gd name="T54" fmla="*/ 0 w 1214"/>
                  <a:gd name="T55" fmla="*/ 89 h 178"/>
                  <a:gd name="T56" fmla="*/ 3 w 1214"/>
                  <a:gd name="T57" fmla="*/ 65 h 178"/>
                  <a:gd name="T58" fmla="*/ 12 w 1214"/>
                  <a:gd name="T59" fmla="*/ 44 h 178"/>
                  <a:gd name="T60" fmla="*/ 26 w 1214"/>
                  <a:gd name="T61" fmla="*/ 27 h 178"/>
                  <a:gd name="T62" fmla="*/ 43 w 1214"/>
                  <a:gd name="T63" fmla="*/ 12 h 178"/>
                  <a:gd name="T64" fmla="*/ 63 w 1214"/>
                  <a:gd name="T65" fmla="*/ 4 h 178"/>
                  <a:gd name="T66" fmla="*/ 85 w 1214"/>
                  <a:gd name="T6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4" h="178">
                    <a:moveTo>
                      <a:pt x="85" y="0"/>
                    </a:moveTo>
                    <a:lnTo>
                      <a:pt x="91" y="0"/>
                    </a:lnTo>
                    <a:lnTo>
                      <a:pt x="96" y="0"/>
                    </a:lnTo>
                    <a:lnTo>
                      <a:pt x="102" y="0"/>
                    </a:lnTo>
                    <a:lnTo>
                      <a:pt x="302" y="0"/>
                    </a:lnTo>
                    <a:lnTo>
                      <a:pt x="345" y="0"/>
                    </a:lnTo>
                    <a:lnTo>
                      <a:pt x="395" y="0"/>
                    </a:lnTo>
                    <a:lnTo>
                      <a:pt x="1130" y="0"/>
                    </a:lnTo>
                    <a:lnTo>
                      <a:pt x="1153" y="4"/>
                    </a:lnTo>
                    <a:lnTo>
                      <a:pt x="1173" y="12"/>
                    </a:lnTo>
                    <a:lnTo>
                      <a:pt x="1190" y="27"/>
                    </a:lnTo>
                    <a:lnTo>
                      <a:pt x="1203" y="44"/>
                    </a:lnTo>
                    <a:lnTo>
                      <a:pt x="1211" y="65"/>
                    </a:lnTo>
                    <a:lnTo>
                      <a:pt x="1214" y="89"/>
                    </a:lnTo>
                    <a:lnTo>
                      <a:pt x="1212" y="109"/>
                    </a:lnTo>
                    <a:lnTo>
                      <a:pt x="1206" y="127"/>
                    </a:lnTo>
                    <a:lnTo>
                      <a:pt x="1196" y="144"/>
                    </a:lnTo>
                    <a:lnTo>
                      <a:pt x="1184" y="158"/>
                    </a:lnTo>
                    <a:lnTo>
                      <a:pt x="1167" y="169"/>
                    </a:lnTo>
                    <a:lnTo>
                      <a:pt x="1150" y="176"/>
                    </a:lnTo>
                    <a:lnTo>
                      <a:pt x="1130" y="178"/>
                    </a:lnTo>
                    <a:lnTo>
                      <a:pt x="85" y="178"/>
                    </a:lnTo>
                    <a:lnTo>
                      <a:pt x="63" y="175"/>
                    </a:lnTo>
                    <a:lnTo>
                      <a:pt x="43" y="166"/>
                    </a:lnTo>
                    <a:lnTo>
                      <a:pt x="26" y="152"/>
                    </a:lnTo>
                    <a:lnTo>
                      <a:pt x="12" y="133"/>
                    </a:lnTo>
                    <a:lnTo>
                      <a:pt x="3" y="112"/>
                    </a:lnTo>
                    <a:lnTo>
                      <a:pt x="0" y="89"/>
                    </a:lnTo>
                    <a:lnTo>
                      <a:pt x="3" y="65"/>
                    </a:lnTo>
                    <a:lnTo>
                      <a:pt x="12" y="44"/>
                    </a:lnTo>
                    <a:lnTo>
                      <a:pt x="26" y="27"/>
                    </a:lnTo>
                    <a:lnTo>
                      <a:pt x="43" y="12"/>
                    </a:lnTo>
                    <a:lnTo>
                      <a:pt x="63" y="4"/>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30" name="Freeform 24"/>
              <p:cNvSpPr>
                <a:spLocks/>
              </p:cNvSpPr>
              <p:nvPr/>
            </p:nvSpPr>
            <p:spPr bwMode="auto">
              <a:xfrm>
                <a:off x="6420" y="1163"/>
                <a:ext cx="173" cy="25"/>
              </a:xfrm>
              <a:custGeom>
                <a:avLst/>
                <a:gdLst>
                  <a:gd name="T0" fmla="*/ 85 w 1214"/>
                  <a:gd name="T1" fmla="*/ 0 h 177"/>
                  <a:gd name="T2" fmla="*/ 1130 w 1214"/>
                  <a:gd name="T3" fmla="*/ 0 h 177"/>
                  <a:gd name="T4" fmla="*/ 1153 w 1214"/>
                  <a:gd name="T5" fmla="*/ 3 h 177"/>
                  <a:gd name="T6" fmla="*/ 1173 w 1214"/>
                  <a:gd name="T7" fmla="*/ 12 h 177"/>
                  <a:gd name="T8" fmla="*/ 1190 w 1214"/>
                  <a:gd name="T9" fmla="*/ 26 h 177"/>
                  <a:gd name="T10" fmla="*/ 1203 w 1214"/>
                  <a:gd name="T11" fmla="*/ 43 h 177"/>
                  <a:gd name="T12" fmla="*/ 1211 w 1214"/>
                  <a:gd name="T13" fmla="*/ 64 h 177"/>
                  <a:gd name="T14" fmla="*/ 1214 w 1214"/>
                  <a:gd name="T15" fmla="*/ 88 h 177"/>
                  <a:gd name="T16" fmla="*/ 1212 w 1214"/>
                  <a:gd name="T17" fmla="*/ 108 h 177"/>
                  <a:gd name="T18" fmla="*/ 1206 w 1214"/>
                  <a:gd name="T19" fmla="*/ 127 h 177"/>
                  <a:gd name="T20" fmla="*/ 1196 w 1214"/>
                  <a:gd name="T21" fmla="*/ 143 h 177"/>
                  <a:gd name="T22" fmla="*/ 1184 w 1214"/>
                  <a:gd name="T23" fmla="*/ 158 h 177"/>
                  <a:gd name="T24" fmla="*/ 1167 w 1214"/>
                  <a:gd name="T25" fmla="*/ 169 h 177"/>
                  <a:gd name="T26" fmla="*/ 1150 w 1214"/>
                  <a:gd name="T27" fmla="*/ 175 h 177"/>
                  <a:gd name="T28" fmla="*/ 1130 w 1214"/>
                  <a:gd name="T29" fmla="*/ 177 h 177"/>
                  <a:gd name="T30" fmla="*/ 1124 w 1214"/>
                  <a:gd name="T31" fmla="*/ 177 h 177"/>
                  <a:gd name="T32" fmla="*/ 1118 w 1214"/>
                  <a:gd name="T33" fmla="*/ 177 h 177"/>
                  <a:gd name="T34" fmla="*/ 1111 w 1214"/>
                  <a:gd name="T35" fmla="*/ 177 h 177"/>
                  <a:gd name="T36" fmla="*/ 912 w 1214"/>
                  <a:gd name="T37" fmla="*/ 177 h 177"/>
                  <a:gd name="T38" fmla="*/ 869 w 1214"/>
                  <a:gd name="T39" fmla="*/ 177 h 177"/>
                  <a:gd name="T40" fmla="*/ 820 w 1214"/>
                  <a:gd name="T41" fmla="*/ 177 h 177"/>
                  <a:gd name="T42" fmla="*/ 85 w 1214"/>
                  <a:gd name="T43" fmla="*/ 177 h 177"/>
                  <a:gd name="T44" fmla="*/ 63 w 1214"/>
                  <a:gd name="T45" fmla="*/ 174 h 177"/>
                  <a:gd name="T46" fmla="*/ 43 w 1214"/>
                  <a:gd name="T47" fmla="*/ 165 h 177"/>
                  <a:gd name="T48" fmla="*/ 26 w 1214"/>
                  <a:gd name="T49" fmla="*/ 151 h 177"/>
                  <a:gd name="T50" fmla="*/ 12 w 1214"/>
                  <a:gd name="T51" fmla="*/ 132 h 177"/>
                  <a:gd name="T52" fmla="*/ 3 w 1214"/>
                  <a:gd name="T53" fmla="*/ 111 h 177"/>
                  <a:gd name="T54" fmla="*/ 0 w 1214"/>
                  <a:gd name="T55" fmla="*/ 88 h 177"/>
                  <a:gd name="T56" fmla="*/ 3 w 1214"/>
                  <a:gd name="T57" fmla="*/ 64 h 177"/>
                  <a:gd name="T58" fmla="*/ 12 w 1214"/>
                  <a:gd name="T59" fmla="*/ 43 h 177"/>
                  <a:gd name="T60" fmla="*/ 26 w 1214"/>
                  <a:gd name="T61" fmla="*/ 26 h 177"/>
                  <a:gd name="T62" fmla="*/ 43 w 1214"/>
                  <a:gd name="T63" fmla="*/ 12 h 177"/>
                  <a:gd name="T64" fmla="*/ 63 w 1214"/>
                  <a:gd name="T65" fmla="*/ 3 h 177"/>
                  <a:gd name="T66" fmla="*/ 85 w 1214"/>
                  <a:gd name="T67"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14" h="177">
                    <a:moveTo>
                      <a:pt x="85" y="0"/>
                    </a:moveTo>
                    <a:lnTo>
                      <a:pt x="1130" y="0"/>
                    </a:lnTo>
                    <a:lnTo>
                      <a:pt x="1153" y="3"/>
                    </a:lnTo>
                    <a:lnTo>
                      <a:pt x="1173" y="12"/>
                    </a:lnTo>
                    <a:lnTo>
                      <a:pt x="1190" y="26"/>
                    </a:lnTo>
                    <a:lnTo>
                      <a:pt x="1203" y="43"/>
                    </a:lnTo>
                    <a:lnTo>
                      <a:pt x="1211" y="64"/>
                    </a:lnTo>
                    <a:lnTo>
                      <a:pt x="1214" y="88"/>
                    </a:lnTo>
                    <a:lnTo>
                      <a:pt x="1212" y="108"/>
                    </a:lnTo>
                    <a:lnTo>
                      <a:pt x="1206" y="127"/>
                    </a:lnTo>
                    <a:lnTo>
                      <a:pt x="1196" y="143"/>
                    </a:lnTo>
                    <a:lnTo>
                      <a:pt x="1184" y="158"/>
                    </a:lnTo>
                    <a:lnTo>
                      <a:pt x="1167" y="169"/>
                    </a:lnTo>
                    <a:lnTo>
                      <a:pt x="1150" y="175"/>
                    </a:lnTo>
                    <a:lnTo>
                      <a:pt x="1130" y="177"/>
                    </a:lnTo>
                    <a:lnTo>
                      <a:pt x="1124" y="177"/>
                    </a:lnTo>
                    <a:lnTo>
                      <a:pt x="1118" y="177"/>
                    </a:lnTo>
                    <a:lnTo>
                      <a:pt x="1111" y="177"/>
                    </a:lnTo>
                    <a:lnTo>
                      <a:pt x="912" y="177"/>
                    </a:lnTo>
                    <a:lnTo>
                      <a:pt x="869" y="177"/>
                    </a:lnTo>
                    <a:lnTo>
                      <a:pt x="820" y="177"/>
                    </a:lnTo>
                    <a:lnTo>
                      <a:pt x="85" y="177"/>
                    </a:lnTo>
                    <a:lnTo>
                      <a:pt x="63" y="174"/>
                    </a:lnTo>
                    <a:lnTo>
                      <a:pt x="43" y="165"/>
                    </a:lnTo>
                    <a:lnTo>
                      <a:pt x="26" y="151"/>
                    </a:lnTo>
                    <a:lnTo>
                      <a:pt x="12" y="132"/>
                    </a:lnTo>
                    <a:lnTo>
                      <a:pt x="3" y="111"/>
                    </a:lnTo>
                    <a:lnTo>
                      <a:pt x="0" y="88"/>
                    </a:lnTo>
                    <a:lnTo>
                      <a:pt x="3" y="64"/>
                    </a:lnTo>
                    <a:lnTo>
                      <a:pt x="12" y="43"/>
                    </a:lnTo>
                    <a:lnTo>
                      <a:pt x="26" y="26"/>
                    </a:lnTo>
                    <a:lnTo>
                      <a:pt x="43" y="12"/>
                    </a:lnTo>
                    <a:lnTo>
                      <a:pt x="63" y="3"/>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31" name="Freeform 25"/>
              <p:cNvSpPr>
                <a:spLocks/>
              </p:cNvSpPr>
              <p:nvPr/>
            </p:nvSpPr>
            <p:spPr bwMode="auto">
              <a:xfrm>
                <a:off x="6420" y="1225"/>
                <a:ext cx="173" cy="27"/>
              </a:xfrm>
              <a:custGeom>
                <a:avLst/>
                <a:gdLst>
                  <a:gd name="T0" fmla="*/ 96 w 1214"/>
                  <a:gd name="T1" fmla="*/ 0 h 188"/>
                  <a:gd name="T2" fmla="*/ 102 w 1214"/>
                  <a:gd name="T3" fmla="*/ 0 h 188"/>
                  <a:gd name="T4" fmla="*/ 1130 w 1214"/>
                  <a:gd name="T5" fmla="*/ 0 h 188"/>
                  <a:gd name="T6" fmla="*/ 1153 w 1214"/>
                  <a:gd name="T7" fmla="*/ 3 h 188"/>
                  <a:gd name="T8" fmla="*/ 1173 w 1214"/>
                  <a:gd name="T9" fmla="*/ 13 h 188"/>
                  <a:gd name="T10" fmla="*/ 1190 w 1214"/>
                  <a:gd name="T11" fmla="*/ 27 h 188"/>
                  <a:gd name="T12" fmla="*/ 1203 w 1214"/>
                  <a:gd name="T13" fmla="*/ 46 h 188"/>
                  <a:gd name="T14" fmla="*/ 1211 w 1214"/>
                  <a:gd name="T15" fmla="*/ 69 h 188"/>
                  <a:gd name="T16" fmla="*/ 1214 w 1214"/>
                  <a:gd name="T17" fmla="*/ 94 h 188"/>
                  <a:gd name="T18" fmla="*/ 1211 w 1214"/>
                  <a:gd name="T19" fmla="*/ 120 h 188"/>
                  <a:gd name="T20" fmla="*/ 1203 w 1214"/>
                  <a:gd name="T21" fmla="*/ 141 h 188"/>
                  <a:gd name="T22" fmla="*/ 1190 w 1214"/>
                  <a:gd name="T23" fmla="*/ 160 h 188"/>
                  <a:gd name="T24" fmla="*/ 1173 w 1214"/>
                  <a:gd name="T25" fmla="*/ 174 h 188"/>
                  <a:gd name="T26" fmla="*/ 1153 w 1214"/>
                  <a:gd name="T27" fmla="*/ 184 h 188"/>
                  <a:gd name="T28" fmla="*/ 1130 w 1214"/>
                  <a:gd name="T29" fmla="*/ 188 h 188"/>
                  <a:gd name="T30" fmla="*/ 1130 w 1214"/>
                  <a:gd name="T31" fmla="*/ 188 h 188"/>
                  <a:gd name="T32" fmla="*/ 1129 w 1214"/>
                  <a:gd name="T33" fmla="*/ 188 h 188"/>
                  <a:gd name="T34" fmla="*/ 1129 w 1214"/>
                  <a:gd name="T35" fmla="*/ 188 h 188"/>
                  <a:gd name="T36" fmla="*/ 1127 w 1214"/>
                  <a:gd name="T37" fmla="*/ 188 h 188"/>
                  <a:gd name="T38" fmla="*/ 1124 w 1214"/>
                  <a:gd name="T39" fmla="*/ 188 h 188"/>
                  <a:gd name="T40" fmla="*/ 1118 w 1214"/>
                  <a:gd name="T41" fmla="*/ 188 h 188"/>
                  <a:gd name="T42" fmla="*/ 1111 w 1214"/>
                  <a:gd name="T43" fmla="*/ 188 h 188"/>
                  <a:gd name="T44" fmla="*/ 1091 w 1214"/>
                  <a:gd name="T45" fmla="*/ 188 h 188"/>
                  <a:gd name="T46" fmla="*/ 1076 w 1214"/>
                  <a:gd name="T47" fmla="*/ 188 h 188"/>
                  <a:gd name="T48" fmla="*/ 1059 w 1214"/>
                  <a:gd name="T49" fmla="*/ 188 h 188"/>
                  <a:gd name="T50" fmla="*/ 985 w 1214"/>
                  <a:gd name="T51" fmla="*/ 188 h 188"/>
                  <a:gd name="T52" fmla="*/ 951 w 1214"/>
                  <a:gd name="T53" fmla="*/ 188 h 188"/>
                  <a:gd name="T54" fmla="*/ 912 w 1214"/>
                  <a:gd name="T55" fmla="*/ 188 h 188"/>
                  <a:gd name="T56" fmla="*/ 869 w 1214"/>
                  <a:gd name="T57" fmla="*/ 188 h 188"/>
                  <a:gd name="T58" fmla="*/ 820 w 1214"/>
                  <a:gd name="T59" fmla="*/ 188 h 188"/>
                  <a:gd name="T60" fmla="*/ 705 w 1214"/>
                  <a:gd name="T61" fmla="*/ 188 h 188"/>
                  <a:gd name="T62" fmla="*/ 638 w 1214"/>
                  <a:gd name="T63" fmla="*/ 188 h 188"/>
                  <a:gd name="T64" fmla="*/ 564 w 1214"/>
                  <a:gd name="T65" fmla="*/ 188 h 188"/>
                  <a:gd name="T66" fmla="*/ 483 w 1214"/>
                  <a:gd name="T67" fmla="*/ 188 h 188"/>
                  <a:gd name="T68" fmla="*/ 396 w 1214"/>
                  <a:gd name="T69" fmla="*/ 188 h 188"/>
                  <a:gd name="T70" fmla="*/ 85 w 1214"/>
                  <a:gd name="T71" fmla="*/ 188 h 188"/>
                  <a:gd name="T72" fmla="*/ 66 w 1214"/>
                  <a:gd name="T73" fmla="*/ 185 h 188"/>
                  <a:gd name="T74" fmla="*/ 49 w 1214"/>
                  <a:gd name="T75" fmla="*/ 178 h 188"/>
                  <a:gd name="T76" fmla="*/ 32 w 1214"/>
                  <a:gd name="T77" fmla="*/ 167 h 188"/>
                  <a:gd name="T78" fmla="*/ 19 w 1214"/>
                  <a:gd name="T79" fmla="*/ 152 h 188"/>
                  <a:gd name="T80" fmla="*/ 9 w 1214"/>
                  <a:gd name="T81" fmla="*/ 136 h 188"/>
                  <a:gd name="T82" fmla="*/ 2 w 1214"/>
                  <a:gd name="T83" fmla="*/ 115 h 188"/>
                  <a:gd name="T84" fmla="*/ 0 w 1214"/>
                  <a:gd name="T85" fmla="*/ 94 h 188"/>
                  <a:gd name="T86" fmla="*/ 2 w 1214"/>
                  <a:gd name="T87" fmla="*/ 72 h 188"/>
                  <a:gd name="T88" fmla="*/ 9 w 1214"/>
                  <a:gd name="T89" fmla="*/ 53 h 188"/>
                  <a:gd name="T90" fmla="*/ 19 w 1214"/>
                  <a:gd name="T91" fmla="*/ 35 h 188"/>
                  <a:gd name="T92" fmla="*/ 32 w 1214"/>
                  <a:gd name="T93" fmla="*/ 21 h 188"/>
                  <a:gd name="T94" fmla="*/ 49 w 1214"/>
                  <a:gd name="T95" fmla="*/ 10 h 188"/>
                  <a:gd name="T96" fmla="*/ 66 w 1214"/>
                  <a:gd name="T97" fmla="*/ 3 h 188"/>
                  <a:gd name="T98" fmla="*/ 85 w 1214"/>
                  <a:gd name="T99" fmla="*/ 0 h 188"/>
                  <a:gd name="T100" fmla="*/ 91 w 1214"/>
                  <a:gd name="T101" fmla="*/ 0 h 188"/>
                  <a:gd name="T102" fmla="*/ 96 w 1214"/>
                  <a:gd name="T103"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4" h="188">
                    <a:moveTo>
                      <a:pt x="96" y="0"/>
                    </a:moveTo>
                    <a:lnTo>
                      <a:pt x="102" y="0"/>
                    </a:lnTo>
                    <a:lnTo>
                      <a:pt x="1130" y="0"/>
                    </a:lnTo>
                    <a:lnTo>
                      <a:pt x="1153" y="3"/>
                    </a:lnTo>
                    <a:lnTo>
                      <a:pt x="1173" y="13"/>
                    </a:lnTo>
                    <a:lnTo>
                      <a:pt x="1190" y="27"/>
                    </a:lnTo>
                    <a:lnTo>
                      <a:pt x="1203" y="46"/>
                    </a:lnTo>
                    <a:lnTo>
                      <a:pt x="1211" y="69"/>
                    </a:lnTo>
                    <a:lnTo>
                      <a:pt x="1214" y="94"/>
                    </a:lnTo>
                    <a:lnTo>
                      <a:pt x="1211" y="120"/>
                    </a:lnTo>
                    <a:lnTo>
                      <a:pt x="1203" y="141"/>
                    </a:lnTo>
                    <a:lnTo>
                      <a:pt x="1190" y="160"/>
                    </a:lnTo>
                    <a:lnTo>
                      <a:pt x="1173" y="174"/>
                    </a:lnTo>
                    <a:lnTo>
                      <a:pt x="1153" y="184"/>
                    </a:lnTo>
                    <a:lnTo>
                      <a:pt x="1130" y="188"/>
                    </a:lnTo>
                    <a:lnTo>
                      <a:pt x="1130" y="188"/>
                    </a:lnTo>
                    <a:lnTo>
                      <a:pt x="1129" y="188"/>
                    </a:lnTo>
                    <a:lnTo>
                      <a:pt x="1129" y="188"/>
                    </a:lnTo>
                    <a:lnTo>
                      <a:pt x="1127" y="188"/>
                    </a:lnTo>
                    <a:lnTo>
                      <a:pt x="1124" y="188"/>
                    </a:lnTo>
                    <a:lnTo>
                      <a:pt x="1118" y="188"/>
                    </a:lnTo>
                    <a:lnTo>
                      <a:pt x="1111" y="188"/>
                    </a:lnTo>
                    <a:lnTo>
                      <a:pt x="1091" y="188"/>
                    </a:lnTo>
                    <a:lnTo>
                      <a:pt x="1076" y="188"/>
                    </a:lnTo>
                    <a:lnTo>
                      <a:pt x="1059" y="188"/>
                    </a:lnTo>
                    <a:lnTo>
                      <a:pt x="985" y="188"/>
                    </a:lnTo>
                    <a:lnTo>
                      <a:pt x="951" y="188"/>
                    </a:lnTo>
                    <a:lnTo>
                      <a:pt x="912" y="188"/>
                    </a:lnTo>
                    <a:lnTo>
                      <a:pt x="869" y="188"/>
                    </a:lnTo>
                    <a:lnTo>
                      <a:pt x="820" y="188"/>
                    </a:lnTo>
                    <a:lnTo>
                      <a:pt x="705" y="188"/>
                    </a:lnTo>
                    <a:lnTo>
                      <a:pt x="638" y="188"/>
                    </a:lnTo>
                    <a:lnTo>
                      <a:pt x="564" y="188"/>
                    </a:lnTo>
                    <a:lnTo>
                      <a:pt x="483" y="188"/>
                    </a:lnTo>
                    <a:lnTo>
                      <a:pt x="396" y="188"/>
                    </a:lnTo>
                    <a:lnTo>
                      <a:pt x="85" y="188"/>
                    </a:lnTo>
                    <a:lnTo>
                      <a:pt x="66" y="185"/>
                    </a:lnTo>
                    <a:lnTo>
                      <a:pt x="49" y="178"/>
                    </a:lnTo>
                    <a:lnTo>
                      <a:pt x="32" y="167"/>
                    </a:lnTo>
                    <a:lnTo>
                      <a:pt x="19" y="152"/>
                    </a:lnTo>
                    <a:lnTo>
                      <a:pt x="9" y="136"/>
                    </a:lnTo>
                    <a:lnTo>
                      <a:pt x="2" y="115"/>
                    </a:lnTo>
                    <a:lnTo>
                      <a:pt x="0" y="94"/>
                    </a:lnTo>
                    <a:lnTo>
                      <a:pt x="2" y="72"/>
                    </a:lnTo>
                    <a:lnTo>
                      <a:pt x="9" y="53"/>
                    </a:lnTo>
                    <a:lnTo>
                      <a:pt x="19" y="35"/>
                    </a:lnTo>
                    <a:lnTo>
                      <a:pt x="32" y="21"/>
                    </a:lnTo>
                    <a:lnTo>
                      <a:pt x="49" y="10"/>
                    </a:lnTo>
                    <a:lnTo>
                      <a:pt x="66" y="3"/>
                    </a:lnTo>
                    <a:lnTo>
                      <a:pt x="85" y="0"/>
                    </a:lnTo>
                    <a:lnTo>
                      <a:pt x="91" y="0"/>
                    </a:lnTo>
                    <a:lnTo>
                      <a:pt x="96"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224" name="Freeform 26"/>
              <p:cNvSpPr>
                <a:spLocks/>
              </p:cNvSpPr>
              <p:nvPr/>
            </p:nvSpPr>
            <p:spPr bwMode="auto">
              <a:xfrm>
                <a:off x="6420" y="1288"/>
                <a:ext cx="173" cy="26"/>
              </a:xfrm>
              <a:custGeom>
                <a:avLst/>
                <a:gdLst>
                  <a:gd name="T0" fmla="*/ 85 w 1214"/>
                  <a:gd name="T1" fmla="*/ 0 h 178"/>
                  <a:gd name="T2" fmla="*/ 85 w 1214"/>
                  <a:gd name="T3" fmla="*/ 0 h 178"/>
                  <a:gd name="T4" fmla="*/ 86 w 1214"/>
                  <a:gd name="T5" fmla="*/ 0 h 178"/>
                  <a:gd name="T6" fmla="*/ 88 w 1214"/>
                  <a:gd name="T7" fmla="*/ 0 h 178"/>
                  <a:gd name="T8" fmla="*/ 91 w 1214"/>
                  <a:gd name="T9" fmla="*/ 0 h 178"/>
                  <a:gd name="T10" fmla="*/ 96 w 1214"/>
                  <a:gd name="T11" fmla="*/ 0 h 178"/>
                  <a:gd name="T12" fmla="*/ 102 w 1214"/>
                  <a:gd name="T13" fmla="*/ 0 h 178"/>
                  <a:gd name="T14" fmla="*/ 123 w 1214"/>
                  <a:gd name="T15" fmla="*/ 0 h 178"/>
                  <a:gd name="T16" fmla="*/ 137 w 1214"/>
                  <a:gd name="T17" fmla="*/ 0 h 178"/>
                  <a:gd name="T18" fmla="*/ 155 w 1214"/>
                  <a:gd name="T19" fmla="*/ 0 h 178"/>
                  <a:gd name="T20" fmla="*/ 230 w 1214"/>
                  <a:gd name="T21" fmla="*/ 0 h 178"/>
                  <a:gd name="T22" fmla="*/ 263 w 1214"/>
                  <a:gd name="T23" fmla="*/ 0 h 178"/>
                  <a:gd name="T24" fmla="*/ 302 w 1214"/>
                  <a:gd name="T25" fmla="*/ 0 h 178"/>
                  <a:gd name="T26" fmla="*/ 345 w 1214"/>
                  <a:gd name="T27" fmla="*/ 0 h 178"/>
                  <a:gd name="T28" fmla="*/ 395 w 1214"/>
                  <a:gd name="T29" fmla="*/ 0 h 178"/>
                  <a:gd name="T30" fmla="*/ 449 w 1214"/>
                  <a:gd name="T31" fmla="*/ 0 h 178"/>
                  <a:gd name="T32" fmla="*/ 510 w 1214"/>
                  <a:gd name="T33" fmla="*/ 0 h 178"/>
                  <a:gd name="T34" fmla="*/ 576 w 1214"/>
                  <a:gd name="T35" fmla="*/ 0 h 178"/>
                  <a:gd name="T36" fmla="*/ 650 w 1214"/>
                  <a:gd name="T37" fmla="*/ 0 h 178"/>
                  <a:gd name="T38" fmla="*/ 731 w 1214"/>
                  <a:gd name="T39" fmla="*/ 0 h 178"/>
                  <a:gd name="T40" fmla="*/ 818 w 1214"/>
                  <a:gd name="T41" fmla="*/ 0 h 178"/>
                  <a:gd name="T42" fmla="*/ 914 w 1214"/>
                  <a:gd name="T43" fmla="*/ 0 h 178"/>
                  <a:gd name="T44" fmla="*/ 1018 w 1214"/>
                  <a:gd name="T45" fmla="*/ 0 h 178"/>
                  <a:gd name="T46" fmla="*/ 1130 w 1214"/>
                  <a:gd name="T47" fmla="*/ 0 h 178"/>
                  <a:gd name="T48" fmla="*/ 1150 w 1214"/>
                  <a:gd name="T49" fmla="*/ 2 h 178"/>
                  <a:gd name="T50" fmla="*/ 1167 w 1214"/>
                  <a:gd name="T51" fmla="*/ 10 h 178"/>
                  <a:gd name="T52" fmla="*/ 1184 w 1214"/>
                  <a:gd name="T53" fmla="*/ 20 h 178"/>
                  <a:gd name="T54" fmla="*/ 1196 w 1214"/>
                  <a:gd name="T55" fmla="*/ 34 h 178"/>
                  <a:gd name="T56" fmla="*/ 1206 w 1214"/>
                  <a:gd name="T57" fmla="*/ 51 h 178"/>
                  <a:gd name="T58" fmla="*/ 1212 w 1214"/>
                  <a:gd name="T59" fmla="*/ 69 h 178"/>
                  <a:gd name="T60" fmla="*/ 1214 w 1214"/>
                  <a:gd name="T61" fmla="*/ 89 h 178"/>
                  <a:gd name="T62" fmla="*/ 1211 w 1214"/>
                  <a:gd name="T63" fmla="*/ 113 h 178"/>
                  <a:gd name="T64" fmla="*/ 1203 w 1214"/>
                  <a:gd name="T65" fmla="*/ 134 h 178"/>
                  <a:gd name="T66" fmla="*/ 1190 w 1214"/>
                  <a:gd name="T67" fmla="*/ 153 h 178"/>
                  <a:gd name="T68" fmla="*/ 1173 w 1214"/>
                  <a:gd name="T69" fmla="*/ 166 h 178"/>
                  <a:gd name="T70" fmla="*/ 1153 w 1214"/>
                  <a:gd name="T71" fmla="*/ 175 h 178"/>
                  <a:gd name="T72" fmla="*/ 1130 w 1214"/>
                  <a:gd name="T73" fmla="*/ 178 h 178"/>
                  <a:gd name="T74" fmla="*/ 1124 w 1214"/>
                  <a:gd name="T75" fmla="*/ 178 h 178"/>
                  <a:gd name="T76" fmla="*/ 1118 w 1214"/>
                  <a:gd name="T77" fmla="*/ 178 h 178"/>
                  <a:gd name="T78" fmla="*/ 1111 w 1214"/>
                  <a:gd name="T79" fmla="*/ 178 h 178"/>
                  <a:gd name="T80" fmla="*/ 85 w 1214"/>
                  <a:gd name="T81" fmla="*/ 178 h 178"/>
                  <a:gd name="T82" fmla="*/ 63 w 1214"/>
                  <a:gd name="T83" fmla="*/ 175 h 178"/>
                  <a:gd name="T84" fmla="*/ 43 w 1214"/>
                  <a:gd name="T85" fmla="*/ 166 h 178"/>
                  <a:gd name="T86" fmla="*/ 26 w 1214"/>
                  <a:gd name="T87" fmla="*/ 153 h 178"/>
                  <a:gd name="T88" fmla="*/ 12 w 1214"/>
                  <a:gd name="T89" fmla="*/ 134 h 178"/>
                  <a:gd name="T90" fmla="*/ 3 w 1214"/>
                  <a:gd name="T91" fmla="*/ 113 h 178"/>
                  <a:gd name="T92" fmla="*/ 0 w 1214"/>
                  <a:gd name="T93" fmla="*/ 89 h 178"/>
                  <a:gd name="T94" fmla="*/ 3 w 1214"/>
                  <a:gd name="T95" fmla="*/ 66 h 178"/>
                  <a:gd name="T96" fmla="*/ 12 w 1214"/>
                  <a:gd name="T97" fmla="*/ 45 h 178"/>
                  <a:gd name="T98" fmla="*/ 26 w 1214"/>
                  <a:gd name="T99" fmla="*/ 28 h 178"/>
                  <a:gd name="T100" fmla="*/ 43 w 1214"/>
                  <a:gd name="T101" fmla="*/ 12 h 178"/>
                  <a:gd name="T102" fmla="*/ 63 w 1214"/>
                  <a:gd name="T103" fmla="*/ 4 h 178"/>
                  <a:gd name="T104" fmla="*/ 85 w 1214"/>
                  <a:gd name="T105" fmla="*/ 0 h 178"/>
                  <a:gd name="T106" fmla="*/ 85 w 1214"/>
                  <a:gd name="T10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4" h="178">
                    <a:moveTo>
                      <a:pt x="85" y="0"/>
                    </a:moveTo>
                    <a:lnTo>
                      <a:pt x="85" y="0"/>
                    </a:lnTo>
                    <a:lnTo>
                      <a:pt x="86" y="0"/>
                    </a:lnTo>
                    <a:lnTo>
                      <a:pt x="88" y="0"/>
                    </a:lnTo>
                    <a:lnTo>
                      <a:pt x="91" y="0"/>
                    </a:lnTo>
                    <a:lnTo>
                      <a:pt x="96" y="0"/>
                    </a:lnTo>
                    <a:lnTo>
                      <a:pt x="102" y="0"/>
                    </a:lnTo>
                    <a:lnTo>
                      <a:pt x="123" y="0"/>
                    </a:lnTo>
                    <a:lnTo>
                      <a:pt x="137" y="0"/>
                    </a:lnTo>
                    <a:lnTo>
                      <a:pt x="155" y="0"/>
                    </a:lnTo>
                    <a:lnTo>
                      <a:pt x="230" y="0"/>
                    </a:lnTo>
                    <a:lnTo>
                      <a:pt x="263" y="0"/>
                    </a:lnTo>
                    <a:lnTo>
                      <a:pt x="302" y="0"/>
                    </a:lnTo>
                    <a:lnTo>
                      <a:pt x="345" y="0"/>
                    </a:lnTo>
                    <a:lnTo>
                      <a:pt x="395" y="0"/>
                    </a:lnTo>
                    <a:lnTo>
                      <a:pt x="449" y="0"/>
                    </a:lnTo>
                    <a:lnTo>
                      <a:pt x="510" y="0"/>
                    </a:lnTo>
                    <a:lnTo>
                      <a:pt x="576" y="0"/>
                    </a:lnTo>
                    <a:lnTo>
                      <a:pt x="650" y="0"/>
                    </a:lnTo>
                    <a:lnTo>
                      <a:pt x="731" y="0"/>
                    </a:lnTo>
                    <a:lnTo>
                      <a:pt x="818" y="0"/>
                    </a:lnTo>
                    <a:lnTo>
                      <a:pt x="914" y="0"/>
                    </a:lnTo>
                    <a:lnTo>
                      <a:pt x="1018" y="0"/>
                    </a:lnTo>
                    <a:lnTo>
                      <a:pt x="1130" y="0"/>
                    </a:lnTo>
                    <a:lnTo>
                      <a:pt x="1150" y="2"/>
                    </a:lnTo>
                    <a:lnTo>
                      <a:pt x="1167" y="10"/>
                    </a:lnTo>
                    <a:lnTo>
                      <a:pt x="1184" y="20"/>
                    </a:lnTo>
                    <a:lnTo>
                      <a:pt x="1196" y="34"/>
                    </a:lnTo>
                    <a:lnTo>
                      <a:pt x="1206" y="51"/>
                    </a:lnTo>
                    <a:lnTo>
                      <a:pt x="1212" y="69"/>
                    </a:lnTo>
                    <a:lnTo>
                      <a:pt x="1214" y="89"/>
                    </a:lnTo>
                    <a:lnTo>
                      <a:pt x="1211" y="113"/>
                    </a:lnTo>
                    <a:lnTo>
                      <a:pt x="1203" y="134"/>
                    </a:lnTo>
                    <a:lnTo>
                      <a:pt x="1190" y="153"/>
                    </a:lnTo>
                    <a:lnTo>
                      <a:pt x="1173" y="166"/>
                    </a:lnTo>
                    <a:lnTo>
                      <a:pt x="1153" y="175"/>
                    </a:lnTo>
                    <a:lnTo>
                      <a:pt x="1130" y="178"/>
                    </a:lnTo>
                    <a:lnTo>
                      <a:pt x="1124" y="178"/>
                    </a:lnTo>
                    <a:lnTo>
                      <a:pt x="1118" y="178"/>
                    </a:lnTo>
                    <a:lnTo>
                      <a:pt x="1111" y="178"/>
                    </a:lnTo>
                    <a:lnTo>
                      <a:pt x="85" y="178"/>
                    </a:lnTo>
                    <a:lnTo>
                      <a:pt x="63" y="175"/>
                    </a:lnTo>
                    <a:lnTo>
                      <a:pt x="43" y="166"/>
                    </a:lnTo>
                    <a:lnTo>
                      <a:pt x="26" y="153"/>
                    </a:lnTo>
                    <a:lnTo>
                      <a:pt x="12" y="134"/>
                    </a:lnTo>
                    <a:lnTo>
                      <a:pt x="3" y="113"/>
                    </a:lnTo>
                    <a:lnTo>
                      <a:pt x="0" y="89"/>
                    </a:lnTo>
                    <a:lnTo>
                      <a:pt x="3" y="66"/>
                    </a:lnTo>
                    <a:lnTo>
                      <a:pt x="12" y="45"/>
                    </a:lnTo>
                    <a:lnTo>
                      <a:pt x="26" y="28"/>
                    </a:lnTo>
                    <a:lnTo>
                      <a:pt x="43" y="12"/>
                    </a:lnTo>
                    <a:lnTo>
                      <a:pt x="63" y="4"/>
                    </a:lnTo>
                    <a:lnTo>
                      <a:pt x="85" y="0"/>
                    </a:lnTo>
                    <a:lnTo>
                      <a:pt x="85" y="0"/>
                    </a:lnTo>
                    <a:close/>
                  </a:path>
                </a:pathLst>
              </a:custGeom>
              <a:grp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grpSp>
        <p:nvGrpSpPr>
          <p:cNvPr id="7" name="Group 6"/>
          <p:cNvGrpSpPr/>
          <p:nvPr/>
        </p:nvGrpSpPr>
        <p:grpSpPr>
          <a:xfrm>
            <a:off x="2409335" y="1581865"/>
            <a:ext cx="1887597" cy="2747407"/>
            <a:chOff x="6023525" y="-762156"/>
            <a:chExt cx="1887864" cy="2747797"/>
          </a:xfrm>
        </p:grpSpPr>
        <p:grpSp>
          <p:nvGrpSpPr>
            <p:cNvPr id="73" name="Group 72"/>
            <p:cNvGrpSpPr/>
            <p:nvPr/>
          </p:nvGrpSpPr>
          <p:grpSpPr>
            <a:xfrm>
              <a:off x="6023525" y="-762156"/>
              <a:ext cx="1887864" cy="2747797"/>
              <a:chOff x="2412779" y="1580816"/>
              <a:chExt cx="1887864" cy="2747797"/>
            </a:xfrm>
          </p:grpSpPr>
          <p:sp>
            <p:nvSpPr>
              <p:cNvPr id="77" name="Text Placeholder 12"/>
              <p:cNvSpPr txBox="1">
                <a:spLocks/>
              </p:cNvSpPr>
              <p:nvPr/>
            </p:nvSpPr>
            <p:spPr>
              <a:xfrm>
                <a:off x="2893275" y="3924106"/>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Devices</a:t>
                </a:r>
              </a:p>
            </p:txBody>
          </p:sp>
          <p:sp>
            <p:nvSpPr>
              <p:cNvPr id="78" name="Rectangle 77"/>
              <p:cNvSpPr/>
              <p:nvPr/>
            </p:nvSpPr>
            <p:spPr bwMode="auto">
              <a:xfrm>
                <a:off x="2412779"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solidFill>
                    <a:srgbClr val="FFFFFF"/>
                  </a:solidFill>
                </a:endParaRPr>
              </a:p>
            </p:txBody>
          </p:sp>
          <p:grpSp>
            <p:nvGrpSpPr>
              <p:cNvPr id="79" name="Group 78"/>
              <p:cNvGrpSpPr/>
              <p:nvPr/>
            </p:nvGrpSpPr>
            <p:grpSpPr>
              <a:xfrm>
                <a:off x="2694451" y="1679521"/>
                <a:ext cx="1333710" cy="2172759"/>
                <a:chOff x="3632038" y="1206859"/>
                <a:chExt cx="1847223" cy="3009323"/>
              </a:xfrm>
            </p:grpSpPr>
            <p:sp>
              <p:nvSpPr>
                <p:cNvPr id="86" name="Freeform 24"/>
                <p:cNvSpPr>
                  <a:spLocks/>
                </p:cNvSpPr>
                <p:nvPr/>
              </p:nvSpPr>
              <p:spPr bwMode="auto">
                <a:xfrm>
                  <a:off x="3632038" y="2956925"/>
                  <a:ext cx="15888" cy="28910"/>
                </a:xfrm>
                <a:custGeom>
                  <a:avLst/>
                  <a:gdLst>
                    <a:gd name="T0" fmla="*/ 0 w 13"/>
                    <a:gd name="T1" fmla="*/ 0 h 23"/>
                    <a:gd name="T2" fmla="*/ 1 w 13"/>
                    <a:gd name="T3" fmla="*/ 7 h 23"/>
                    <a:gd name="T4" fmla="*/ 3 w 13"/>
                    <a:gd name="T5" fmla="*/ 14 h 23"/>
                    <a:gd name="T6" fmla="*/ 7 w 13"/>
                    <a:gd name="T7" fmla="*/ 20 h 23"/>
                    <a:gd name="T8" fmla="*/ 13 w 13"/>
                    <a:gd name="T9" fmla="*/ 23 h 23"/>
                    <a:gd name="T10" fmla="*/ 7 w 13"/>
                    <a:gd name="T11" fmla="*/ 20 h 23"/>
                    <a:gd name="T12" fmla="*/ 3 w 13"/>
                    <a:gd name="T13" fmla="*/ 14 h 23"/>
                    <a:gd name="T14" fmla="*/ 1 w 13"/>
                    <a:gd name="T15" fmla="*/ 7 h 23"/>
                    <a:gd name="T16" fmla="*/ 0 w 13"/>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3">
                      <a:moveTo>
                        <a:pt x="0" y="0"/>
                      </a:moveTo>
                      <a:cubicBezTo>
                        <a:pt x="0" y="2"/>
                        <a:pt x="0" y="5"/>
                        <a:pt x="1" y="7"/>
                      </a:cubicBezTo>
                      <a:cubicBezTo>
                        <a:pt x="1" y="10"/>
                        <a:pt x="2" y="12"/>
                        <a:pt x="3" y="14"/>
                      </a:cubicBezTo>
                      <a:cubicBezTo>
                        <a:pt x="4" y="16"/>
                        <a:pt x="6" y="18"/>
                        <a:pt x="7" y="20"/>
                      </a:cubicBezTo>
                      <a:cubicBezTo>
                        <a:pt x="9" y="21"/>
                        <a:pt x="11" y="22"/>
                        <a:pt x="13" y="23"/>
                      </a:cubicBezTo>
                      <a:cubicBezTo>
                        <a:pt x="11" y="22"/>
                        <a:pt x="9" y="21"/>
                        <a:pt x="7" y="20"/>
                      </a:cubicBezTo>
                      <a:cubicBezTo>
                        <a:pt x="6" y="18"/>
                        <a:pt x="4" y="16"/>
                        <a:pt x="3" y="14"/>
                      </a:cubicBezTo>
                      <a:cubicBezTo>
                        <a:pt x="2" y="12"/>
                        <a:pt x="1" y="10"/>
                        <a:pt x="1" y="7"/>
                      </a:cubicBezTo>
                      <a:cubicBezTo>
                        <a:pt x="0" y="5"/>
                        <a:pt x="0" y="2"/>
                        <a:pt x="0"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7" name="Freeform 25"/>
                <p:cNvSpPr>
                  <a:spLocks/>
                </p:cNvSpPr>
                <p:nvPr/>
              </p:nvSpPr>
              <p:spPr bwMode="auto">
                <a:xfrm>
                  <a:off x="3679701" y="2465467"/>
                  <a:ext cx="21845" cy="22715"/>
                </a:xfrm>
                <a:custGeom>
                  <a:avLst/>
                  <a:gdLst>
                    <a:gd name="T0" fmla="*/ 0 w 18"/>
                    <a:gd name="T1" fmla="*/ 19 h 19"/>
                    <a:gd name="T2" fmla="*/ 2 w 18"/>
                    <a:gd name="T3" fmla="*/ 12 h 19"/>
                    <a:gd name="T4" fmla="*/ 6 w 18"/>
                    <a:gd name="T5" fmla="*/ 6 h 19"/>
                    <a:gd name="T6" fmla="*/ 11 w 18"/>
                    <a:gd name="T7" fmla="*/ 1 h 19"/>
                    <a:gd name="T8" fmla="*/ 18 w 18"/>
                    <a:gd name="T9" fmla="*/ 0 h 19"/>
                    <a:gd name="T10" fmla="*/ 11 w 18"/>
                    <a:gd name="T11" fmla="*/ 1 h 19"/>
                    <a:gd name="T12" fmla="*/ 6 w 18"/>
                    <a:gd name="T13" fmla="*/ 6 h 19"/>
                    <a:gd name="T14" fmla="*/ 2 w 18"/>
                    <a:gd name="T15" fmla="*/ 12 h 19"/>
                    <a:gd name="T16" fmla="*/ 0 w 18"/>
                    <a:gd name="T1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0" y="19"/>
                      </a:moveTo>
                      <a:cubicBezTo>
                        <a:pt x="0" y="17"/>
                        <a:pt x="1" y="14"/>
                        <a:pt x="2" y="12"/>
                      </a:cubicBezTo>
                      <a:cubicBezTo>
                        <a:pt x="3" y="9"/>
                        <a:pt x="4" y="7"/>
                        <a:pt x="6" y="6"/>
                      </a:cubicBezTo>
                      <a:cubicBezTo>
                        <a:pt x="8" y="4"/>
                        <a:pt x="9" y="2"/>
                        <a:pt x="11" y="1"/>
                      </a:cubicBezTo>
                      <a:cubicBezTo>
                        <a:pt x="13" y="1"/>
                        <a:pt x="15" y="0"/>
                        <a:pt x="18" y="0"/>
                      </a:cubicBezTo>
                      <a:cubicBezTo>
                        <a:pt x="15" y="0"/>
                        <a:pt x="13" y="1"/>
                        <a:pt x="11" y="1"/>
                      </a:cubicBezTo>
                      <a:cubicBezTo>
                        <a:pt x="9" y="2"/>
                        <a:pt x="8" y="4"/>
                        <a:pt x="6" y="6"/>
                      </a:cubicBezTo>
                      <a:cubicBezTo>
                        <a:pt x="4" y="7"/>
                        <a:pt x="3" y="9"/>
                        <a:pt x="2" y="12"/>
                      </a:cubicBezTo>
                      <a:cubicBezTo>
                        <a:pt x="1" y="14"/>
                        <a:pt x="0" y="17"/>
                        <a:pt x="0" y="19"/>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sp>
              <p:nvSpPr>
                <p:cNvPr id="88" name="Freeform 26"/>
                <p:cNvSpPr>
                  <a:spLocks/>
                </p:cNvSpPr>
                <p:nvPr/>
              </p:nvSpPr>
              <p:spPr bwMode="auto">
                <a:xfrm>
                  <a:off x="3679701" y="2465467"/>
                  <a:ext cx="21845" cy="22715"/>
                </a:xfrm>
                <a:custGeom>
                  <a:avLst/>
                  <a:gdLst>
                    <a:gd name="T0" fmla="*/ 18 w 18"/>
                    <a:gd name="T1" fmla="*/ 0 h 19"/>
                    <a:gd name="T2" fmla="*/ 11 w 18"/>
                    <a:gd name="T3" fmla="*/ 1 h 19"/>
                    <a:gd name="T4" fmla="*/ 6 w 18"/>
                    <a:gd name="T5" fmla="*/ 6 h 19"/>
                    <a:gd name="T6" fmla="*/ 2 w 18"/>
                    <a:gd name="T7" fmla="*/ 12 h 19"/>
                    <a:gd name="T8" fmla="*/ 0 w 18"/>
                    <a:gd name="T9" fmla="*/ 19 h 19"/>
                    <a:gd name="T10" fmla="*/ 2 w 18"/>
                    <a:gd name="T11" fmla="*/ 12 h 19"/>
                    <a:gd name="T12" fmla="*/ 6 w 18"/>
                    <a:gd name="T13" fmla="*/ 6 h 19"/>
                    <a:gd name="T14" fmla="*/ 11 w 18"/>
                    <a:gd name="T15" fmla="*/ 1 h 19"/>
                    <a:gd name="T16" fmla="*/ 18 w 18"/>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8" y="0"/>
                      </a:moveTo>
                      <a:cubicBezTo>
                        <a:pt x="15" y="0"/>
                        <a:pt x="13" y="1"/>
                        <a:pt x="11" y="1"/>
                      </a:cubicBezTo>
                      <a:cubicBezTo>
                        <a:pt x="9" y="2"/>
                        <a:pt x="8" y="4"/>
                        <a:pt x="6" y="6"/>
                      </a:cubicBezTo>
                      <a:cubicBezTo>
                        <a:pt x="4" y="7"/>
                        <a:pt x="3" y="9"/>
                        <a:pt x="2" y="12"/>
                      </a:cubicBezTo>
                      <a:cubicBezTo>
                        <a:pt x="1" y="14"/>
                        <a:pt x="0" y="17"/>
                        <a:pt x="0" y="19"/>
                      </a:cubicBezTo>
                      <a:cubicBezTo>
                        <a:pt x="0" y="17"/>
                        <a:pt x="1" y="14"/>
                        <a:pt x="2" y="12"/>
                      </a:cubicBezTo>
                      <a:cubicBezTo>
                        <a:pt x="3" y="9"/>
                        <a:pt x="4" y="7"/>
                        <a:pt x="6" y="6"/>
                      </a:cubicBezTo>
                      <a:cubicBezTo>
                        <a:pt x="8" y="4"/>
                        <a:pt x="9" y="2"/>
                        <a:pt x="11" y="1"/>
                      </a:cubicBezTo>
                      <a:cubicBezTo>
                        <a:pt x="13" y="1"/>
                        <a:pt x="15" y="0"/>
                        <a:pt x="18" y="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dirty="0">
                    <a:solidFill>
                      <a:srgbClr val="FFFFFF"/>
                    </a:solidFill>
                  </a:endParaRPr>
                </a:p>
              </p:txBody>
            </p:sp>
            <p:pic>
              <p:nvPicPr>
                <p:cNvPr id="90" name="Pictur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3163" y="3354020"/>
                  <a:ext cx="1425064" cy="862162"/>
                </a:xfrm>
                <a:prstGeom prst="rect">
                  <a:avLst/>
                </a:prstGeom>
              </p:spPr>
            </p:pic>
            <p:pic>
              <p:nvPicPr>
                <p:cNvPr id="91" name="Picture 90"/>
                <p:cNvPicPr>
                  <a:picLocks noChangeAspect="1"/>
                </p:cNvPicPr>
                <p:nvPr/>
              </p:nvPicPr>
              <p:blipFill>
                <a:blip r:embed="rId5"/>
                <a:stretch>
                  <a:fillRect/>
                </a:stretch>
              </p:blipFill>
              <p:spPr>
                <a:xfrm>
                  <a:off x="4747377" y="2349925"/>
                  <a:ext cx="486254" cy="893448"/>
                </a:xfrm>
                <a:prstGeom prst="rect">
                  <a:avLst/>
                </a:prstGeom>
              </p:spPr>
            </p:pic>
            <p:pic>
              <p:nvPicPr>
                <p:cNvPr id="92" name="Picture 9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60463" y="1206859"/>
                  <a:ext cx="1118798" cy="1118796"/>
                </a:xfrm>
                <a:prstGeom prst="rect">
                  <a:avLst/>
                </a:prstGeom>
              </p:spPr>
            </p:pic>
            <p:pic>
              <p:nvPicPr>
                <p:cNvPr id="93" name="Picture 9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96065" y="1276346"/>
                  <a:ext cx="615526" cy="920222"/>
                </a:xfrm>
                <a:prstGeom prst="rect">
                  <a:avLst/>
                </a:prstGeom>
              </p:spPr>
            </p:pic>
          </p:grpSp>
        </p:grpSp>
        <p:pic>
          <p:nvPicPr>
            <p:cNvPr id="5" name="Picture 4"/>
            <p:cNvPicPr>
              <a:picLocks noChangeAspect="1"/>
            </p:cNvPicPr>
            <p:nvPr/>
          </p:nvPicPr>
          <p:blipFill>
            <a:blip r:embed="rId8"/>
            <a:stretch>
              <a:fillRect/>
            </a:stretch>
          </p:blipFill>
          <p:spPr>
            <a:xfrm>
              <a:off x="6213938" y="163009"/>
              <a:ext cx="767105" cy="657154"/>
            </a:xfrm>
            <a:prstGeom prst="rect">
              <a:avLst/>
            </a:prstGeom>
          </p:spPr>
        </p:pic>
      </p:grpSp>
      <p:grpSp>
        <p:nvGrpSpPr>
          <p:cNvPr id="84" name="Group 83"/>
          <p:cNvGrpSpPr/>
          <p:nvPr/>
        </p:nvGrpSpPr>
        <p:grpSpPr>
          <a:xfrm>
            <a:off x="4384878" y="1579084"/>
            <a:ext cx="1887597" cy="2747407"/>
            <a:chOff x="4384618" y="1578811"/>
            <a:chExt cx="1887864" cy="2747797"/>
          </a:xfrm>
        </p:grpSpPr>
        <p:grpSp>
          <p:nvGrpSpPr>
            <p:cNvPr id="85" name="Group 84"/>
            <p:cNvGrpSpPr/>
            <p:nvPr/>
          </p:nvGrpSpPr>
          <p:grpSpPr>
            <a:xfrm>
              <a:off x="4384618" y="1578811"/>
              <a:ext cx="1887864" cy="2747797"/>
              <a:chOff x="4373063" y="1580816"/>
              <a:chExt cx="1887864" cy="2747797"/>
            </a:xfrm>
          </p:grpSpPr>
          <p:sp>
            <p:nvSpPr>
              <p:cNvPr id="109" name="Text Placeholder 12"/>
              <p:cNvSpPr txBox="1">
                <a:spLocks/>
              </p:cNvSpPr>
              <p:nvPr/>
            </p:nvSpPr>
            <p:spPr>
              <a:xfrm>
                <a:off x="4853656" y="3885246"/>
                <a:ext cx="930174" cy="282553"/>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b="1" spc="0" dirty="0">
                    <a:solidFill>
                      <a:srgbClr val="FFFFFF"/>
                    </a:solidFill>
                    <a:latin typeface="Segoe UI"/>
                  </a:rPr>
                  <a:t>Apps</a:t>
                </a:r>
              </a:p>
            </p:txBody>
          </p:sp>
          <p:sp>
            <p:nvSpPr>
              <p:cNvPr id="110" name="Rectangle 109"/>
              <p:cNvSpPr/>
              <p:nvPr/>
            </p:nvSpPr>
            <p:spPr bwMode="auto">
              <a:xfrm>
                <a:off x="4373063" y="1580816"/>
                <a:ext cx="1887864" cy="2747797"/>
              </a:xfrm>
              <a:prstGeom prst="rect">
                <a:avLst/>
              </a:prstGeom>
              <a:noFill/>
              <a:ln>
                <a:solidFill>
                  <a:srgbClr val="FFFFFF"/>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32111" fontAlgn="base">
                  <a:lnSpc>
                    <a:spcPct val="90000"/>
                  </a:lnSpc>
                  <a:spcBef>
                    <a:spcPct val="0"/>
                  </a:spcBef>
                  <a:spcAft>
                    <a:spcPct val="0"/>
                  </a:spcAft>
                </a:pPr>
                <a:endParaRPr lang="en-US" sz="2040" spc="-51" dirty="0">
                  <a:gradFill>
                    <a:gsLst>
                      <a:gs pos="1250">
                        <a:srgbClr val="EFEFEF"/>
                      </a:gs>
                      <a:gs pos="10417">
                        <a:srgbClr val="EFEFEF"/>
                      </a:gs>
                    </a:gsLst>
                    <a:lin ang="5400000" scaled="0"/>
                  </a:gradFill>
                </a:endParaRPr>
              </a:p>
            </p:txBody>
          </p:sp>
          <p:grpSp>
            <p:nvGrpSpPr>
              <p:cNvPr id="111" name="Group 110"/>
              <p:cNvGrpSpPr/>
              <p:nvPr/>
            </p:nvGrpSpPr>
            <p:grpSpPr>
              <a:xfrm>
                <a:off x="4581414" y="1673767"/>
                <a:ext cx="1491445" cy="2236132"/>
                <a:chOff x="6649918" y="1518736"/>
                <a:chExt cx="1632914" cy="2448236"/>
              </a:xfrm>
            </p:grpSpPr>
            <p:sp>
              <p:nvSpPr>
                <p:cNvPr id="112" name="Freeform 341"/>
                <p:cNvSpPr>
                  <a:spLocks noChangeAspect="1"/>
                </p:cNvSpPr>
                <p:nvPr/>
              </p:nvSpPr>
              <p:spPr bwMode="auto">
                <a:xfrm>
                  <a:off x="6674302" y="3294492"/>
                  <a:ext cx="621245" cy="672480"/>
                </a:xfrm>
                <a:custGeom>
                  <a:avLst/>
                  <a:gdLst>
                    <a:gd name="T0" fmla="*/ 82 w 82"/>
                    <a:gd name="T1" fmla="*/ 42 h 89"/>
                    <a:gd name="T2" fmla="*/ 82 w 82"/>
                    <a:gd name="T3" fmla="*/ 26 h 89"/>
                    <a:gd name="T4" fmla="*/ 82 w 82"/>
                    <a:gd name="T5" fmla="*/ 14 h 89"/>
                    <a:gd name="T6" fmla="*/ 82 w 82"/>
                    <a:gd name="T7" fmla="*/ 12 h 89"/>
                    <a:gd name="T8" fmla="*/ 28 w 82"/>
                    <a:gd name="T9" fmla="*/ 0 h 89"/>
                    <a:gd name="T10" fmla="*/ 27 w 82"/>
                    <a:gd name="T11" fmla="*/ 43 h 89"/>
                    <a:gd name="T12" fmla="*/ 14 w 82"/>
                    <a:gd name="T13" fmla="*/ 73 h 89"/>
                    <a:gd name="T14" fmla="*/ 38 w 82"/>
                    <a:gd name="T15" fmla="*/ 58 h 89"/>
                    <a:gd name="T16" fmla="*/ 38 w 82"/>
                    <a:gd name="T17" fmla="*/ 33 h 89"/>
                    <a:gd name="T18" fmla="*/ 38 w 82"/>
                    <a:gd name="T19" fmla="*/ 13 h 89"/>
                    <a:gd name="T20" fmla="*/ 71 w 82"/>
                    <a:gd name="T21" fmla="*/ 20 h 89"/>
                    <a:gd name="T22" fmla="*/ 71 w 82"/>
                    <a:gd name="T23" fmla="*/ 55 h 89"/>
                    <a:gd name="T24" fmla="*/ 58 w 82"/>
                    <a:gd name="T25" fmla="*/ 84 h 89"/>
                    <a:gd name="T26" fmla="*/ 82 w 82"/>
                    <a:gd name="T27" fmla="*/ 69 h 89"/>
                    <a:gd name="T28" fmla="*/ 82 w 82"/>
                    <a:gd name="T29" fmla="*/ 45 h 89"/>
                    <a:gd name="T30" fmla="*/ 82 w 82"/>
                    <a:gd name="T31" fmla="*/ 4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89">
                      <a:moveTo>
                        <a:pt x="82" y="42"/>
                      </a:moveTo>
                      <a:cubicBezTo>
                        <a:pt x="82" y="26"/>
                        <a:pt x="82" y="26"/>
                        <a:pt x="82" y="26"/>
                      </a:cubicBezTo>
                      <a:cubicBezTo>
                        <a:pt x="82" y="14"/>
                        <a:pt x="82" y="14"/>
                        <a:pt x="82" y="14"/>
                      </a:cubicBezTo>
                      <a:cubicBezTo>
                        <a:pt x="82" y="12"/>
                        <a:pt x="82" y="12"/>
                        <a:pt x="82" y="12"/>
                      </a:cubicBezTo>
                      <a:cubicBezTo>
                        <a:pt x="28" y="0"/>
                        <a:pt x="28" y="0"/>
                        <a:pt x="28" y="0"/>
                      </a:cubicBezTo>
                      <a:cubicBezTo>
                        <a:pt x="27" y="43"/>
                        <a:pt x="27" y="43"/>
                        <a:pt x="27" y="43"/>
                      </a:cubicBezTo>
                      <a:cubicBezTo>
                        <a:pt x="4" y="43"/>
                        <a:pt x="0" y="66"/>
                        <a:pt x="14" y="73"/>
                      </a:cubicBezTo>
                      <a:cubicBezTo>
                        <a:pt x="24" y="77"/>
                        <a:pt x="38" y="71"/>
                        <a:pt x="38" y="58"/>
                      </a:cubicBezTo>
                      <a:cubicBezTo>
                        <a:pt x="38" y="33"/>
                        <a:pt x="38" y="33"/>
                        <a:pt x="38" y="33"/>
                      </a:cubicBezTo>
                      <a:cubicBezTo>
                        <a:pt x="38" y="13"/>
                        <a:pt x="38" y="13"/>
                        <a:pt x="38" y="13"/>
                      </a:cubicBezTo>
                      <a:cubicBezTo>
                        <a:pt x="71" y="20"/>
                        <a:pt x="71" y="20"/>
                        <a:pt x="71" y="20"/>
                      </a:cubicBezTo>
                      <a:cubicBezTo>
                        <a:pt x="71" y="55"/>
                        <a:pt x="71" y="55"/>
                        <a:pt x="71" y="55"/>
                      </a:cubicBezTo>
                      <a:cubicBezTo>
                        <a:pt x="48" y="55"/>
                        <a:pt x="43" y="77"/>
                        <a:pt x="58" y="84"/>
                      </a:cubicBezTo>
                      <a:cubicBezTo>
                        <a:pt x="67" y="89"/>
                        <a:pt x="82" y="83"/>
                        <a:pt x="82" y="69"/>
                      </a:cubicBezTo>
                      <a:cubicBezTo>
                        <a:pt x="82" y="45"/>
                        <a:pt x="82" y="45"/>
                        <a:pt x="82" y="45"/>
                      </a:cubicBezTo>
                      <a:cubicBezTo>
                        <a:pt x="82" y="42"/>
                        <a:pt x="82" y="42"/>
                        <a:pt x="82" y="42"/>
                      </a:cubicBez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3" name="Freeform 18"/>
                <p:cNvSpPr>
                  <a:spLocks noChangeAspect="1" noEditPoints="1"/>
                </p:cNvSpPr>
                <p:nvPr/>
              </p:nvSpPr>
              <p:spPr bwMode="auto">
                <a:xfrm>
                  <a:off x="6649918" y="1659799"/>
                  <a:ext cx="799613" cy="450883"/>
                </a:xfrm>
                <a:custGeom>
                  <a:avLst/>
                  <a:gdLst>
                    <a:gd name="T0" fmla="*/ 364 w 780"/>
                    <a:gd name="T1" fmla="*/ 241 h 440"/>
                    <a:gd name="T2" fmla="*/ 5 w 780"/>
                    <a:gd name="T3" fmla="*/ 27 h 440"/>
                    <a:gd name="T4" fmla="*/ 48 w 780"/>
                    <a:gd name="T5" fmla="*/ 0 h 440"/>
                    <a:gd name="T6" fmla="*/ 732 w 780"/>
                    <a:gd name="T7" fmla="*/ 0 h 440"/>
                    <a:gd name="T8" fmla="*/ 775 w 780"/>
                    <a:gd name="T9" fmla="*/ 27 h 440"/>
                    <a:gd name="T10" fmla="*/ 416 w 780"/>
                    <a:gd name="T11" fmla="*/ 240 h 440"/>
                    <a:gd name="T12" fmla="*/ 416 w 780"/>
                    <a:gd name="T13" fmla="*/ 241 h 440"/>
                    <a:gd name="T14" fmla="*/ 390 w 780"/>
                    <a:gd name="T15" fmla="*/ 247 h 440"/>
                    <a:gd name="T16" fmla="*/ 364 w 780"/>
                    <a:gd name="T17" fmla="*/ 241 h 440"/>
                    <a:gd name="T18" fmla="*/ 780 w 780"/>
                    <a:gd name="T19" fmla="*/ 324 h 440"/>
                    <a:gd name="T20" fmla="*/ 780 w 780"/>
                    <a:gd name="T21" fmla="*/ 66 h 440"/>
                    <a:gd name="T22" fmla="*/ 563 w 780"/>
                    <a:gd name="T23" fmla="*/ 195 h 440"/>
                    <a:gd name="T24" fmla="*/ 780 w 780"/>
                    <a:gd name="T25" fmla="*/ 324 h 440"/>
                    <a:gd name="T26" fmla="*/ 0 w 780"/>
                    <a:gd name="T27" fmla="*/ 392 h 440"/>
                    <a:gd name="T28" fmla="*/ 48 w 780"/>
                    <a:gd name="T29" fmla="*/ 440 h 440"/>
                    <a:gd name="T30" fmla="*/ 732 w 780"/>
                    <a:gd name="T31" fmla="*/ 440 h 440"/>
                    <a:gd name="T32" fmla="*/ 780 w 780"/>
                    <a:gd name="T33" fmla="*/ 392 h 440"/>
                    <a:gd name="T34" fmla="*/ 780 w 780"/>
                    <a:gd name="T35" fmla="*/ 366 h 440"/>
                    <a:gd name="T36" fmla="*/ 528 w 780"/>
                    <a:gd name="T37" fmla="*/ 216 h 440"/>
                    <a:gd name="T38" fmla="*/ 435 w 780"/>
                    <a:gd name="T39" fmla="*/ 271 h 440"/>
                    <a:gd name="T40" fmla="*/ 390 w 780"/>
                    <a:gd name="T41" fmla="*/ 283 h 440"/>
                    <a:gd name="T42" fmla="*/ 390 w 780"/>
                    <a:gd name="T43" fmla="*/ 283 h 440"/>
                    <a:gd name="T44" fmla="*/ 344 w 780"/>
                    <a:gd name="T45" fmla="*/ 271 h 440"/>
                    <a:gd name="T46" fmla="*/ 252 w 780"/>
                    <a:gd name="T47" fmla="*/ 216 h 440"/>
                    <a:gd name="T48" fmla="*/ 0 w 780"/>
                    <a:gd name="T49" fmla="*/ 366 h 440"/>
                    <a:gd name="T50" fmla="*/ 0 w 780"/>
                    <a:gd name="T51" fmla="*/ 392 h 440"/>
                    <a:gd name="T52" fmla="*/ 217 w 780"/>
                    <a:gd name="T53" fmla="*/ 195 h 440"/>
                    <a:gd name="T54" fmla="*/ 0 w 780"/>
                    <a:gd name="T55" fmla="*/ 66 h 440"/>
                    <a:gd name="T56" fmla="*/ 0 w 780"/>
                    <a:gd name="T57" fmla="*/ 324 h 440"/>
                    <a:gd name="T58" fmla="*/ 217 w 780"/>
                    <a:gd name="T59" fmla="*/ 195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0" h="440">
                      <a:moveTo>
                        <a:pt x="364" y="241"/>
                      </a:moveTo>
                      <a:cubicBezTo>
                        <a:pt x="5" y="27"/>
                        <a:pt x="5" y="27"/>
                        <a:pt x="5" y="27"/>
                      </a:cubicBezTo>
                      <a:cubicBezTo>
                        <a:pt x="13" y="11"/>
                        <a:pt x="29" y="0"/>
                        <a:pt x="48" y="0"/>
                      </a:cubicBezTo>
                      <a:cubicBezTo>
                        <a:pt x="732" y="0"/>
                        <a:pt x="732" y="0"/>
                        <a:pt x="732" y="0"/>
                      </a:cubicBezTo>
                      <a:cubicBezTo>
                        <a:pt x="751" y="0"/>
                        <a:pt x="767" y="11"/>
                        <a:pt x="775" y="27"/>
                      </a:cubicBezTo>
                      <a:cubicBezTo>
                        <a:pt x="416" y="240"/>
                        <a:pt x="416" y="240"/>
                        <a:pt x="416" y="240"/>
                      </a:cubicBezTo>
                      <a:cubicBezTo>
                        <a:pt x="416" y="241"/>
                        <a:pt x="416" y="241"/>
                        <a:pt x="416" y="241"/>
                      </a:cubicBezTo>
                      <a:cubicBezTo>
                        <a:pt x="409" y="245"/>
                        <a:pt x="400" y="247"/>
                        <a:pt x="390" y="247"/>
                      </a:cubicBezTo>
                      <a:cubicBezTo>
                        <a:pt x="380" y="247"/>
                        <a:pt x="370" y="245"/>
                        <a:pt x="364" y="241"/>
                      </a:cubicBezTo>
                      <a:close/>
                      <a:moveTo>
                        <a:pt x="780" y="324"/>
                      </a:moveTo>
                      <a:cubicBezTo>
                        <a:pt x="780" y="66"/>
                        <a:pt x="780" y="66"/>
                        <a:pt x="780" y="66"/>
                      </a:cubicBezTo>
                      <a:cubicBezTo>
                        <a:pt x="563" y="195"/>
                        <a:pt x="563" y="195"/>
                        <a:pt x="563" y="195"/>
                      </a:cubicBezTo>
                      <a:lnTo>
                        <a:pt x="780" y="324"/>
                      </a:lnTo>
                      <a:close/>
                      <a:moveTo>
                        <a:pt x="0" y="392"/>
                      </a:moveTo>
                      <a:cubicBezTo>
                        <a:pt x="0" y="419"/>
                        <a:pt x="21" y="440"/>
                        <a:pt x="48" y="440"/>
                      </a:cubicBezTo>
                      <a:cubicBezTo>
                        <a:pt x="732" y="440"/>
                        <a:pt x="732" y="440"/>
                        <a:pt x="732" y="440"/>
                      </a:cubicBezTo>
                      <a:cubicBezTo>
                        <a:pt x="758" y="440"/>
                        <a:pt x="780" y="419"/>
                        <a:pt x="780" y="392"/>
                      </a:cubicBezTo>
                      <a:cubicBezTo>
                        <a:pt x="780" y="366"/>
                        <a:pt x="780" y="366"/>
                        <a:pt x="780" y="366"/>
                      </a:cubicBezTo>
                      <a:cubicBezTo>
                        <a:pt x="528" y="216"/>
                        <a:pt x="528" y="216"/>
                        <a:pt x="528" y="216"/>
                      </a:cubicBezTo>
                      <a:cubicBezTo>
                        <a:pt x="435" y="271"/>
                        <a:pt x="435" y="271"/>
                        <a:pt x="435" y="271"/>
                      </a:cubicBezTo>
                      <a:cubicBezTo>
                        <a:pt x="423" y="279"/>
                        <a:pt x="407" y="283"/>
                        <a:pt x="390" y="283"/>
                      </a:cubicBezTo>
                      <a:cubicBezTo>
                        <a:pt x="390" y="283"/>
                        <a:pt x="390" y="283"/>
                        <a:pt x="390" y="283"/>
                      </a:cubicBezTo>
                      <a:cubicBezTo>
                        <a:pt x="373" y="283"/>
                        <a:pt x="357" y="279"/>
                        <a:pt x="344" y="271"/>
                      </a:cubicBezTo>
                      <a:cubicBezTo>
                        <a:pt x="252" y="216"/>
                        <a:pt x="252" y="216"/>
                        <a:pt x="252" y="216"/>
                      </a:cubicBezTo>
                      <a:cubicBezTo>
                        <a:pt x="0" y="366"/>
                        <a:pt x="0" y="366"/>
                        <a:pt x="0" y="366"/>
                      </a:cubicBezTo>
                      <a:lnTo>
                        <a:pt x="0" y="392"/>
                      </a:lnTo>
                      <a:close/>
                      <a:moveTo>
                        <a:pt x="217" y="195"/>
                      </a:moveTo>
                      <a:cubicBezTo>
                        <a:pt x="0" y="66"/>
                        <a:pt x="0" y="66"/>
                        <a:pt x="0" y="66"/>
                      </a:cubicBezTo>
                      <a:cubicBezTo>
                        <a:pt x="0" y="324"/>
                        <a:pt x="0" y="324"/>
                        <a:pt x="0" y="324"/>
                      </a:cubicBezTo>
                      <a:lnTo>
                        <a:pt x="217" y="195"/>
                      </a:lnTo>
                      <a:close/>
                    </a:path>
                  </a:pathLst>
                </a:custGeom>
                <a:solidFill>
                  <a:srgbClr val="FFFFFF"/>
                </a:solidFill>
                <a:ln>
                  <a:noFill/>
                  <a:headEnd type="none" w="med" len="med"/>
                  <a:tailEnd type="none" w="med" len="med"/>
                </a:ln>
                <a:effectLst/>
                <a:ex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4" name="Freeform 5"/>
                <p:cNvSpPr>
                  <a:spLocks noChangeAspect="1"/>
                </p:cNvSpPr>
                <p:nvPr/>
              </p:nvSpPr>
              <p:spPr bwMode="auto">
                <a:xfrm flipH="1">
                  <a:off x="7618611" y="2475495"/>
                  <a:ext cx="597557" cy="602494"/>
                </a:xfrm>
                <a:custGeom>
                  <a:avLst/>
                  <a:gdLst>
                    <a:gd name="T0" fmla="*/ 164 w 202"/>
                    <a:gd name="T1" fmla="*/ 123 h 204"/>
                    <a:gd name="T2" fmla="*/ 202 w 202"/>
                    <a:gd name="T3" fmla="*/ 156 h 204"/>
                    <a:gd name="T4" fmla="*/ 154 w 202"/>
                    <a:gd name="T5" fmla="*/ 204 h 204"/>
                    <a:gd name="T6" fmla="*/ 0 w 202"/>
                    <a:gd name="T7" fmla="*/ 47 h 204"/>
                    <a:gd name="T8" fmla="*/ 45 w 202"/>
                    <a:gd name="T9" fmla="*/ 0 h 204"/>
                    <a:gd name="T10" fmla="*/ 78 w 202"/>
                    <a:gd name="T11" fmla="*/ 38 h 204"/>
                    <a:gd name="T12" fmla="*/ 69 w 202"/>
                    <a:gd name="T13" fmla="*/ 71 h 204"/>
                    <a:gd name="T14" fmla="*/ 78 w 202"/>
                    <a:gd name="T15" fmla="*/ 97 h 204"/>
                    <a:gd name="T16" fmla="*/ 95 w 202"/>
                    <a:gd name="T17" fmla="*/ 116 h 204"/>
                    <a:gd name="T18" fmla="*/ 126 w 202"/>
                    <a:gd name="T19" fmla="*/ 133 h 204"/>
                    <a:gd name="T20" fmla="*/ 164 w 202"/>
                    <a:gd name="T21" fmla="*/ 12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2" h="204">
                      <a:moveTo>
                        <a:pt x="164" y="123"/>
                      </a:moveTo>
                      <a:cubicBezTo>
                        <a:pt x="202" y="156"/>
                        <a:pt x="202" y="156"/>
                        <a:pt x="202" y="156"/>
                      </a:cubicBezTo>
                      <a:cubicBezTo>
                        <a:pt x="195" y="180"/>
                        <a:pt x="181" y="192"/>
                        <a:pt x="154" y="204"/>
                      </a:cubicBezTo>
                      <a:cubicBezTo>
                        <a:pt x="95" y="178"/>
                        <a:pt x="23" y="109"/>
                        <a:pt x="0" y="47"/>
                      </a:cubicBezTo>
                      <a:cubicBezTo>
                        <a:pt x="9" y="19"/>
                        <a:pt x="21" y="7"/>
                        <a:pt x="45" y="0"/>
                      </a:cubicBezTo>
                      <a:cubicBezTo>
                        <a:pt x="78" y="38"/>
                        <a:pt x="78" y="38"/>
                        <a:pt x="78" y="38"/>
                      </a:cubicBezTo>
                      <a:cubicBezTo>
                        <a:pt x="69" y="71"/>
                        <a:pt x="69" y="71"/>
                        <a:pt x="69" y="71"/>
                      </a:cubicBezTo>
                      <a:cubicBezTo>
                        <a:pt x="69" y="81"/>
                        <a:pt x="73" y="90"/>
                        <a:pt x="78" y="97"/>
                      </a:cubicBezTo>
                      <a:cubicBezTo>
                        <a:pt x="81" y="100"/>
                        <a:pt x="85" y="107"/>
                        <a:pt x="95" y="116"/>
                      </a:cubicBezTo>
                      <a:cubicBezTo>
                        <a:pt x="107" y="128"/>
                        <a:pt x="116" y="133"/>
                        <a:pt x="126" y="133"/>
                      </a:cubicBezTo>
                      <a:cubicBezTo>
                        <a:pt x="131" y="133"/>
                        <a:pt x="142" y="130"/>
                        <a:pt x="164" y="123"/>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5" name="Freeform 5"/>
                <p:cNvSpPr>
                  <a:spLocks noChangeAspect="1" noEditPoints="1"/>
                </p:cNvSpPr>
                <p:nvPr/>
              </p:nvSpPr>
              <p:spPr bwMode="auto">
                <a:xfrm>
                  <a:off x="7535180" y="1518736"/>
                  <a:ext cx="747652" cy="748982"/>
                </a:xfrm>
                <a:custGeom>
                  <a:avLst/>
                  <a:gdLst>
                    <a:gd name="T0" fmla="*/ 118 w 236"/>
                    <a:gd name="T1" fmla="*/ 0 h 236"/>
                    <a:gd name="T2" fmla="*/ 0 w 236"/>
                    <a:gd name="T3" fmla="*/ 118 h 236"/>
                    <a:gd name="T4" fmla="*/ 118 w 236"/>
                    <a:gd name="T5" fmla="*/ 236 h 236"/>
                    <a:gd name="T6" fmla="*/ 236 w 236"/>
                    <a:gd name="T7" fmla="*/ 118 h 236"/>
                    <a:gd name="T8" fmla="*/ 118 w 236"/>
                    <a:gd name="T9" fmla="*/ 0 h 236"/>
                    <a:gd name="T10" fmla="*/ 88 w 236"/>
                    <a:gd name="T11" fmla="*/ 169 h 236"/>
                    <a:gd name="T12" fmla="*/ 88 w 236"/>
                    <a:gd name="T13" fmla="*/ 76 h 236"/>
                    <a:gd name="T14" fmla="*/ 172 w 236"/>
                    <a:gd name="T15" fmla="*/ 122 h 236"/>
                    <a:gd name="T16" fmla="*/ 88 w 236"/>
                    <a:gd name="T17" fmla="*/ 16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236">
                      <a:moveTo>
                        <a:pt x="118" y="0"/>
                      </a:moveTo>
                      <a:cubicBezTo>
                        <a:pt x="53" y="0"/>
                        <a:pt x="0" y="53"/>
                        <a:pt x="0" y="118"/>
                      </a:cubicBezTo>
                      <a:cubicBezTo>
                        <a:pt x="0" y="184"/>
                        <a:pt x="53" y="236"/>
                        <a:pt x="118" y="236"/>
                      </a:cubicBezTo>
                      <a:cubicBezTo>
                        <a:pt x="183" y="236"/>
                        <a:pt x="236" y="184"/>
                        <a:pt x="236" y="118"/>
                      </a:cubicBezTo>
                      <a:cubicBezTo>
                        <a:pt x="236" y="53"/>
                        <a:pt x="183" y="0"/>
                        <a:pt x="118" y="0"/>
                      </a:cubicBezTo>
                      <a:close/>
                      <a:moveTo>
                        <a:pt x="88" y="169"/>
                      </a:moveTo>
                      <a:cubicBezTo>
                        <a:pt x="85" y="165"/>
                        <a:pt x="84" y="80"/>
                        <a:pt x="88" y="76"/>
                      </a:cubicBezTo>
                      <a:cubicBezTo>
                        <a:pt x="93" y="71"/>
                        <a:pt x="172" y="111"/>
                        <a:pt x="172" y="122"/>
                      </a:cubicBezTo>
                      <a:cubicBezTo>
                        <a:pt x="172" y="134"/>
                        <a:pt x="92" y="173"/>
                        <a:pt x="88" y="169"/>
                      </a:cubicBezTo>
                      <a:close/>
                    </a:path>
                  </a:pathLst>
                </a:custGeom>
                <a:solidFill>
                  <a:srgbClr val="FFFFFF"/>
                </a:solidFill>
                <a:ln>
                  <a:noFill/>
                  <a:headEnd type="none" w="med" len="med"/>
                  <a:tailEnd type="none" w="med" len="med"/>
                </a:ln>
                <a:effectLst/>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sp>
              <p:nvSpPr>
                <p:cNvPr id="116" name="Freeform 55"/>
                <p:cNvSpPr>
                  <a:spLocks noEditPoints="1"/>
                </p:cNvSpPr>
                <p:nvPr/>
              </p:nvSpPr>
              <p:spPr bwMode="auto">
                <a:xfrm>
                  <a:off x="7541906" y="3272361"/>
                  <a:ext cx="696101" cy="667683"/>
                </a:xfrm>
                <a:custGeom>
                  <a:avLst/>
                  <a:gdLst>
                    <a:gd name="T0" fmla="*/ 275 w 579"/>
                    <a:gd name="T1" fmla="*/ 343 h 665"/>
                    <a:gd name="T2" fmla="*/ 263 w 579"/>
                    <a:gd name="T3" fmla="*/ 336 h 665"/>
                    <a:gd name="T4" fmla="*/ 263 w 579"/>
                    <a:gd name="T5" fmla="*/ 336 h 665"/>
                    <a:gd name="T6" fmla="*/ 0 w 579"/>
                    <a:gd name="T7" fmla="*/ 184 h 665"/>
                    <a:gd name="T8" fmla="*/ 0 w 579"/>
                    <a:gd name="T9" fmla="*/ 184 h 665"/>
                    <a:gd name="T10" fmla="*/ 0 w 579"/>
                    <a:gd name="T11" fmla="*/ 248 h 665"/>
                    <a:gd name="T12" fmla="*/ 0 w 579"/>
                    <a:gd name="T13" fmla="*/ 297 h 665"/>
                    <a:gd name="T14" fmla="*/ 0 w 579"/>
                    <a:gd name="T15" fmla="*/ 489 h 665"/>
                    <a:gd name="T16" fmla="*/ 0 w 579"/>
                    <a:gd name="T17" fmla="*/ 503 h 665"/>
                    <a:gd name="T18" fmla="*/ 0 w 579"/>
                    <a:gd name="T19" fmla="*/ 503 h 665"/>
                    <a:gd name="T20" fmla="*/ 11 w 579"/>
                    <a:gd name="T21" fmla="*/ 510 h 665"/>
                    <a:gd name="T22" fmla="*/ 277 w 579"/>
                    <a:gd name="T23" fmla="*/ 663 h 665"/>
                    <a:gd name="T24" fmla="*/ 277 w 579"/>
                    <a:gd name="T25" fmla="*/ 663 h 665"/>
                    <a:gd name="T26" fmla="*/ 277 w 579"/>
                    <a:gd name="T27" fmla="*/ 663 h 665"/>
                    <a:gd name="T28" fmla="*/ 277 w 579"/>
                    <a:gd name="T29" fmla="*/ 504 h 665"/>
                    <a:gd name="T30" fmla="*/ 277 w 579"/>
                    <a:gd name="T31" fmla="*/ 354 h 665"/>
                    <a:gd name="T32" fmla="*/ 277 w 579"/>
                    <a:gd name="T33" fmla="*/ 354 h 665"/>
                    <a:gd name="T34" fmla="*/ 277 w 579"/>
                    <a:gd name="T35" fmla="*/ 354 h 665"/>
                    <a:gd name="T36" fmla="*/ 278 w 579"/>
                    <a:gd name="T37" fmla="*/ 344 h 665"/>
                    <a:gd name="T38" fmla="*/ 278 w 579"/>
                    <a:gd name="T39" fmla="*/ 344 h 665"/>
                    <a:gd name="T40" fmla="*/ 278 w 579"/>
                    <a:gd name="T41" fmla="*/ 344 h 665"/>
                    <a:gd name="T42" fmla="*/ 275 w 579"/>
                    <a:gd name="T43" fmla="*/ 343 h 665"/>
                    <a:gd name="T44" fmla="*/ 578 w 579"/>
                    <a:gd name="T45" fmla="*/ 183 h 665"/>
                    <a:gd name="T46" fmla="*/ 486 w 579"/>
                    <a:gd name="T47" fmla="*/ 237 h 665"/>
                    <a:gd name="T48" fmla="*/ 314 w 579"/>
                    <a:gd name="T49" fmla="*/ 337 h 665"/>
                    <a:gd name="T50" fmla="*/ 303 w 579"/>
                    <a:gd name="T51" fmla="*/ 344 h 665"/>
                    <a:gd name="T52" fmla="*/ 303 w 579"/>
                    <a:gd name="T53" fmla="*/ 344 h 665"/>
                    <a:gd name="T54" fmla="*/ 303 w 579"/>
                    <a:gd name="T55" fmla="*/ 352 h 665"/>
                    <a:gd name="T56" fmla="*/ 303 w 579"/>
                    <a:gd name="T57" fmla="*/ 357 h 665"/>
                    <a:gd name="T58" fmla="*/ 302 w 579"/>
                    <a:gd name="T59" fmla="*/ 662 h 665"/>
                    <a:gd name="T60" fmla="*/ 302 w 579"/>
                    <a:gd name="T61" fmla="*/ 662 h 665"/>
                    <a:gd name="T62" fmla="*/ 302 w 579"/>
                    <a:gd name="T63" fmla="*/ 665 h 665"/>
                    <a:gd name="T64" fmla="*/ 302 w 579"/>
                    <a:gd name="T65" fmla="*/ 665 h 665"/>
                    <a:gd name="T66" fmla="*/ 579 w 579"/>
                    <a:gd name="T67" fmla="*/ 504 h 665"/>
                    <a:gd name="T68" fmla="*/ 579 w 579"/>
                    <a:gd name="T69" fmla="*/ 503 h 665"/>
                    <a:gd name="T70" fmla="*/ 579 w 579"/>
                    <a:gd name="T71" fmla="*/ 489 h 665"/>
                    <a:gd name="T72" fmla="*/ 579 w 579"/>
                    <a:gd name="T73" fmla="*/ 183 h 665"/>
                    <a:gd name="T74" fmla="*/ 578 w 579"/>
                    <a:gd name="T75" fmla="*/ 183 h 665"/>
                    <a:gd name="T76" fmla="*/ 568 w 579"/>
                    <a:gd name="T77" fmla="*/ 162 h 665"/>
                    <a:gd name="T78" fmla="*/ 568 w 579"/>
                    <a:gd name="T79" fmla="*/ 162 h 665"/>
                    <a:gd name="T80" fmla="*/ 301 w 579"/>
                    <a:gd name="T81" fmla="*/ 8 h 665"/>
                    <a:gd name="T82" fmla="*/ 289 w 579"/>
                    <a:gd name="T83" fmla="*/ 1 h 665"/>
                    <a:gd name="T84" fmla="*/ 288 w 579"/>
                    <a:gd name="T85" fmla="*/ 0 h 665"/>
                    <a:gd name="T86" fmla="*/ 11 w 579"/>
                    <a:gd name="T87" fmla="*/ 161 h 665"/>
                    <a:gd name="T88" fmla="*/ 13 w 579"/>
                    <a:gd name="T89" fmla="*/ 163 h 665"/>
                    <a:gd name="T90" fmla="*/ 13 w 579"/>
                    <a:gd name="T91" fmla="*/ 163 h 665"/>
                    <a:gd name="T92" fmla="*/ 276 w 579"/>
                    <a:gd name="T93" fmla="*/ 315 h 665"/>
                    <a:gd name="T94" fmla="*/ 288 w 579"/>
                    <a:gd name="T95" fmla="*/ 321 h 665"/>
                    <a:gd name="T96" fmla="*/ 288 w 579"/>
                    <a:gd name="T97" fmla="*/ 321 h 665"/>
                    <a:gd name="T98" fmla="*/ 291 w 579"/>
                    <a:gd name="T99" fmla="*/ 323 h 665"/>
                    <a:gd name="T100" fmla="*/ 291 w 579"/>
                    <a:gd name="T101" fmla="*/ 323 h 665"/>
                    <a:gd name="T102" fmla="*/ 291 w 579"/>
                    <a:gd name="T103" fmla="*/ 323 h 665"/>
                    <a:gd name="T104" fmla="*/ 291 w 579"/>
                    <a:gd name="T105" fmla="*/ 323 h 665"/>
                    <a:gd name="T106" fmla="*/ 291 w 579"/>
                    <a:gd name="T107" fmla="*/ 323 h 665"/>
                    <a:gd name="T108" fmla="*/ 300 w 579"/>
                    <a:gd name="T109" fmla="*/ 318 h 665"/>
                    <a:gd name="T110" fmla="*/ 534 w 579"/>
                    <a:gd name="T111" fmla="*/ 182 h 665"/>
                    <a:gd name="T112" fmla="*/ 568 w 579"/>
                    <a:gd name="T113" fmla="*/ 162 h 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9" h="665">
                      <a:moveTo>
                        <a:pt x="275" y="343"/>
                      </a:moveTo>
                      <a:lnTo>
                        <a:pt x="263" y="336"/>
                      </a:lnTo>
                      <a:lnTo>
                        <a:pt x="263" y="336"/>
                      </a:lnTo>
                      <a:lnTo>
                        <a:pt x="0" y="184"/>
                      </a:lnTo>
                      <a:lnTo>
                        <a:pt x="0" y="184"/>
                      </a:lnTo>
                      <a:lnTo>
                        <a:pt x="0" y="248"/>
                      </a:lnTo>
                      <a:lnTo>
                        <a:pt x="0" y="297"/>
                      </a:lnTo>
                      <a:lnTo>
                        <a:pt x="0" y="489"/>
                      </a:lnTo>
                      <a:lnTo>
                        <a:pt x="0" y="503"/>
                      </a:lnTo>
                      <a:lnTo>
                        <a:pt x="0" y="503"/>
                      </a:lnTo>
                      <a:lnTo>
                        <a:pt x="11" y="510"/>
                      </a:lnTo>
                      <a:lnTo>
                        <a:pt x="277" y="663"/>
                      </a:lnTo>
                      <a:lnTo>
                        <a:pt x="277" y="663"/>
                      </a:lnTo>
                      <a:lnTo>
                        <a:pt x="277" y="663"/>
                      </a:lnTo>
                      <a:lnTo>
                        <a:pt x="277" y="504"/>
                      </a:lnTo>
                      <a:lnTo>
                        <a:pt x="277" y="354"/>
                      </a:lnTo>
                      <a:lnTo>
                        <a:pt x="277" y="354"/>
                      </a:lnTo>
                      <a:lnTo>
                        <a:pt x="277" y="354"/>
                      </a:lnTo>
                      <a:lnTo>
                        <a:pt x="278" y="344"/>
                      </a:lnTo>
                      <a:lnTo>
                        <a:pt x="278" y="344"/>
                      </a:lnTo>
                      <a:lnTo>
                        <a:pt x="278" y="344"/>
                      </a:lnTo>
                      <a:lnTo>
                        <a:pt x="275" y="343"/>
                      </a:lnTo>
                      <a:close/>
                      <a:moveTo>
                        <a:pt x="578" y="183"/>
                      </a:moveTo>
                      <a:lnTo>
                        <a:pt x="486" y="237"/>
                      </a:lnTo>
                      <a:lnTo>
                        <a:pt x="314" y="337"/>
                      </a:lnTo>
                      <a:lnTo>
                        <a:pt x="303" y="344"/>
                      </a:lnTo>
                      <a:lnTo>
                        <a:pt x="303" y="344"/>
                      </a:lnTo>
                      <a:lnTo>
                        <a:pt x="303" y="352"/>
                      </a:lnTo>
                      <a:lnTo>
                        <a:pt x="303" y="357"/>
                      </a:lnTo>
                      <a:lnTo>
                        <a:pt x="302" y="662"/>
                      </a:lnTo>
                      <a:lnTo>
                        <a:pt x="302" y="662"/>
                      </a:lnTo>
                      <a:lnTo>
                        <a:pt x="302" y="665"/>
                      </a:lnTo>
                      <a:lnTo>
                        <a:pt x="302" y="665"/>
                      </a:lnTo>
                      <a:lnTo>
                        <a:pt x="579" y="504"/>
                      </a:lnTo>
                      <a:lnTo>
                        <a:pt x="579" y="503"/>
                      </a:lnTo>
                      <a:lnTo>
                        <a:pt x="579" y="489"/>
                      </a:lnTo>
                      <a:lnTo>
                        <a:pt x="579" y="183"/>
                      </a:lnTo>
                      <a:lnTo>
                        <a:pt x="578" y="183"/>
                      </a:lnTo>
                      <a:close/>
                      <a:moveTo>
                        <a:pt x="568" y="162"/>
                      </a:moveTo>
                      <a:lnTo>
                        <a:pt x="568" y="162"/>
                      </a:lnTo>
                      <a:lnTo>
                        <a:pt x="301" y="8"/>
                      </a:lnTo>
                      <a:lnTo>
                        <a:pt x="289" y="1"/>
                      </a:lnTo>
                      <a:lnTo>
                        <a:pt x="288" y="0"/>
                      </a:lnTo>
                      <a:lnTo>
                        <a:pt x="11" y="161"/>
                      </a:lnTo>
                      <a:lnTo>
                        <a:pt x="13" y="163"/>
                      </a:lnTo>
                      <a:lnTo>
                        <a:pt x="13" y="163"/>
                      </a:lnTo>
                      <a:lnTo>
                        <a:pt x="276" y="315"/>
                      </a:lnTo>
                      <a:lnTo>
                        <a:pt x="288" y="321"/>
                      </a:lnTo>
                      <a:lnTo>
                        <a:pt x="288" y="321"/>
                      </a:lnTo>
                      <a:lnTo>
                        <a:pt x="291" y="323"/>
                      </a:lnTo>
                      <a:lnTo>
                        <a:pt x="291" y="323"/>
                      </a:lnTo>
                      <a:lnTo>
                        <a:pt x="291" y="323"/>
                      </a:lnTo>
                      <a:lnTo>
                        <a:pt x="291" y="323"/>
                      </a:lnTo>
                      <a:lnTo>
                        <a:pt x="291" y="323"/>
                      </a:lnTo>
                      <a:lnTo>
                        <a:pt x="300" y="318"/>
                      </a:lnTo>
                      <a:lnTo>
                        <a:pt x="534" y="182"/>
                      </a:lnTo>
                      <a:lnTo>
                        <a:pt x="568" y="162"/>
                      </a:lnTo>
                      <a:close/>
                    </a:path>
                  </a:pathLst>
                </a:custGeom>
                <a:solidFill>
                  <a:srgbClr val="FFFFFF"/>
                </a:solidFill>
                <a:ln>
                  <a:noFill/>
                </a:ln>
              </p:spPr>
              <p:txBody>
                <a:bodyPr vert="horz" wrap="square" lIns="93247" tIns="46623" rIns="93247" bIns="46623" numCol="1" anchor="t" anchorCtr="0" compatLnSpc="1">
                  <a:prstTxWarp prst="textNoShape">
                    <a:avLst/>
                  </a:prstTxWarp>
                </a:bodyPr>
                <a:lstStyle/>
                <a:p>
                  <a:pPr defTabSz="932418"/>
                  <a:endParaRPr lang="en-US" sz="1836" dirty="0">
                    <a:solidFill>
                      <a:srgbClr val="505050"/>
                    </a:solidFill>
                  </a:endParaRPr>
                </a:p>
              </p:txBody>
            </p:sp>
          </p:grpSp>
        </p:grpSp>
        <p:grpSp>
          <p:nvGrpSpPr>
            <p:cNvPr id="89" name="Group 4"/>
            <p:cNvGrpSpPr>
              <a:grpSpLocks noChangeAspect="1"/>
            </p:cNvGrpSpPr>
            <p:nvPr/>
          </p:nvGrpSpPr>
          <p:grpSpPr bwMode="auto">
            <a:xfrm>
              <a:off x="4614424" y="2426590"/>
              <a:ext cx="692227" cy="695285"/>
              <a:chOff x="4935" y="-89"/>
              <a:chExt cx="1358" cy="1364"/>
            </a:xfrm>
            <a:solidFill>
              <a:schemeClr val="accent3"/>
            </a:solidFill>
          </p:grpSpPr>
          <p:sp>
            <p:nvSpPr>
              <p:cNvPr id="94" name="Freeform 6"/>
              <p:cNvSpPr>
                <a:spLocks noEditPoints="1"/>
              </p:cNvSpPr>
              <p:nvPr/>
            </p:nvSpPr>
            <p:spPr bwMode="auto">
              <a:xfrm>
                <a:off x="5027" y="479"/>
                <a:ext cx="1250" cy="796"/>
              </a:xfrm>
              <a:custGeom>
                <a:avLst/>
                <a:gdLst>
                  <a:gd name="T0" fmla="*/ 1761 w 3750"/>
                  <a:gd name="T1" fmla="*/ 1309 h 2387"/>
                  <a:gd name="T2" fmla="*/ 1672 w 3750"/>
                  <a:gd name="T3" fmla="*/ 1309 h 2387"/>
                  <a:gd name="T4" fmla="*/ 1627 w 3750"/>
                  <a:gd name="T5" fmla="*/ 1312 h 2387"/>
                  <a:gd name="T6" fmla="*/ 1447 w 3750"/>
                  <a:gd name="T7" fmla="*/ 1297 h 2387"/>
                  <a:gd name="T8" fmla="*/ 1662 w 3750"/>
                  <a:gd name="T9" fmla="*/ 1258 h 2387"/>
                  <a:gd name="T10" fmla="*/ 3081 w 3750"/>
                  <a:gd name="T11" fmla="*/ 648 h 2387"/>
                  <a:gd name="T12" fmla="*/ 3373 w 3750"/>
                  <a:gd name="T13" fmla="*/ 551 h 2387"/>
                  <a:gd name="T14" fmla="*/ 3288 w 3750"/>
                  <a:gd name="T15" fmla="*/ 700 h 2387"/>
                  <a:gd name="T16" fmla="*/ 3323 w 3750"/>
                  <a:gd name="T17" fmla="*/ 626 h 2387"/>
                  <a:gd name="T18" fmla="*/ 3441 w 3750"/>
                  <a:gd name="T19" fmla="*/ 545 h 2387"/>
                  <a:gd name="T20" fmla="*/ 1031 w 3750"/>
                  <a:gd name="T21" fmla="*/ 465 h 2387"/>
                  <a:gd name="T22" fmla="*/ 2867 w 3750"/>
                  <a:gd name="T23" fmla="*/ 368 h 2387"/>
                  <a:gd name="T24" fmla="*/ 2839 w 3750"/>
                  <a:gd name="T25" fmla="*/ 368 h 2387"/>
                  <a:gd name="T26" fmla="*/ 3370 w 3750"/>
                  <a:gd name="T27" fmla="*/ 738 h 2387"/>
                  <a:gd name="T28" fmla="*/ 3235 w 3750"/>
                  <a:gd name="T29" fmla="*/ 606 h 2387"/>
                  <a:gd name="T30" fmla="*/ 3239 w 3750"/>
                  <a:gd name="T31" fmla="*/ 248 h 2387"/>
                  <a:gd name="T32" fmla="*/ 2909 w 3750"/>
                  <a:gd name="T33" fmla="*/ 356 h 2387"/>
                  <a:gd name="T34" fmla="*/ 2882 w 3750"/>
                  <a:gd name="T35" fmla="*/ 474 h 2387"/>
                  <a:gd name="T36" fmla="*/ 2879 w 3750"/>
                  <a:gd name="T37" fmla="*/ 357 h 2387"/>
                  <a:gd name="T38" fmla="*/ 2878 w 3750"/>
                  <a:gd name="T39" fmla="*/ 230 h 2387"/>
                  <a:gd name="T40" fmla="*/ 795 w 3750"/>
                  <a:gd name="T41" fmla="*/ 182 h 2387"/>
                  <a:gd name="T42" fmla="*/ 3208 w 3750"/>
                  <a:gd name="T43" fmla="*/ 125 h 2387"/>
                  <a:gd name="T44" fmla="*/ 1293 w 3750"/>
                  <a:gd name="T45" fmla="*/ 648 h 2387"/>
                  <a:gd name="T46" fmla="*/ 1343 w 3750"/>
                  <a:gd name="T47" fmla="*/ 816 h 2387"/>
                  <a:gd name="T48" fmla="*/ 1469 w 3750"/>
                  <a:gd name="T49" fmla="*/ 770 h 2387"/>
                  <a:gd name="T50" fmla="*/ 1447 w 3750"/>
                  <a:gd name="T51" fmla="*/ 830 h 2387"/>
                  <a:gd name="T52" fmla="*/ 1666 w 3750"/>
                  <a:gd name="T53" fmla="*/ 845 h 2387"/>
                  <a:gd name="T54" fmla="*/ 1596 w 3750"/>
                  <a:gd name="T55" fmla="*/ 1016 h 2387"/>
                  <a:gd name="T56" fmla="*/ 1465 w 3750"/>
                  <a:gd name="T57" fmla="*/ 1203 h 2387"/>
                  <a:gd name="T58" fmla="*/ 1241 w 3750"/>
                  <a:gd name="T59" fmla="*/ 1132 h 2387"/>
                  <a:gd name="T60" fmla="*/ 1194 w 3750"/>
                  <a:gd name="T61" fmla="*/ 1350 h 2387"/>
                  <a:gd name="T62" fmla="*/ 1346 w 3750"/>
                  <a:gd name="T63" fmla="*/ 1350 h 2387"/>
                  <a:gd name="T64" fmla="*/ 1448 w 3750"/>
                  <a:gd name="T65" fmla="*/ 1500 h 2387"/>
                  <a:gd name="T66" fmla="*/ 1693 w 3750"/>
                  <a:gd name="T67" fmla="*/ 1448 h 2387"/>
                  <a:gd name="T68" fmla="*/ 1723 w 3750"/>
                  <a:gd name="T69" fmla="*/ 1460 h 2387"/>
                  <a:gd name="T70" fmla="*/ 1863 w 3750"/>
                  <a:gd name="T71" fmla="*/ 1465 h 2387"/>
                  <a:gd name="T72" fmla="*/ 1960 w 3750"/>
                  <a:gd name="T73" fmla="*/ 1524 h 2387"/>
                  <a:gd name="T74" fmla="*/ 1977 w 3750"/>
                  <a:gd name="T75" fmla="*/ 1959 h 2387"/>
                  <a:gd name="T76" fmla="*/ 1866 w 3750"/>
                  <a:gd name="T77" fmla="*/ 2039 h 2387"/>
                  <a:gd name="T78" fmla="*/ 1809 w 3750"/>
                  <a:gd name="T79" fmla="*/ 2081 h 2387"/>
                  <a:gd name="T80" fmla="*/ 1798 w 3750"/>
                  <a:gd name="T81" fmla="*/ 2144 h 2387"/>
                  <a:gd name="T82" fmla="*/ 1688 w 3750"/>
                  <a:gd name="T83" fmla="*/ 2111 h 2387"/>
                  <a:gd name="T84" fmla="*/ 1675 w 3750"/>
                  <a:gd name="T85" fmla="*/ 2053 h 2387"/>
                  <a:gd name="T86" fmla="*/ 1687 w 3750"/>
                  <a:gd name="T87" fmla="*/ 1938 h 2387"/>
                  <a:gd name="T88" fmla="*/ 1616 w 3750"/>
                  <a:gd name="T89" fmla="*/ 1846 h 2387"/>
                  <a:gd name="T90" fmla="*/ 1480 w 3750"/>
                  <a:gd name="T91" fmla="*/ 1720 h 2387"/>
                  <a:gd name="T92" fmla="*/ 1498 w 3750"/>
                  <a:gd name="T93" fmla="*/ 1649 h 2387"/>
                  <a:gd name="T94" fmla="*/ 1552 w 3750"/>
                  <a:gd name="T95" fmla="*/ 1545 h 2387"/>
                  <a:gd name="T96" fmla="*/ 1316 w 3750"/>
                  <a:gd name="T97" fmla="*/ 1455 h 2387"/>
                  <a:gd name="T98" fmla="*/ 967 w 3750"/>
                  <a:gd name="T99" fmla="*/ 1287 h 2387"/>
                  <a:gd name="T100" fmla="*/ 840 w 3750"/>
                  <a:gd name="T101" fmla="*/ 1179 h 2387"/>
                  <a:gd name="T102" fmla="*/ 775 w 3750"/>
                  <a:gd name="T103" fmla="*/ 1128 h 2387"/>
                  <a:gd name="T104" fmla="*/ 528 w 3750"/>
                  <a:gd name="T105" fmla="*/ 581 h 2387"/>
                  <a:gd name="T106" fmla="*/ 446 w 3750"/>
                  <a:gd name="T107" fmla="*/ 389 h 2387"/>
                  <a:gd name="T108" fmla="*/ 391 w 3750"/>
                  <a:gd name="T109" fmla="*/ 276 h 2387"/>
                  <a:gd name="T110" fmla="*/ 330 w 3750"/>
                  <a:gd name="T111" fmla="*/ 184 h 2387"/>
                  <a:gd name="T112" fmla="*/ 196 w 3750"/>
                  <a:gd name="T113" fmla="*/ 148 h 2387"/>
                  <a:gd name="T114" fmla="*/ 159 w 3750"/>
                  <a:gd name="T115" fmla="*/ 128 h 2387"/>
                  <a:gd name="T116" fmla="*/ 61 w 3750"/>
                  <a:gd name="T117" fmla="*/ 322 h 2387"/>
                  <a:gd name="T118" fmla="*/ 76 w 3750"/>
                  <a:gd name="T119" fmla="*/ 219 h 2387"/>
                  <a:gd name="T120" fmla="*/ 35 w 3750"/>
                  <a:gd name="T121" fmla="*/ 181 h 2387"/>
                  <a:gd name="T122" fmla="*/ 5 w 3750"/>
                  <a:gd name="T123" fmla="*/ 117 h 2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50" h="2387">
                    <a:moveTo>
                      <a:pt x="1692" y="2101"/>
                    </a:moveTo>
                    <a:lnTo>
                      <a:pt x="1693" y="2101"/>
                    </a:lnTo>
                    <a:lnTo>
                      <a:pt x="1695" y="2102"/>
                    </a:lnTo>
                    <a:lnTo>
                      <a:pt x="1696" y="2102"/>
                    </a:lnTo>
                    <a:lnTo>
                      <a:pt x="1696" y="2103"/>
                    </a:lnTo>
                    <a:lnTo>
                      <a:pt x="1696" y="2103"/>
                    </a:lnTo>
                    <a:lnTo>
                      <a:pt x="1698" y="2104"/>
                    </a:lnTo>
                    <a:lnTo>
                      <a:pt x="1699" y="2104"/>
                    </a:lnTo>
                    <a:lnTo>
                      <a:pt x="1699" y="2107"/>
                    </a:lnTo>
                    <a:lnTo>
                      <a:pt x="1698" y="2108"/>
                    </a:lnTo>
                    <a:lnTo>
                      <a:pt x="1698" y="2108"/>
                    </a:lnTo>
                    <a:lnTo>
                      <a:pt x="1697" y="2109"/>
                    </a:lnTo>
                    <a:lnTo>
                      <a:pt x="1696" y="2108"/>
                    </a:lnTo>
                    <a:lnTo>
                      <a:pt x="1695" y="2107"/>
                    </a:lnTo>
                    <a:lnTo>
                      <a:pt x="1693" y="2108"/>
                    </a:lnTo>
                    <a:lnTo>
                      <a:pt x="1692" y="2108"/>
                    </a:lnTo>
                    <a:lnTo>
                      <a:pt x="1692" y="2108"/>
                    </a:lnTo>
                    <a:lnTo>
                      <a:pt x="1692" y="2107"/>
                    </a:lnTo>
                    <a:lnTo>
                      <a:pt x="1691" y="2104"/>
                    </a:lnTo>
                    <a:lnTo>
                      <a:pt x="1691" y="2103"/>
                    </a:lnTo>
                    <a:lnTo>
                      <a:pt x="1692" y="2102"/>
                    </a:lnTo>
                    <a:lnTo>
                      <a:pt x="1692" y="2101"/>
                    </a:lnTo>
                    <a:close/>
                    <a:moveTo>
                      <a:pt x="1896" y="1295"/>
                    </a:moveTo>
                    <a:lnTo>
                      <a:pt x="1898" y="1295"/>
                    </a:lnTo>
                    <a:lnTo>
                      <a:pt x="1898" y="1296"/>
                    </a:lnTo>
                    <a:lnTo>
                      <a:pt x="1896" y="1299"/>
                    </a:lnTo>
                    <a:lnTo>
                      <a:pt x="1895" y="1301"/>
                    </a:lnTo>
                    <a:lnTo>
                      <a:pt x="1894" y="1302"/>
                    </a:lnTo>
                    <a:lnTo>
                      <a:pt x="1893" y="1302"/>
                    </a:lnTo>
                    <a:lnTo>
                      <a:pt x="1891" y="1302"/>
                    </a:lnTo>
                    <a:lnTo>
                      <a:pt x="1890" y="1300"/>
                    </a:lnTo>
                    <a:lnTo>
                      <a:pt x="1891" y="1297"/>
                    </a:lnTo>
                    <a:lnTo>
                      <a:pt x="1893" y="1296"/>
                    </a:lnTo>
                    <a:lnTo>
                      <a:pt x="1895" y="1295"/>
                    </a:lnTo>
                    <a:lnTo>
                      <a:pt x="1896" y="1295"/>
                    </a:lnTo>
                    <a:close/>
                    <a:moveTo>
                      <a:pt x="1742" y="1286"/>
                    </a:moveTo>
                    <a:lnTo>
                      <a:pt x="1743" y="1286"/>
                    </a:lnTo>
                    <a:lnTo>
                      <a:pt x="1744" y="1287"/>
                    </a:lnTo>
                    <a:lnTo>
                      <a:pt x="1746" y="1289"/>
                    </a:lnTo>
                    <a:lnTo>
                      <a:pt x="1747" y="1290"/>
                    </a:lnTo>
                    <a:lnTo>
                      <a:pt x="1748" y="1291"/>
                    </a:lnTo>
                    <a:lnTo>
                      <a:pt x="1749" y="1291"/>
                    </a:lnTo>
                    <a:lnTo>
                      <a:pt x="1751" y="1294"/>
                    </a:lnTo>
                    <a:lnTo>
                      <a:pt x="1752" y="1295"/>
                    </a:lnTo>
                    <a:lnTo>
                      <a:pt x="1753" y="1296"/>
                    </a:lnTo>
                    <a:lnTo>
                      <a:pt x="1754" y="1299"/>
                    </a:lnTo>
                    <a:lnTo>
                      <a:pt x="1756" y="1299"/>
                    </a:lnTo>
                    <a:lnTo>
                      <a:pt x="1758" y="1300"/>
                    </a:lnTo>
                    <a:lnTo>
                      <a:pt x="1767" y="1300"/>
                    </a:lnTo>
                    <a:lnTo>
                      <a:pt x="1770" y="1300"/>
                    </a:lnTo>
                    <a:lnTo>
                      <a:pt x="1770" y="1301"/>
                    </a:lnTo>
                    <a:lnTo>
                      <a:pt x="1770" y="1302"/>
                    </a:lnTo>
                    <a:lnTo>
                      <a:pt x="1768" y="1304"/>
                    </a:lnTo>
                    <a:lnTo>
                      <a:pt x="1767" y="1305"/>
                    </a:lnTo>
                    <a:lnTo>
                      <a:pt x="1763" y="1307"/>
                    </a:lnTo>
                    <a:lnTo>
                      <a:pt x="1761" y="1309"/>
                    </a:lnTo>
                    <a:lnTo>
                      <a:pt x="1759" y="1309"/>
                    </a:lnTo>
                    <a:lnTo>
                      <a:pt x="1758" y="1310"/>
                    </a:lnTo>
                    <a:lnTo>
                      <a:pt x="1749" y="1312"/>
                    </a:lnTo>
                    <a:lnTo>
                      <a:pt x="1742" y="1315"/>
                    </a:lnTo>
                    <a:lnTo>
                      <a:pt x="1734" y="1315"/>
                    </a:lnTo>
                    <a:lnTo>
                      <a:pt x="1732" y="1315"/>
                    </a:lnTo>
                    <a:lnTo>
                      <a:pt x="1729" y="1316"/>
                    </a:lnTo>
                    <a:lnTo>
                      <a:pt x="1727" y="1316"/>
                    </a:lnTo>
                    <a:lnTo>
                      <a:pt x="1724" y="1318"/>
                    </a:lnTo>
                    <a:lnTo>
                      <a:pt x="1723" y="1320"/>
                    </a:lnTo>
                    <a:lnTo>
                      <a:pt x="1723" y="1321"/>
                    </a:lnTo>
                    <a:lnTo>
                      <a:pt x="1723" y="1322"/>
                    </a:lnTo>
                    <a:lnTo>
                      <a:pt x="1722" y="1322"/>
                    </a:lnTo>
                    <a:lnTo>
                      <a:pt x="1721" y="1323"/>
                    </a:lnTo>
                    <a:lnTo>
                      <a:pt x="1719" y="1323"/>
                    </a:lnTo>
                    <a:lnTo>
                      <a:pt x="1717" y="1326"/>
                    </a:lnTo>
                    <a:lnTo>
                      <a:pt x="1714" y="1328"/>
                    </a:lnTo>
                    <a:lnTo>
                      <a:pt x="1713" y="1331"/>
                    </a:lnTo>
                    <a:lnTo>
                      <a:pt x="1712" y="1333"/>
                    </a:lnTo>
                    <a:lnTo>
                      <a:pt x="1711" y="1335"/>
                    </a:lnTo>
                    <a:lnTo>
                      <a:pt x="1709" y="1336"/>
                    </a:lnTo>
                    <a:lnTo>
                      <a:pt x="1706" y="1336"/>
                    </a:lnTo>
                    <a:lnTo>
                      <a:pt x="1698" y="1337"/>
                    </a:lnTo>
                    <a:lnTo>
                      <a:pt x="1691" y="1337"/>
                    </a:lnTo>
                    <a:lnTo>
                      <a:pt x="1683" y="1340"/>
                    </a:lnTo>
                    <a:lnTo>
                      <a:pt x="1671" y="1346"/>
                    </a:lnTo>
                    <a:lnTo>
                      <a:pt x="1657" y="1347"/>
                    </a:lnTo>
                    <a:lnTo>
                      <a:pt x="1642" y="1347"/>
                    </a:lnTo>
                    <a:lnTo>
                      <a:pt x="1640" y="1347"/>
                    </a:lnTo>
                    <a:lnTo>
                      <a:pt x="1640" y="1346"/>
                    </a:lnTo>
                    <a:lnTo>
                      <a:pt x="1640" y="1345"/>
                    </a:lnTo>
                    <a:lnTo>
                      <a:pt x="1640" y="1343"/>
                    </a:lnTo>
                    <a:lnTo>
                      <a:pt x="1642" y="1342"/>
                    </a:lnTo>
                    <a:lnTo>
                      <a:pt x="1645" y="1341"/>
                    </a:lnTo>
                    <a:lnTo>
                      <a:pt x="1647" y="1340"/>
                    </a:lnTo>
                    <a:lnTo>
                      <a:pt x="1650" y="1340"/>
                    </a:lnTo>
                    <a:lnTo>
                      <a:pt x="1653" y="1340"/>
                    </a:lnTo>
                    <a:lnTo>
                      <a:pt x="1656" y="1340"/>
                    </a:lnTo>
                    <a:lnTo>
                      <a:pt x="1657" y="1340"/>
                    </a:lnTo>
                    <a:lnTo>
                      <a:pt x="1658" y="1338"/>
                    </a:lnTo>
                    <a:lnTo>
                      <a:pt x="1661" y="1337"/>
                    </a:lnTo>
                    <a:lnTo>
                      <a:pt x="1662" y="1335"/>
                    </a:lnTo>
                    <a:lnTo>
                      <a:pt x="1665" y="1333"/>
                    </a:lnTo>
                    <a:lnTo>
                      <a:pt x="1668" y="1331"/>
                    </a:lnTo>
                    <a:lnTo>
                      <a:pt x="1670" y="1331"/>
                    </a:lnTo>
                    <a:lnTo>
                      <a:pt x="1672" y="1330"/>
                    </a:lnTo>
                    <a:lnTo>
                      <a:pt x="1675" y="1330"/>
                    </a:lnTo>
                    <a:lnTo>
                      <a:pt x="1677" y="1330"/>
                    </a:lnTo>
                    <a:lnTo>
                      <a:pt x="1680" y="1328"/>
                    </a:lnTo>
                    <a:lnTo>
                      <a:pt x="1681" y="1327"/>
                    </a:lnTo>
                    <a:lnTo>
                      <a:pt x="1681" y="1326"/>
                    </a:lnTo>
                    <a:lnTo>
                      <a:pt x="1678" y="1321"/>
                    </a:lnTo>
                    <a:lnTo>
                      <a:pt x="1676" y="1317"/>
                    </a:lnTo>
                    <a:lnTo>
                      <a:pt x="1673" y="1312"/>
                    </a:lnTo>
                    <a:lnTo>
                      <a:pt x="1672" y="1311"/>
                    </a:lnTo>
                    <a:lnTo>
                      <a:pt x="1672" y="1309"/>
                    </a:lnTo>
                    <a:lnTo>
                      <a:pt x="1672" y="1305"/>
                    </a:lnTo>
                    <a:lnTo>
                      <a:pt x="1672" y="1301"/>
                    </a:lnTo>
                    <a:lnTo>
                      <a:pt x="1673" y="1299"/>
                    </a:lnTo>
                    <a:lnTo>
                      <a:pt x="1673" y="1297"/>
                    </a:lnTo>
                    <a:lnTo>
                      <a:pt x="1677" y="1296"/>
                    </a:lnTo>
                    <a:lnTo>
                      <a:pt x="1681" y="1296"/>
                    </a:lnTo>
                    <a:lnTo>
                      <a:pt x="1683" y="1295"/>
                    </a:lnTo>
                    <a:lnTo>
                      <a:pt x="1686" y="1295"/>
                    </a:lnTo>
                    <a:lnTo>
                      <a:pt x="1688" y="1294"/>
                    </a:lnTo>
                    <a:lnTo>
                      <a:pt x="1692" y="1295"/>
                    </a:lnTo>
                    <a:lnTo>
                      <a:pt x="1696" y="1295"/>
                    </a:lnTo>
                    <a:lnTo>
                      <a:pt x="1699" y="1295"/>
                    </a:lnTo>
                    <a:lnTo>
                      <a:pt x="1703" y="1294"/>
                    </a:lnTo>
                    <a:lnTo>
                      <a:pt x="1716" y="1292"/>
                    </a:lnTo>
                    <a:lnTo>
                      <a:pt x="1727" y="1290"/>
                    </a:lnTo>
                    <a:lnTo>
                      <a:pt x="1739" y="1286"/>
                    </a:lnTo>
                    <a:lnTo>
                      <a:pt x="1742" y="1286"/>
                    </a:lnTo>
                    <a:close/>
                    <a:moveTo>
                      <a:pt x="1495" y="1261"/>
                    </a:moveTo>
                    <a:lnTo>
                      <a:pt x="1498" y="1261"/>
                    </a:lnTo>
                    <a:lnTo>
                      <a:pt x="1500" y="1263"/>
                    </a:lnTo>
                    <a:lnTo>
                      <a:pt x="1503" y="1263"/>
                    </a:lnTo>
                    <a:lnTo>
                      <a:pt x="1505" y="1264"/>
                    </a:lnTo>
                    <a:lnTo>
                      <a:pt x="1508" y="1265"/>
                    </a:lnTo>
                    <a:lnTo>
                      <a:pt x="1510" y="1266"/>
                    </a:lnTo>
                    <a:lnTo>
                      <a:pt x="1513" y="1266"/>
                    </a:lnTo>
                    <a:lnTo>
                      <a:pt x="1515" y="1266"/>
                    </a:lnTo>
                    <a:lnTo>
                      <a:pt x="1519" y="1267"/>
                    </a:lnTo>
                    <a:lnTo>
                      <a:pt x="1529" y="1269"/>
                    </a:lnTo>
                    <a:lnTo>
                      <a:pt x="1540" y="1272"/>
                    </a:lnTo>
                    <a:lnTo>
                      <a:pt x="1544" y="1274"/>
                    </a:lnTo>
                    <a:lnTo>
                      <a:pt x="1546" y="1274"/>
                    </a:lnTo>
                    <a:lnTo>
                      <a:pt x="1550" y="1274"/>
                    </a:lnTo>
                    <a:lnTo>
                      <a:pt x="1554" y="1274"/>
                    </a:lnTo>
                    <a:lnTo>
                      <a:pt x="1559" y="1275"/>
                    </a:lnTo>
                    <a:lnTo>
                      <a:pt x="1561" y="1277"/>
                    </a:lnTo>
                    <a:lnTo>
                      <a:pt x="1564" y="1279"/>
                    </a:lnTo>
                    <a:lnTo>
                      <a:pt x="1565" y="1280"/>
                    </a:lnTo>
                    <a:lnTo>
                      <a:pt x="1567" y="1282"/>
                    </a:lnTo>
                    <a:lnTo>
                      <a:pt x="1571" y="1284"/>
                    </a:lnTo>
                    <a:lnTo>
                      <a:pt x="1574" y="1284"/>
                    </a:lnTo>
                    <a:lnTo>
                      <a:pt x="1580" y="1285"/>
                    </a:lnTo>
                    <a:lnTo>
                      <a:pt x="1585" y="1286"/>
                    </a:lnTo>
                    <a:lnTo>
                      <a:pt x="1590" y="1286"/>
                    </a:lnTo>
                    <a:lnTo>
                      <a:pt x="1600" y="1290"/>
                    </a:lnTo>
                    <a:lnTo>
                      <a:pt x="1609" y="1290"/>
                    </a:lnTo>
                    <a:lnTo>
                      <a:pt x="1616" y="1292"/>
                    </a:lnTo>
                    <a:lnTo>
                      <a:pt x="1623" y="1296"/>
                    </a:lnTo>
                    <a:lnTo>
                      <a:pt x="1631" y="1297"/>
                    </a:lnTo>
                    <a:lnTo>
                      <a:pt x="1637" y="1297"/>
                    </a:lnTo>
                    <a:lnTo>
                      <a:pt x="1641" y="1299"/>
                    </a:lnTo>
                    <a:lnTo>
                      <a:pt x="1643" y="1300"/>
                    </a:lnTo>
                    <a:lnTo>
                      <a:pt x="1643" y="1302"/>
                    </a:lnTo>
                    <a:lnTo>
                      <a:pt x="1643" y="1304"/>
                    </a:lnTo>
                    <a:lnTo>
                      <a:pt x="1641" y="1306"/>
                    </a:lnTo>
                    <a:lnTo>
                      <a:pt x="1637" y="1309"/>
                    </a:lnTo>
                    <a:lnTo>
                      <a:pt x="1627" y="1312"/>
                    </a:lnTo>
                    <a:lnTo>
                      <a:pt x="1615" y="1317"/>
                    </a:lnTo>
                    <a:lnTo>
                      <a:pt x="1601" y="1320"/>
                    </a:lnTo>
                    <a:lnTo>
                      <a:pt x="1590" y="1320"/>
                    </a:lnTo>
                    <a:lnTo>
                      <a:pt x="1586" y="1318"/>
                    </a:lnTo>
                    <a:lnTo>
                      <a:pt x="1584" y="1317"/>
                    </a:lnTo>
                    <a:lnTo>
                      <a:pt x="1581" y="1316"/>
                    </a:lnTo>
                    <a:lnTo>
                      <a:pt x="1579" y="1316"/>
                    </a:lnTo>
                    <a:lnTo>
                      <a:pt x="1576" y="1317"/>
                    </a:lnTo>
                    <a:lnTo>
                      <a:pt x="1574" y="1320"/>
                    </a:lnTo>
                    <a:lnTo>
                      <a:pt x="1572" y="1322"/>
                    </a:lnTo>
                    <a:lnTo>
                      <a:pt x="1571" y="1325"/>
                    </a:lnTo>
                    <a:lnTo>
                      <a:pt x="1569" y="1326"/>
                    </a:lnTo>
                    <a:lnTo>
                      <a:pt x="1565" y="1327"/>
                    </a:lnTo>
                    <a:lnTo>
                      <a:pt x="1561" y="1327"/>
                    </a:lnTo>
                    <a:lnTo>
                      <a:pt x="1561" y="1325"/>
                    </a:lnTo>
                    <a:lnTo>
                      <a:pt x="1561" y="1321"/>
                    </a:lnTo>
                    <a:lnTo>
                      <a:pt x="1560" y="1317"/>
                    </a:lnTo>
                    <a:lnTo>
                      <a:pt x="1560" y="1313"/>
                    </a:lnTo>
                    <a:lnTo>
                      <a:pt x="1557" y="1310"/>
                    </a:lnTo>
                    <a:lnTo>
                      <a:pt x="1556" y="1309"/>
                    </a:lnTo>
                    <a:lnTo>
                      <a:pt x="1554" y="1307"/>
                    </a:lnTo>
                    <a:lnTo>
                      <a:pt x="1551" y="1306"/>
                    </a:lnTo>
                    <a:lnTo>
                      <a:pt x="1548" y="1306"/>
                    </a:lnTo>
                    <a:lnTo>
                      <a:pt x="1545" y="1306"/>
                    </a:lnTo>
                    <a:lnTo>
                      <a:pt x="1543" y="1306"/>
                    </a:lnTo>
                    <a:lnTo>
                      <a:pt x="1535" y="1300"/>
                    </a:lnTo>
                    <a:lnTo>
                      <a:pt x="1528" y="1294"/>
                    </a:lnTo>
                    <a:lnTo>
                      <a:pt x="1519" y="1289"/>
                    </a:lnTo>
                    <a:lnTo>
                      <a:pt x="1518" y="1289"/>
                    </a:lnTo>
                    <a:lnTo>
                      <a:pt x="1515" y="1290"/>
                    </a:lnTo>
                    <a:lnTo>
                      <a:pt x="1514" y="1291"/>
                    </a:lnTo>
                    <a:lnTo>
                      <a:pt x="1511" y="1292"/>
                    </a:lnTo>
                    <a:lnTo>
                      <a:pt x="1510" y="1294"/>
                    </a:lnTo>
                    <a:lnTo>
                      <a:pt x="1508" y="1295"/>
                    </a:lnTo>
                    <a:lnTo>
                      <a:pt x="1505" y="1296"/>
                    </a:lnTo>
                    <a:lnTo>
                      <a:pt x="1503" y="1296"/>
                    </a:lnTo>
                    <a:lnTo>
                      <a:pt x="1500" y="1295"/>
                    </a:lnTo>
                    <a:lnTo>
                      <a:pt x="1498" y="1294"/>
                    </a:lnTo>
                    <a:lnTo>
                      <a:pt x="1495" y="1292"/>
                    </a:lnTo>
                    <a:lnTo>
                      <a:pt x="1493" y="1291"/>
                    </a:lnTo>
                    <a:lnTo>
                      <a:pt x="1490" y="1292"/>
                    </a:lnTo>
                    <a:lnTo>
                      <a:pt x="1486" y="1294"/>
                    </a:lnTo>
                    <a:lnTo>
                      <a:pt x="1484" y="1295"/>
                    </a:lnTo>
                    <a:lnTo>
                      <a:pt x="1480" y="1295"/>
                    </a:lnTo>
                    <a:lnTo>
                      <a:pt x="1476" y="1295"/>
                    </a:lnTo>
                    <a:lnTo>
                      <a:pt x="1474" y="1292"/>
                    </a:lnTo>
                    <a:lnTo>
                      <a:pt x="1473" y="1291"/>
                    </a:lnTo>
                    <a:lnTo>
                      <a:pt x="1469" y="1290"/>
                    </a:lnTo>
                    <a:lnTo>
                      <a:pt x="1467" y="1289"/>
                    </a:lnTo>
                    <a:lnTo>
                      <a:pt x="1462" y="1289"/>
                    </a:lnTo>
                    <a:lnTo>
                      <a:pt x="1459" y="1290"/>
                    </a:lnTo>
                    <a:lnTo>
                      <a:pt x="1455" y="1290"/>
                    </a:lnTo>
                    <a:lnTo>
                      <a:pt x="1453" y="1292"/>
                    </a:lnTo>
                    <a:lnTo>
                      <a:pt x="1450" y="1295"/>
                    </a:lnTo>
                    <a:lnTo>
                      <a:pt x="1449" y="1296"/>
                    </a:lnTo>
                    <a:lnTo>
                      <a:pt x="1447" y="1297"/>
                    </a:lnTo>
                    <a:lnTo>
                      <a:pt x="1444" y="1299"/>
                    </a:lnTo>
                    <a:lnTo>
                      <a:pt x="1442" y="1299"/>
                    </a:lnTo>
                    <a:lnTo>
                      <a:pt x="1439" y="1299"/>
                    </a:lnTo>
                    <a:lnTo>
                      <a:pt x="1437" y="1300"/>
                    </a:lnTo>
                    <a:lnTo>
                      <a:pt x="1427" y="1306"/>
                    </a:lnTo>
                    <a:lnTo>
                      <a:pt x="1413" y="1309"/>
                    </a:lnTo>
                    <a:lnTo>
                      <a:pt x="1412" y="1309"/>
                    </a:lnTo>
                    <a:lnTo>
                      <a:pt x="1409" y="1307"/>
                    </a:lnTo>
                    <a:lnTo>
                      <a:pt x="1407" y="1306"/>
                    </a:lnTo>
                    <a:lnTo>
                      <a:pt x="1405" y="1306"/>
                    </a:lnTo>
                    <a:lnTo>
                      <a:pt x="1404" y="1305"/>
                    </a:lnTo>
                    <a:lnTo>
                      <a:pt x="1405" y="1302"/>
                    </a:lnTo>
                    <a:lnTo>
                      <a:pt x="1405" y="1301"/>
                    </a:lnTo>
                    <a:lnTo>
                      <a:pt x="1408" y="1300"/>
                    </a:lnTo>
                    <a:lnTo>
                      <a:pt x="1409" y="1299"/>
                    </a:lnTo>
                    <a:lnTo>
                      <a:pt x="1412" y="1297"/>
                    </a:lnTo>
                    <a:lnTo>
                      <a:pt x="1414" y="1296"/>
                    </a:lnTo>
                    <a:lnTo>
                      <a:pt x="1417" y="1296"/>
                    </a:lnTo>
                    <a:lnTo>
                      <a:pt x="1418" y="1295"/>
                    </a:lnTo>
                    <a:lnTo>
                      <a:pt x="1424" y="1290"/>
                    </a:lnTo>
                    <a:lnTo>
                      <a:pt x="1428" y="1286"/>
                    </a:lnTo>
                    <a:lnTo>
                      <a:pt x="1432" y="1281"/>
                    </a:lnTo>
                    <a:lnTo>
                      <a:pt x="1435" y="1279"/>
                    </a:lnTo>
                    <a:lnTo>
                      <a:pt x="1443" y="1279"/>
                    </a:lnTo>
                    <a:lnTo>
                      <a:pt x="1449" y="1279"/>
                    </a:lnTo>
                    <a:lnTo>
                      <a:pt x="1458" y="1280"/>
                    </a:lnTo>
                    <a:lnTo>
                      <a:pt x="1465" y="1281"/>
                    </a:lnTo>
                    <a:lnTo>
                      <a:pt x="1472" y="1281"/>
                    </a:lnTo>
                    <a:lnTo>
                      <a:pt x="1476" y="1279"/>
                    </a:lnTo>
                    <a:lnTo>
                      <a:pt x="1481" y="1274"/>
                    </a:lnTo>
                    <a:lnTo>
                      <a:pt x="1485" y="1270"/>
                    </a:lnTo>
                    <a:lnTo>
                      <a:pt x="1490" y="1266"/>
                    </a:lnTo>
                    <a:lnTo>
                      <a:pt x="1495" y="1261"/>
                    </a:lnTo>
                    <a:close/>
                    <a:moveTo>
                      <a:pt x="1695" y="1253"/>
                    </a:moveTo>
                    <a:lnTo>
                      <a:pt x="1697" y="1254"/>
                    </a:lnTo>
                    <a:lnTo>
                      <a:pt x="1698" y="1254"/>
                    </a:lnTo>
                    <a:lnTo>
                      <a:pt x="1698" y="1256"/>
                    </a:lnTo>
                    <a:lnTo>
                      <a:pt x="1698" y="1259"/>
                    </a:lnTo>
                    <a:lnTo>
                      <a:pt x="1697" y="1260"/>
                    </a:lnTo>
                    <a:lnTo>
                      <a:pt x="1697" y="1260"/>
                    </a:lnTo>
                    <a:lnTo>
                      <a:pt x="1695" y="1260"/>
                    </a:lnTo>
                    <a:lnTo>
                      <a:pt x="1693" y="1260"/>
                    </a:lnTo>
                    <a:lnTo>
                      <a:pt x="1692" y="1260"/>
                    </a:lnTo>
                    <a:lnTo>
                      <a:pt x="1692" y="1258"/>
                    </a:lnTo>
                    <a:lnTo>
                      <a:pt x="1692" y="1256"/>
                    </a:lnTo>
                    <a:lnTo>
                      <a:pt x="1693" y="1254"/>
                    </a:lnTo>
                    <a:lnTo>
                      <a:pt x="1695" y="1253"/>
                    </a:lnTo>
                    <a:close/>
                    <a:moveTo>
                      <a:pt x="1663" y="1248"/>
                    </a:moveTo>
                    <a:lnTo>
                      <a:pt x="1665" y="1249"/>
                    </a:lnTo>
                    <a:lnTo>
                      <a:pt x="1666" y="1251"/>
                    </a:lnTo>
                    <a:lnTo>
                      <a:pt x="1666" y="1253"/>
                    </a:lnTo>
                    <a:lnTo>
                      <a:pt x="1666" y="1254"/>
                    </a:lnTo>
                    <a:lnTo>
                      <a:pt x="1666" y="1255"/>
                    </a:lnTo>
                    <a:lnTo>
                      <a:pt x="1666" y="1255"/>
                    </a:lnTo>
                    <a:lnTo>
                      <a:pt x="1663" y="1256"/>
                    </a:lnTo>
                    <a:lnTo>
                      <a:pt x="1662" y="1258"/>
                    </a:lnTo>
                    <a:lnTo>
                      <a:pt x="1661" y="1256"/>
                    </a:lnTo>
                    <a:lnTo>
                      <a:pt x="1661" y="1255"/>
                    </a:lnTo>
                    <a:lnTo>
                      <a:pt x="1661" y="1254"/>
                    </a:lnTo>
                    <a:lnTo>
                      <a:pt x="1661" y="1251"/>
                    </a:lnTo>
                    <a:lnTo>
                      <a:pt x="1661" y="1250"/>
                    </a:lnTo>
                    <a:lnTo>
                      <a:pt x="1662" y="1249"/>
                    </a:lnTo>
                    <a:lnTo>
                      <a:pt x="1663" y="1248"/>
                    </a:lnTo>
                    <a:close/>
                    <a:moveTo>
                      <a:pt x="1738" y="811"/>
                    </a:moveTo>
                    <a:lnTo>
                      <a:pt x="1736" y="812"/>
                    </a:lnTo>
                    <a:lnTo>
                      <a:pt x="1734" y="815"/>
                    </a:lnTo>
                    <a:lnTo>
                      <a:pt x="1737" y="816"/>
                    </a:lnTo>
                    <a:lnTo>
                      <a:pt x="1739" y="817"/>
                    </a:lnTo>
                    <a:lnTo>
                      <a:pt x="1742" y="819"/>
                    </a:lnTo>
                    <a:lnTo>
                      <a:pt x="1743" y="820"/>
                    </a:lnTo>
                    <a:lnTo>
                      <a:pt x="1744" y="821"/>
                    </a:lnTo>
                    <a:lnTo>
                      <a:pt x="1743" y="816"/>
                    </a:lnTo>
                    <a:lnTo>
                      <a:pt x="1742" y="814"/>
                    </a:lnTo>
                    <a:lnTo>
                      <a:pt x="1741" y="811"/>
                    </a:lnTo>
                    <a:lnTo>
                      <a:pt x="1738" y="811"/>
                    </a:lnTo>
                    <a:close/>
                    <a:moveTo>
                      <a:pt x="3154" y="602"/>
                    </a:moveTo>
                    <a:lnTo>
                      <a:pt x="3152" y="613"/>
                    </a:lnTo>
                    <a:lnTo>
                      <a:pt x="3147" y="625"/>
                    </a:lnTo>
                    <a:lnTo>
                      <a:pt x="3147" y="628"/>
                    </a:lnTo>
                    <a:lnTo>
                      <a:pt x="3146" y="632"/>
                    </a:lnTo>
                    <a:lnTo>
                      <a:pt x="3146" y="634"/>
                    </a:lnTo>
                    <a:lnTo>
                      <a:pt x="3145" y="638"/>
                    </a:lnTo>
                    <a:lnTo>
                      <a:pt x="3146" y="641"/>
                    </a:lnTo>
                    <a:lnTo>
                      <a:pt x="3146" y="643"/>
                    </a:lnTo>
                    <a:lnTo>
                      <a:pt x="3147" y="646"/>
                    </a:lnTo>
                    <a:lnTo>
                      <a:pt x="3147" y="649"/>
                    </a:lnTo>
                    <a:lnTo>
                      <a:pt x="3147" y="653"/>
                    </a:lnTo>
                    <a:lnTo>
                      <a:pt x="3146" y="657"/>
                    </a:lnTo>
                    <a:lnTo>
                      <a:pt x="3146" y="661"/>
                    </a:lnTo>
                    <a:lnTo>
                      <a:pt x="3145" y="663"/>
                    </a:lnTo>
                    <a:lnTo>
                      <a:pt x="3142" y="666"/>
                    </a:lnTo>
                    <a:lnTo>
                      <a:pt x="3140" y="666"/>
                    </a:lnTo>
                    <a:lnTo>
                      <a:pt x="3137" y="668"/>
                    </a:lnTo>
                    <a:lnTo>
                      <a:pt x="3135" y="669"/>
                    </a:lnTo>
                    <a:lnTo>
                      <a:pt x="3132" y="671"/>
                    </a:lnTo>
                    <a:lnTo>
                      <a:pt x="3130" y="674"/>
                    </a:lnTo>
                    <a:lnTo>
                      <a:pt x="3128" y="676"/>
                    </a:lnTo>
                    <a:lnTo>
                      <a:pt x="3126" y="676"/>
                    </a:lnTo>
                    <a:lnTo>
                      <a:pt x="3125" y="677"/>
                    </a:lnTo>
                    <a:lnTo>
                      <a:pt x="3122" y="676"/>
                    </a:lnTo>
                    <a:lnTo>
                      <a:pt x="3120" y="677"/>
                    </a:lnTo>
                    <a:lnTo>
                      <a:pt x="3117" y="678"/>
                    </a:lnTo>
                    <a:lnTo>
                      <a:pt x="3080" y="669"/>
                    </a:lnTo>
                    <a:lnTo>
                      <a:pt x="3080" y="668"/>
                    </a:lnTo>
                    <a:lnTo>
                      <a:pt x="3080" y="664"/>
                    </a:lnTo>
                    <a:lnTo>
                      <a:pt x="3079" y="661"/>
                    </a:lnTo>
                    <a:lnTo>
                      <a:pt x="3077" y="658"/>
                    </a:lnTo>
                    <a:lnTo>
                      <a:pt x="3076" y="656"/>
                    </a:lnTo>
                    <a:lnTo>
                      <a:pt x="3074" y="653"/>
                    </a:lnTo>
                    <a:lnTo>
                      <a:pt x="3072" y="651"/>
                    </a:lnTo>
                    <a:lnTo>
                      <a:pt x="3080" y="646"/>
                    </a:lnTo>
                    <a:lnTo>
                      <a:pt x="3081" y="648"/>
                    </a:lnTo>
                    <a:lnTo>
                      <a:pt x="3082" y="651"/>
                    </a:lnTo>
                    <a:lnTo>
                      <a:pt x="3085" y="653"/>
                    </a:lnTo>
                    <a:lnTo>
                      <a:pt x="3154" y="602"/>
                    </a:lnTo>
                    <a:close/>
                    <a:moveTo>
                      <a:pt x="1306" y="535"/>
                    </a:moveTo>
                    <a:lnTo>
                      <a:pt x="1303" y="535"/>
                    </a:lnTo>
                    <a:lnTo>
                      <a:pt x="1300" y="537"/>
                    </a:lnTo>
                    <a:lnTo>
                      <a:pt x="1297" y="541"/>
                    </a:lnTo>
                    <a:lnTo>
                      <a:pt x="1295" y="544"/>
                    </a:lnTo>
                    <a:lnTo>
                      <a:pt x="1292" y="547"/>
                    </a:lnTo>
                    <a:lnTo>
                      <a:pt x="1291" y="550"/>
                    </a:lnTo>
                    <a:lnTo>
                      <a:pt x="1290" y="552"/>
                    </a:lnTo>
                    <a:lnTo>
                      <a:pt x="1292" y="559"/>
                    </a:lnTo>
                    <a:lnTo>
                      <a:pt x="1298" y="562"/>
                    </a:lnTo>
                    <a:lnTo>
                      <a:pt x="1307" y="562"/>
                    </a:lnTo>
                    <a:lnTo>
                      <a:pt x="1313" y="561"/>
                    </a:lnTo>
                    <a:lnTo>
                      <a:pt x="1316" y="551"/>
                    </a:lnTo>
                    <a:lnTo>
                      <a:pt x="1315" y="542"/>
                    </a:lnTo>
                    <a:lnTo>
                      <a:pt x="1308" y="535"/>
                    </a:lnTo>
                    <a:lnTo>
                      <a:pt x="1306" y="535"/>
                    </a:lnTo>
                    <a:close/>
                    <a:moveTo>
                      <a:pt x="3369" y="534"/>
                    </a:moveTo>
                    <a:lnTo>
                      <a:pt x="3368" y="534"/>
                    </a:lnTo>
                    <a:lnTo>
                      <a:pt x="3366" y="534"/>
                    </a:lnTo>
                    <a:lnTo>
                      <a:pt x="3365" y="535"/>
                    </a:lnTo>
                    <a:lnTo>
                      <a:pt x="3364" y="537"/>
                    </a:lnTo>
                    <a:lnTo>
                      <a:pt x="3363" y="537"/>
                    </a:lnTo>
                    <a:lnTo>
                      <a:pt x="3360" y="540"/>
                    </a:lnTo>
                    <a:lnTo>
                      <a:pt x="3359" y="542"/>
                    </a:lnTo>
                    <a:lnTo>
                      <a:pt x="3356" y="546"/>
                    </a:lnTo>
                    <a:lnTo>
                      <a:pt x="3354" y="551"/>
                    </a:lnTo>
                    <a:lnTo>
                      <a:pt x="3354" y="556"/>
                    </a:lnTo>
                    <a:lnTo>
                      <a:pt x="3353" y="561"/>
                    </a:lnTo>
                    <a:lnTo>
                      <a:pt x="3351" y="567"/>
                    </a:lnTo>
                    <a:lnTo>
                      <a:pt x="3351" y="569"/>
                    </a:lnTo>
                    <a:lnTo>
                      <a:pt x="3351" y="572"/>
                    </a:lnTo>
                    <a:lnTo>
                      <a:pt x="3353" y="576"/>
                    </a:lnTo>
                    <a:lnTo>
                      <a:pt x="3353" y="580"/>
                    </a:lnTo>
                    <a:lnTo>
                      <a:pt x="3353" y="583"/>
                    </a:lnTo>
                    <a:lnTo>
                      <a:pt x="3354" y="585"/>
                    </a:lnTo>
                    <a:lnTo>
                      <a:pt x="3356" y="585"/>
                    </a:lnTo>
                    <a:lnTo>
                      <a:pt x="3359" y="583"/>
                    </a:lnTo>
                    <a:lnTo>
                      <a:pt x="3359" y="583"/>
                    </a:lnTo>
                    <a:lnTo>
                      <a:pt x="3360" y="583"/>
                    </a:lnTo>
                    <a:lnTo>
                      <a:pt x="3361" y="583"/>
                    </a:lnTo>
                    <a:lnTo>
                      <a:pt x="3363" y="582"/>
                    </a:lnTo>
                    <a:lnTo>
                      <a:pt x="3364" y="582"/>
                    </a:lnTo>
                    <a:lnTo>
                      <a:pt x="3365" y="580"/>
                    </a:lnTo>
                    <a:lnTo>
                      <a:pt x="3366" y="576"/>
                    </a:lnTo>
                    <a:lnTo>
                      <a:pt x="3368" y="572"/>
                    </a:lnTo>
                    <a:lnTo>
                      <a:pt x="3368" y="570"/>
                    </a:lnTo>
                    <a:lnTo>
                      <a:pt x="3368" y="567"/>
                    </a:lnTo>
                    <a:lnTo>
                      <a:pt x="3369" y="565"/>
                    </a:lnTo>
                    <a:lnTo>
                      <a:pt x="3370" y="562"/>
                    </a:lnTo>
                    <a:lnTo>
                      <a:pt x="3371" y="560"/>
                    </a:lnTo>
                    <a:lnTo>
                      <a:pt x="3373" y="557"/>
                    </a:lnTo>
                    <a:lnTo>
                      <a:pt x="3373" y="554"/>
                    </a:lnTo>
                    <a:lnTo>
                      <a:pt x="3373" y="551"/>
                    </a:lnTo>
                    <a:lnTo>
                      <a:pt x="3371" y="549"/>
                    </a:lnTo>
                    <a:lnTo>
                      <a:pt x="3370" y="546"/>
                    </a:lnTo>
                    <a:lnTo>
                      <a:pt x="3370" y="544"/>
                    </a:lnTo>
                    <a:lnTo>
                      <a:pt x="3371" y="541"/>
                    </a:lnTo>
                    <a:lnTo>
                      <a:pt x="3373" y="540"/>
                    </a:lnTo>
                    <a:lnTo>
                      <a:pt x="3373" y="537"/>
                    </a:lnTo>
                    <a:lnTo>
                      <a:pt x="3371" y="536"/>
                    </a:lnTo>
                    <a:lnTo>
                      <a:pt x="3370" y="535"/>
                    </a:lnTo>
                    <a:lnTo>
                      <a:pt x="3370" y="534"/>
                    </a:lnTo>
                    <a:lnTo>
                      <a:pt x="3369" y="534"/>
                    </a:lnTo>
                    <a:close/>
                    <a:moveTo>
                      <a:pt x="3320" y="518"/>
                    </a:moveTo>
                    <a:lnTo>
                      <a:pt x="3318" y="518"/>
                    </a:lnTo>
                    <a:lnTo>
                      <a:pt x="3315" y="520"/>
                    </a:lnTo>
                    <a:lnTo>
                      <a:pt x="3313" y="523"/>
                    </a:lnTo>
                    <a:lnTo>
                      <a:pt x="3311" y="525"/>
                    </a:lnTo>
                    <a:lnTo>
                      <a:pt x="3310" y="528"/>
                    </a:lnTo>
                    <a:lnTo>
                      <a:pt x="3309" y="530"/>
                    </a:lnTo>
                    <a:lnTo>
                      <a:pt x="3306" y="532"/>
                    </a:lnTo>
                    <a:lnTo>
                      <a:pt x="3305" y="532"/>
                    </a:lnTo>
                    <a:lnTo>
                      <a:pt x="3303" y="532"/>
                    </a:lnTo>
                    <a:lnTo>
                      <a:pt x="3301" y="532"/>
                    </a:lnTo>
                    <a:lnTo>
                      <a:pt x="3299" y="534"/>
                    </a:lnTo>
                    <a:lnTo>
                      <a:pt x="3297" y="535"/>
                    </a:lnTo>
                    <a:lnTo>
                      <a:pt x="3295" y="537"/>
                    </a:lnTo>
                    <a:lnTo>
                      <a:pt x="3294" y="540"/>
                    </a:lnTo>
                    <a:lnTo>
                      <a:pt x="3294" y="544"/>
                    </a:lnTo>
                    <a:lnTo>
                      <a:pt x="3293" y="547"/>
                    </a:lnTo>
                    <a:lnTo>
                      <a:pt x="3293" y="551"/>
                    </a:lnTo>
                    <a:lnTo>
                      <a:pt x="3292" y="554"/>
                    </a:lnTo>
                    <a:lnTo>
                      <a:pt x="3289" y="562"/>
                    </a:lnTo>
                    <a:lnTo>
                      <a:pt x="3287" y="570"/>
                    </a:lnTo>
                    <a:lnTo>
                      <a:pt x="3285" y="580"/>
                    </a:lnTo>
                    <a:lnTo>
                      <a:pt x="3285" y="606"/>
                    </a:lnTo>
                    <a:lnTo>
                      <a:pt x="3288" y="611"/>
                    </a:lnTo>
                    <a:lnTo>
                      <a:pt x="3288" y="616"/>
                    </a:lnTo>
                    <a:lnTo>
                      <a:pt x="3288" y="622"/>
                    </a:lnTo>
                    <a:lnTo>
                      <a:pt x="3290" y="625"/>
                    </a:lnTo>
                    <a:lnTo>
                      <a:pt x="3292" y="628"/>
                    </a:lnTo>
                    <a:lnTo>
                      <a:pt x="3292" y="629"/>
                    </a:lnTo>
                    <a:lnTo>
                      <a:pt x="3294" y="632"/>
                    </a:lnTo>
                    <a:lnTo>
                      <a:pt x="3294" y="642"/>
                    </a:lnTo>
                    <a:lnTo>
                      <a:pt x="3295" y="644"/>
                    </a:lnTo>
                    <a:lnTo>
                      <a:pt x="3297" y="648"/>
                    </a:lnTo>
                    <a:lnTo>
                      <a:pt x="3297" y="652"/>
                    </a:lnTo>
                    <a:lnTo>
                      <a:pt x="3297" y="656"/>
                    </a:lnTo>
                    <a:lnTo>
                      <a:pt x="3294" y="661"/>
                    </a:lnTo>
                    <a:lnTo>
                      <a:pt x="3293" y="664"/>
                    </a:lnTo>
                    <a:lnTo>
                      <a:pt x="3292" y="668"/>
                    </a:lnTo>
                    <a:lnTo>
                      <a:pt x="3292" y="671"/>
                    </a:lnTo>
                    <a:lnTo>
                      <a:pt x="3289" y="677"/>
                    </a:lnTo>
                    <a:lnTo>
                      <a:pt x="3289" y="682"/>
                    </a:lnTo>
                    <a:lnTo>
                      <a:pt x="3288" y="687"/>
                    </a:lnTo>
                    <a:lnTo>
                      <a:pt x="3288" y="689"/>
                    </a:lnTo>
                    <a:lnTo>
                      <a:pt x="3288" y="692"/>
                    </a:lnTo>
                    <a:lnTo>
                      <a:pt x="3288" y="695"/>
                    </a:lnTo>
                    <a:lnTo>
                      <a:pt x="3288" y="700"/>
                    </a:lnTo>
                    <a:lnTo>
                      <a:pt x="3289" y="700"/>
                    </a:lnTo>
                    <a:lnTo>
                      <a:pt x="3289" y="702"/>
                    </a:lnTo>
                    <a:lnTo>
                      <a:pt x="3290" y="702"/>
                    </a:lnTo>
                    <a:lnTo>
                      <a:pt x="3290" y="702"/>
                    </a:lnTo>
                    <a:lnTo>
                      <a:pt x="3292" y="703"/>
                    </a:lnTo>
                    <a:lnTo>
                      <a:pt x="3294" y="705"/>
                    </a:lnTo>
                    <a:lnTo>
                      <a:pt x="3295" y="708"/>
                    </a:lnTo>
                    <a:lnTo>
                      <a:pt x="3297" y="710"/>
                    </a:lnTo>
                    <a:lnTo>
                      <a:pt x="3297" y="713"/>
                    </a:lnTo>
                    <a:lnTo>
                      <a:pt x="3297" y="715"/>
                    </a:lnTo>
                    <a:lnTo>
                      <a:pt x="3298" y="717"/>
                    </a:lnTo>
                    <a:lnTo>
                      <a:pt x="3299" y="718"/>
                    </a:lnTo>
                    <a:lnTo>
                      <a:pt x="3300" y="719"/>
                    </a:lnTo>
                    <a:lnTo>
                      <a:pt x="3301" y="718"/>
                    </a:lnTo>
                    <a:lnTo>
                      <a:pt x="3303" y="717"/>
                    </a:lnTo>
                    <a:lnTo>
                      <a:pt x="3305" y="714"/>
                    </a:lnTo>
                    <a:lnTo>
                      <a:pt x="3306" y="712"/>
                    </a:lnTo>
                    <a:lnTo>
                      <a:pt x="3309" y="710"/>
                    </a:lnTo>
                    <a:lnTo>
                      <a:pt x="3311" y="710"/>
                    </a:lnTo>
                    <a:lnTo>
                      <a:pt x="3313" y="709"/>
                    </a:lnTo>
                    <a:lnTo>
                      <a:pt x="3313" y="708"/>
                    </a:lnTo>
                    <a:lnTo>
                      <a:pt x="3315" y="708"/>
                    </a:lnTo>
                    <a:lnTo>
                      <a:pt x="3316" y="707"/>
                    </a:lnTo>
                    <a:lnTo>
                      <a:pt x="3318" y="704"/>
                    </a:lnTo>
                    <a:lnTo>
                      <a:pt x="3318" y="703"/>
                    </a:lnTo>
                    <a:lnTo>
                      <a:pt x="3318" y="700"/>
                    </a:lnTo>
                    <a:lnTo>
                      <a:pt x="3319" y="682"/>
                    </a:lnTo>
                    <a:lnTo>
                      <a:pt x="3320" y="666"/>
                    </a:lnTo>
                    <a:lnTo>
                      <a:pt x="3320" y="663"/>
                    </a:lnTo>
                    <a:lnTo>
                      <a:pt x="3320" y="661"/>
                    </a:lnTo>
                    <a:lnTo>
                      <a:pt x="3319" y="658"/>
                    </a:lnTo>
                    <a:lnTo>
                      <a:pt x="3319" y="656"/>
                    </a:lnTo>
                    <a:lnTo>
                      <a:pt x="3318" y="656"/>
                    </a:lnTo>
                    <a:lnTo>
                      <a:pt x="3316" y="654"/>
                    </a:lnTo>
                    <a:lnTo>
                      <a:pt x="3315" y="653"/>
                    </a:lnTo>
                    <a:lnTo>
                      <a:pt x="3315" y="651"/>
                    </a:lnTo>
                    <a:lnTo>
                      <a:pt x="3315" y="648"/>
                    </a:lnTo>
                    <a:lnTo>
                      <a:pt x="3315" y="646"/>
                    </a:lnTo>
                    <a:lnTo>
                      <a:pt x="3315" y="644"/>
                    </a:lnTo>
                    <a:lnTo>
                      <a:pt x="3316" y="644"/>
                    </a:lnTo>
                    <a:lnTo>
                      <a:pt x="3316" y="644"/>
                    </a:lnTo>
                    <a:lnTo>
                      <a:pt x="3318" y="644"/>
                    </a:lnTo>
                    <a:lnTo>
                      <a:pt x="3318" y="644"/>
                    </a:lnTo>
                    <a:lnTo>
                      <a:pt x="3319" y="646"/>
                    </a:lnTo>
                    <a:lnTo>
                      <a:pt x="3321" y="646"/>
                    </a:lnTo>
                    <a:lnTo>
                      <a:pt x="3324" y="646"/>
                    </a:lnTo>
                    <a:lnTo>
                      <a:pt x="3325" y="644"/>
                    </a:lnTo>
                    <a:lnTo>
                      <a:pt x="3326" y="643"/>
                    </a:lnTo>
                    <a:lnTo>
                      <a:pt x="3326" y="641"/>
                    </a:lnTo>
                    <a:lnTo>
                      <a:pt x="3326" y="638"/>
                    </a:lnTo>
                    <a:lnTo>
                      <a:pt x="3326" y="636"/>
                    </a:lnTo>
                    <a:lnTo>
                      <a:pt x="3325" y="633"/>
                    </a:lnTo>
                    <a:lnTo>
                      <a:pt x="3325" y="632"/>
                    </a:lnTo>
                    <a:lnTo>
                      <a:pt x="3324" y="629"/>
                    </a:lnTo>
                    <a:lnTo>
                      <a:pt x="3323" y="627"/>
                    </a:lnTo>
                    <a:lnTo>
                      <a:pt x="3323" y="626"/>
                    </a:lnTo>
                    <a:lnTo>
                      <a:pt x="3321" y="625"/>
                    </a:lnTo>
                    <a:lnTo>
                      <a:pt x="3320" y="623"/>
                    </a:lnTo>
                    <a:lnTo>
                      <a:pt x="3318" y="625"/>
                    </a:lnTo>
                    <a:lnTo>
                      <a:pt x="3316" y="623"/>
                    </a:lnTo>
                    <a:lnTo>
                      <a:pt x="3316" y="622"/>
                    </a:lnTo>
                    <a:lnTo>
                      <a:pt x="3316" y="620"/>
                    </a:lnTo>
                    <a:lnTo>
                      <a:pt x="3316" y="617"/>
                    </a:lnTo>
                    <a:lnTo>
                      <a:pt x="3316" y="613"/>
                    </a:lnTo>
                    <a:lnTo>
                      <a:pt x="3318" y="611"/>
                    </a:lnTo>
                    <a:lnTo>
                      <a:pt x="3318" y="608"/>
                    </a:lnTo>
                    <a:lnTo>
                      <a:pt x="3316" y="606"/>
                    </a:lnTo>
                    <a:lnTo>
                      <a:pt x="3316" y="605"/>
                    </a:lnTo>
                    <a:lnTo>
                      <a:pt x="3315" y="603"/>
                    </a:lnTo>
                    <a:lnTo>
                      <a:pt x="3314" y="602"/>
                    </a:lnTo>
                    <a:lnTo>
                      <a:pt x="3313" y="601"/>
                    </a:lnTo>
                    <a:lnTo>
                      <a:pt x="3313" y="598"/>
                    </a:lnTo>
                    <a:lnTo>
                      <a:pt x="3313" y="585"/>
                    </a:lnTo>
                    <a:lnTo>
                      <a:pt x="3311" y="582"/>
                    </a:lnTo>
                    <a:lnTo>
                      <a:pt x="3310" y="580"/>
                    </a:lnTo>
                    <a:lnTo>
                      <a:pt x="3309" y="577"/>
                    </a:lnTo>
                    <a:lnTo>
                      <a:pt x="3310" y="572"/>
                    </a:lnTo>
                    <a:lnTo>
                      <a:pt x="3311" y="567"/>
                    </a:lnTo>
                    <a:lnTo>
                      <a:pt x="3313" y="562"/>
                    </a:lnTo>
                    <a:lnTo>
                      <a:pt x="3315" y="559"/>
                    </a:lnTo>
                    <a:lnTo>
                      <a:pt x="3316" y="556"/>
                    </a:lnTo>
                    <a:lnTo>
                      <a:pt x="3318" y="555"/>
                    </a:lnTo>
                    <a:lnTo>
                      <a:pt x="3319" y="554"/>
                    </a:lnTo>
                    <a:lnTo>
                      <a:pt x="3321" y="554"/>
                    </a:lnTo>
                    <a:lnTo>
                      <a:pt x="3323" y="555"/>
                    </a:lnTo>
                    <a:lnTo>
                      <a:pt x="3325" y="556"/>
                    </a:lnTo>
                    <a:lnTo>
                      <a:pt x="3325" y="556"/>
                    </a:lnTo>
                    <a:lnTo>
                      <a:pt x="3326" y="557"/>
                    </a:lnTo>
                    <a:lnTo>
                      <a:pt x="3328" y="559"/>
                    </a:lnTo>
                    <a:lnTo>
                      <a:pt x="3329" y="559"/>
                    </a:lnTo>
                    <a:lnTo>
                      <a:pt x="3329" y="559"/>
                    </a:lnTo>
                    <a:lnTo>
                      <a:pt x="3330" y="559"/>
                    </a:lnTo>
                    <a:lnTo>
                      <a:pt x="3330" y="556"/>
                    </a:lnTo>
                    <a:lnTo>
                      <a:pt x="3330" y="551"/>
                    </a:lnTo>
                    <a:lnTo>
                      <a:pt x="3330" y="546"/>
                    </a:lnTo>
                    <a:lnTo>
                      <a:pt x="3328" y="541"/>
                    </a:lnTo>
                    <a:lnTo>
                      <a:pt x="3325" y="531"/>
                    </a:lnTo>
                    <a:lnTo>
                      <a:pt x="3323" y="523"/>
                    </a:lnTo>
                    <a:lnTo>
                      <a:pt x="3320" y="518"/>
                    </a:lnTo>
                    <a:close/>
                    <a:moveTo>
                      <a:pt x="3455" y="515"/>
                    </a:moveTo>
                    <a:lnTo>
                      <a:pt x="3452" y="515"/>
                    </a:lnTo>
                    <a:lnTo>
                      <a:pt x="3448" y="515"/>
                    </a:lnTo>
                    <a:lnTo>
                      <a:pt x="3446" y="518"/>
                    </a:lnTo>
                    <a:lnTo>
                      <a:pt x="3445" y="521"/>
                    </a:lnTo>
                    <a:lnTo>
                      <a:pt x="3442" y="525"/>
                    </a:lnTo>
                    <a:lnTo>
                      <a:pt x="3441" y="528"/>
                    </a:lnTo>
                    <a:lnTo>
                      <a:pt x="3441" y="530"/>
                    </a:lnTo>
                    <a:lnTo>
                      <a:pt x="3440" y="534"/>
                    </a:lnTo>
                    <a:lnTo>
                      <a:pt x="3440" y="539"/>
                    </a:lnTo>
                    <a:lnTo>
                      <a:pt x="3441" y="542"/>
                    </a:lnTo>
                    <a:lnTo>
                      <a:pt x="3441" y="546"/>
                    </a:lnTo>
                    <a:lnTo>
                      <a:pt x="3441" y="545"/>
                    </a:lnTo>
                    <a:lnTo>
                      <a:pt x="3442" y="544"/>
                    </a:lnTo>
                    <a:lnTo>
                      <a:pt x="3442" y="540"/>
                    </a:lnTo>
                    <a:lnTo>
                      <a:pt x="3444" y="537"/>
                    </a:lnTo>
                    <a:lnTo>
                      <a:pt x="3444" y="535"/>
                    </a:lnTo>
                    <a:lnTo>
                      <a:pt x="3444" y="532"/>
                    </a:lnTo>
                    <a:lnTo>
                      <a:pt x="3445" y="531"/>
                    </a:lnTo>
                    <a:lnTo>
                      <a:pt x="3446" y="529"/>
                    </a:lnTo>
                    <a:lnTo>
                      <a:pt x="3447" y="528"/>
                    </a:lnTo>
                    <a:lnTo>
                      <a:pt x="3447" y="526"/>
                    </a:lnTo>
                    <a:lnTo>
                      <a:pt x="3448" y="525"/>
                    </a:lnTo>
                    <a:lnTo>
                      <a:pt x="3451" y="524"/>
                    </a:lnTo>
                    <a:lnTo>
                      <a:pt x="3455" y="523"/>
                    </a:lnTo>
                    <a:lnTo>
                      <a:pt x="3457" y="521"/>
                    </a:lnTo>
                    <a:lnTo>
                      <a:pt x="3460" y="520"/>
                    </a:lnTo>
                    <a:lnTo>
                      <a:pt x="3460" y="520"/>
                    </a:lnTo>
                    <a:lnTo>
                      <a:pt x="3461" y="520"/>
                    </a:lnTo>
                    <a:lnTo>
                      <a:pt x="3462" y="519"/>
                    </a:lnTo>
                    <a:lnTo>
                      <a:pt x="3462" y="518"/>
                    </a:lnTo>
                    <a:lnTo>
                      <a:pt x="3461" y="518"/>
                    </a:lnTo>
                    <a:lnTo>
                      <a:pt x="3458" y="518"/>
                    </a:lnTo>
                    <a:lnTo>
                      <a:pt x="3457" y="516"/>
                    </a:lnTo>
                    <a:lnTo>
                      <a:pt x="3456" y="515"/>
                    </a:lnTo>
                    <a:lnTo>
                      <a:pt x="3455" y="515"/>
                    </a:lnTo>
                    <a:close/>
                    <a:moveTo>
                      <a:pt x="1798" y="457"/>
                    </a:moveTo>
                    <a:lnTo>
                      <a:pt x="2522" y="658"/>
                    </a:lnTo>
                    <a:lnTo>
                      <a:pt x="3339" y="851"/>
                    </a:lnTo>
                    <a:lnTo>
                      <a:pt x="3360" y="852"/>
                    </a:lnTo>
                    <a:lnTo>
                      <a:pt x="3394" y="862"/>
                    </a:lnTo>
                    <a:lnTo>
                      <a:pt x="3405" y="863"/>
                    </a:lnTo>
                    <a:lnTo>
                      <a:pt x="3054" y="1207"/>
                    </a:lnTo>
                    <a:lnTo>
                      <a:pt x="3095" y="1290"/>
                    </a:lnTo>
                    <a:lnTo>
                      <a:pt x="3750" y="1944"/>
                    </a:lnTo>
                    <a:lnTo>
                      <a:pt x="3306" y="2387"/>
                    </a:lnTo>
                    <a:lnTo>
                      <a:pt x="2601" y="1684"/>
                    </a:lnTo>
                    <a:lnTo>
                      <a:pt x="2250" y="2035"/>
                    </a:lnTo>
                    <a:lnTo>
                      <a:pt x="2172" y="1780"/>
                    </a:lnTo>
                    <a:lnTo>
                      <a:pt x="2055" y="1362"/>
                    </a:lnTo>
                    <a:lnTo>
                      <a:pt x="1798" y="457"/>
                    </a:lnTo>
                    <a:close/>
                    <a:moveTo>
                      <a:pt x="1016" y="419"/>
                    </a:moveTo>
                    <a:lnTo>
                      <a:pt x="1011" y="419"/>
                    </a:lnTo>
                    <a:lnTo>
                      <a:pt x="1007" y="422"/>
                    </a:lnTo>
                    <a:lnTo>
                      <a:pt x="1007" y="427"/>
                    </a:lnTo>
                    <a:lnTo>
                      <a:pt x="1008" y="431"/>
                    </a:lnTo>
                    <a:lnTo>
                      <a:pt x="1009" y="432"/>
                    </a:lnTo>
                    <a:lnTo>
                      <a:pt x="1011" y="434"/>
                    </a:lnTo>
                    <a:lnTo>
                      <a:pt x="1013" y="435"/>
                    </a:lnTo>
                    <a:lnTo>
                      <a:pt x="1017" y="437"/>
                    </a:lnTo>
                    <a:lnTo>
                      <a:pt x="1019" y="438"/>
                    </a:lnTo>
                    <a:lnTo>
                      <a:pt x="1023" y="440"/>
                    </a:lnTo>
                    <a:lnTo>
                      <a:pt x="1024" y="443"/>
                    </a:lnTo>
                    <a:lnTo>
                      <a:pt x="1026" y="445"/>
                    </a:lnTo>
                    <a:lnTo>
                      <a:pt x="1026" y="449"/>
                    </a:lnTo>
                    <a:lnTo>
                      <a:pt x="1027" y="453"/>
                    </a:lnTo>
                    <a:lnTo>
                      <a:pt x="1028" y="455"/>
                    </a:lnTo>
                    <a:lnTo>
                      <a:pt x="1029" y="459"/>
                    </a:lnTo>
                    <a:lnTo>
                      <a:pt x="1031" y="465"/>
                    </a:lnTo>
                    <a:lnTo>
                      <a:pt x="1032" y="473"/>
                    </a:lnTo>
                    <a:lnTo>
                      <a:pt x="1034" y="477"/>
                    </a:lnTo>
                    <a:lnTo>
                      <a:pt x="1036" y="477"/>
                    </a:lnTo>
                    <a:lnTo>
                      <a:pt x="1037" y="470"/>
                    </a:lnTo>
                    <a:lnTo>
                      <a:pt x="1037" y="463"/>
                    </a:lnTo>
                    <a:lnTo>
                      <a:pt x="1036" y="455"/>
                    </a:lnTo>
                    <a:lnTo>
                      <a:pt x="1037" y="444"/>
                    </a:lnTo>
                    <a:lnTo>
                      <a:pt x="1036" y="432"/>
                    </a:lnTo>
                    <a:lnTo>
                      <a:pt x="1033" y="428"/>
                    </a:lnTo>
                    <a:lnTo>
                      <a:pt x="1028" y="424"/>
                    </a:lnTo>
                    <a:lnTo>
                      <a:pt x="1022" y="421"/>
                    </a:lnTo>
                    <a:lnTo>
                      <a:pt x="1016" y="419"/>
                    </a:lnTo>
                    <a:close/>
                    <a:moveTo>
                      <a:pt x="1055" y="392"/>
                    </a:moveTo>
                    <a:lnTo>
                      <a:pt x="1049" y="393"/>
                    </a:lnTo>
                    <a:lnTo>
                      <a:pt x="1045" y="397"/>
                    </a:lnTo>
                    <a:lnTo>
                      <a:pt x="1044" y="403"/>
                    </a:lnTo>
                    <a:lnTo>
                      <a:pt x="1044" y="407"/>
                    </a:lnTo>
                    <a:lnTo>
                      <a:pt x="1045" y="411"/>
                    </a:lnTo>
                    <a:lnTo>
                      <a:pt x="1048" y="414"/>
                    </a:lnTo>
                    <a:lnTo>
                      <a:pt x="1052" y="417"/>
                    </a:lnTo>
                    <a:lnTo>
                      <a:pt x="1054" y="418"/>
                    </a:lnTo>
                    <a:lnTo>
                      <a:pt x="1057" y="419"/>
                    </a:lnTo>
                    <a:lnTo>
                      <a:pt x="1058" y="421"/>
                    </a:lnTo>
                    <a:lnTo>
                      <a:pt x="1059" y="422"/>
                    </a:lnTo>
                    <a:lnTo>
                      <a:pt x="1059" y="423"/>
                    </a:lnTo>
                    <a:lnTo>
                      <a:pt x="1059" y="426"/>
                    </a:lnTo>
                    <a:lnTo>
                      <a:pt x="1059" y="429"/>
                    </a:lnTo>
                    <a:lnTo>
                      <a:pt x="1062" y="440"/>
                    </a:lnTo>
                    <a:lnTo>
                      <a:pt x="1068" y="450"/>
                    </a:lnTo>
                    <a:lnTo>
                      <a:pt x="1075" y="459"/>
                    </a:lnTo>
                    <a:lnTo>
                      <a:pt x="1078" y="462"/>
                    </a:lnTo>
                    <a:lnTo>
                      <a:pt x="1083" y="465"/>
                    </a:lnTo>
                    <a:lnTo>
                      <a:pt x="1088" y="472"/>
                    </a:lnTo>
                    <a:lnTo>
                      <a:pt x="1094" y="475"/>
                    </a:lnTo>
                    <a:lnTo>
                      <a:pt x="1099" y="479"/>
                    </a:lnTo>
                    <a:lnTo>
                      <a:pt x="1102" y="479"/>
                    </a:lnTo>
                    <a:lnTo>
                      <a:pt x="1103" y="475"/>
                    </a:lnTo>
                    <a:lnTo>
                      <a:pt x="1102" y="469"/>
                    </a:lnTo>
                    <a:lnTo>
                      <a:pt x="1099" y="462"/>
                    </a:lnTo>
                    <a:lnTo>
                      <a:pt x="1097" y="455"/>
                    </a:lnTo>
                    <a:lnTo>
                      <a:pt x="1094" y="450"/>
                    </a:lnTo>
                    <a:lnTo>
                      <a:pt x="1092" y="443"/>
                    </a:lnTo>
                    <a:lnTo>
                      <a:pt x="1092" y="433"/>
                    </a:lnTo>
                    <a:lnTo>
                      <a:pt x="1090" y="423"/>
                    </a:lnTo>
                    <a:lnTo>
                      <a:pt x="1090" y="413"/>
                    </a:lnTo>
                    <a:lnTo>
                      <a:pt x="1088" y="404"/>
                    </a:lnTo>
                    <a:lnTo>
                      <a:pt x="1083" y="397"/>
                    </a:lnTo>
                    <a:lnTo>
                      <a:pt x="1075" y="393"/>
                    </a:lnTo>
                    <a:lnTo>
                      <a:pt x="1070" y="393"/>
                    </a:lnTo>
                    <a:lnTo>
                      <a:pt x="1063" y="392"/>
                    </a:lnTo>
                    <a:lnTo>
                      <a:pt x="1055" y="392"/>
                    </a:lnTo>
                    <a:close/>
                    <a:moveTo>
                      <a:pt x="2853" y="335"/>
                    </a:moveTo>
                    <a:lnTo>
                      <a:pt x="2858" y="342"/>
                    </a:lnTo>
                    <a:lnTo>
                      <a:pt x="2862" y="352"/>
                    </a:lnTo>
                    <a:lnTo>
                      <a:pt x="2864" y="361"/>
                    </a:lnTo>
                    <a:lnTo>
                      <a:pt x="2867" y="368"/>
                    </a:lnTo>
                    <a:lnTo>
                      <a:pt x="2865" y="376"/>
                    </a:lnTo>
                    <a:lnTo>
                      <a:pt x="2862" y="382"/>
                    </a:lnTo>
                    <a:lnTo>
                      <a:pt x="2859" y="388"/>
                    </a:lnTo>
                    <a:lnTo>
                      <a:pt x="2859" y="413"/>
                    </a:lnTo>
                    <a:lnTo>
                      <a:pt x="2859" y="417"/>
                    </a:lnTo>
                    <a:lnTo>
                      <a:pt x="2859" y="419"/>
                    </a:lnTo>
                    <a:lnTo>
                      <a:pt x="2859" y="423"/>
                    </a:lnTo>
                    <a:lnTo>
                      <a:pt x="2858" y="426"/>
                    </a:lnTo>
                    <a:lnTo>
                      <a:pt x="2857" y="428"/>
                    </a:lnTo>
                    <a:lnTo>
                      <a:pt x="2854" y="434"/>
                    </a:lnTo>
                    <a:lnTo>
                      <a:pt x="2853" y="443"/>
                    </a:lnTo>
                    <a:lnTo>
                      <a:pt x="2851" y="450"/>
                    </a:lnTo>
                    <a:lnTo>
                      <a:pt x="2849" y="457"/>
                    </a:lnTo>
                    <a:lnTo>
                      <a:pt x="2846" y="458"/>
                    </a:lnTo>
                    <a:lnTo>
                      <a:pt x="2841" y="455"/>
                    </a:lnTo>
                    <a:lnTo>
                      <a:pt x="2841" y="454"/>
                    </a:lnTo>
                    <a:lnTo>
                      <a:pt x="2839" y="452"/>
                    </a:lnTo>
                    <a:lnTo>
                      <a:pt x="2839" y="450"/>
                    </a:lnTo>
                    <a:lnTo>
                      <a:pt x="2838" y="448"/>
                    </a:lnTo>
                    <a:lnTo>
                      <a:pt x="2838" y="448"/>
                    </a:lnTo>
                    <a:lnTo>
                      <a:pt x="2837" y="448"/>
                    </a:lnTo>
                    <a:lnTo>
                      <a:pt x="2833" y="452"/>
                    </a:lnTo>
                    <a:lnTo>
                      <a:pt x="2831" y="453"/>
                    </a:lnTo>
                    <a:lnTo>
                      <a:pt x="2829" y="454"/>
                    </a:lnTo>
                    <a:lnTo>
                      <a:pt x="2827" y="453"/>
                    </a:lnTo>
                    <a:lnTo>
                      <a:pt x="2823" y="448"/>
                    </a:lnTo>
                    <a:lnTo>
                      <a:pt x="2819" y="440"/>
                    </a:lnTo>
                    <a:lnTo>
                      <a:pt x="2819" y="432"/>
                    </a:lnTo>
                    <a:lnTo>
                      <a:pt x="2823" y="423"/>
                    </a:lnTo>
                    <a:lnTo>
                      <a:pt x="2824" y="421"/>
                    </a:lnTo>
                    <a:lnTo>
                      <a:pt x="2824" y="418"/>
                    </a:lnTo>
                    <a:lnTo>
                      <a:pt x="2824" y="414"/>
                    </a:lnTo>
                    <a:lnTo>
                      <a:pt x="2826" y="411"/>
                    </a:lnTo>
                    <a:lnTo>
                      <a:pt x="2827" y="407"/>
                    </a:lnTo>
                    <a:lnTo>
                      <a:pt x="2827" y="404"/>
                    </a:lnTo>
                    <a:lnTo>
                      <a:pt x="2828" y="402"/>
                    </a:lnTo>
                    <a:lnTo>
                      <a:pt x="2829" y="401"/>
                    </a:lnTo>
                    <a:lnTo>
                      <a:pt x="2829" y="397"/>
                    </a:lnTo>
                    <a:lnTo>
                      <a:pt x="2827" y="393"/>
                    </a:lnTo>
                    <a:lnTo>
                      <a:pt x="2824" y="389"/>
                    </a:lnTo>
                    <a:lnTo>
                      <a:pt x="2822" y="387"/>
                    </a:lnTo>
                    <a:lnTo>
                      <a:pt x="2821" y="383"/>
                    </a:lnTo>
                    <a:lnTo>
                      <a:pt x="2819" y="381"/>
                    </a:lnTo>
                    <a:lnTo>
                      <a:pt x="2821" y="377"/>
                    </a:lnTo>
                    <a:lnTo>
                      <a:pt x="2821" y="373"/>
                    </a:lnTo>
                    <a:lnTo>
                      <a:pt x="2822" y="370"/>
                    </a:lnTo>
                    <a:lnTo>
                      <a:pt x="2823" y="367"/>
                    </a:lnTo>
                    <a:lnTo>
                      <a:pt x="2826" y="366"/>
                    </a:lnTo>
                    <a:lnTo>
                      <a:pt x="2827" y="365"/>
                    </a:lnTo>
                    <a:lnTo>
                      <a:pt x="2829" y="363"/>
                    </a:lnTo>
                    <a:lnTo>
                      <a:pt x="2832" y="362"/>
                    </a:lnTo>
                    <a:lnTo>
                      <a:pt x="2833" y="362"/>
                    </a:lnTo>
                    <a:lnTo>
                      <a:pt x="2836" y="362"/>
                    </a:lnTo>
                    <a:lnTo>
                      <a:pt x="2837" y="363"/>
                    </a:lnTo>
                    <a:lnTo>
                      <a:pt x="2838" y="366"/>
                    </a:lnTo>
                    <a:lnTo>
                      <a:pt x="2839" y="368"/>
                    </a:lnTo>
                    <a:lnTo>
                      <a:pt x="2841" y="372"/>
                    </a:lnTo>
                    <a:lnTo>
                      <a:pt x="2842" y="375"/>
                    </a:lnTo>
                    <a:lnTo>
                      <a:pt x="2843" y="376"/>
                    </a:lnTo>
                    <a:lnTo>
                      <a:pt x="2844" y="376"/>
                    </a:lnTo>
                    <a:lnTo>
                      <a:pt x="2844" y="376"/>
                    </a:lnTo>
                    <a:lnTo>
                      <a:pt x="2844" y="373"/>
                    </a:lnTo>
                    <a:lnTo>
                      <a:pt x="2844" y="372"/>
                    </a:lnTo>
                    <a:lnTo>
                      <a:pt x="2844" y="370"/>
                    </a:lnTo>
                    <a:lnTo>
                      <a:pt x="2843" y="368"/>
                    </a:lnTo>
                    <a:lnTo>
                      <a:pt x="2843" y="368"/>
                    </a:lnTo>
                    <a:lnTo>
                      <a:pt x="2843" y="358"/>
                    </a:lnTo>
                    <a:lnTo>
                      <a:pt x="2844" y="356"/>
                    </a:lnTo>
                    <a:lnTo>
                      <a:pt x="2843" y="353"/>
                    </a:lnTo>
                    <a:lnTo>
                      <a:pt x="2842" y="352"/>
                    </a:lnTo>
                    <a:lnTo>
                      <a:pt x="2841" y="351"/>
                    </a:lnTo>
                    <a:lnTo>
                      <a:pt x="2839" y="351"/>
                    </a:lnTo>
                    <a:lnTo>
                      <a:pt x="2839" y="347"/>
                    </a:lnTo>
                    <a:lnTo>
                      <a:pt x="2841" y="345"/>
                    </a:lnTo>
                    <a:lnTo>
                      <a:pt x="2842" y="342"/>
                    </a:lnTo>
                    <a:lnTo>
                      <a:pt x="2843" y="341"/>
                    </a:lnTo>
                    <a:lnTo>
                      <a:pt x="2843" y="341"/>
                    </a:lnTo>
                    <a:lnTo>
                      <a:pt x="2846" y="341"/>
                    </a:lnTo>
                    <a:lnTo>
                      <a:pt x="2848" y="340"/>
                    </a:lnTo>
                    <a:lnTo>
                      <a:pt x="2851" y="338"/>
                    </a:lnTo>
                    <a:lnTo>
                      <a:pt x="2853" y="335"/>
                    </a:lnTo>
                    <a:close/>
                    <a:moveTo>
                      <a:pt x="372" y="283"/>
                    </a:moveTo>
                    <a:lnTo>
                      <a:pt x="374" y="284"/>
                    </a:lnTo>
                    <a:lnTo>
                      <a:pt x="374" y="284"/>
                    </a:lnTo>
                    <a:lnTo>
                      <a:pt x="375" y="285"/>
                    </a:lnTo>
                    <a:lnTo>
                      <a:pt x="375" y="286"/>
                    </a:lnTo>
                    <a:lnTo>
                      <a:pt x="374" y="287"/>
                    </a:lnTo>
                    <a:lnTo>
                      <a:pt x="374" y="289"/>
                    </a:lnTo>
                    <a:lnTo>
                      <a:pt x="372" y="289"/>
                    </a:lnTo>
                    <a:lnTo>
                      <a:pt x="369" y="289"/>
                    </a:lnTo>
                    <a:lnTo>
                      <a:pt x="368" y="287"/>
                    </a:lnTo>
                    <a:lnTo>
                      <a:pt x="368" y="286"/>
                    </a:lnTo>
                    <a:lnTo>
                      <a:pt x="368" y="284"/>
                    </a:lnTo>
                    <a:lnTo>
                      <a:pt x="369" y="284"/>
                    </a:lnTo>
                    <a:lnTo>
                      <a:pt x="372" y="283"/>
                    </a:lnTo>
                    <a:close/>
                    <a:moveTo>
                      <a:pt x="3588" y="270"/>
                    </a:moveTo>
                    <a:lnTo>
                      <a:pt x="3588" y="413"/>
                    </a:lnTo>
                    <a:lnTo>
                      <a:pt x="3582" y="506"/>
                    </a:lnTo>
                    <a:lnTo>
                      <a:pt x="3571" y="598"/>
                    </a:lnTo>
                    <a:lnTo>
                      <a:pt x="3554" y="689"/>
                    </a:lnTo>
                    <a:lnTo>
                      <a:pt x="3534" y="777"/>
                    </a:lnTo>
                    <a:lnTo>
                      <a:pt x="3528" y="774"/>
                    </a:lnTo>
                    <a:lnTo>
                      <a:pt x="3521" y="770"/>
                    </a:lnTo>
                    <a:lnTo>
                      <a:pt x="3515" y="768"/>
                    </a:lnTo>
                    <a:lnTo>
                      <a:pt x="3475" y="756"/>
                    </a:lnTo>
                    <a:lnTo>
                      <a:pt x="3434" y="749"/>
                    </a:lnTo>
                    <a:lnTo>
                      <a:pt x="3394" y="745"/>
                    </a:lnTo>
                    <a:lnTo>
                      <a:pt x="3391" y="746"/>
                    </a:lnTo>
                    <a:lnTo>
                      <a:pt x="3389" y="746"/>
                    </a:lnTo>
                    <a:lnTo>
                      <a:pt x="3384" y="743"/>
                    </a:lnTo>
                    <a:lnTo>
                      <a:pt x="3377" y="740"/>
                    </a:lnTo>
                    <a:lnTo>
                      <a:pt x="3370" y="738"/>
                    </a:lnTo>
                    <a:lnTo>
                      <a:pt x="3142" y="684"/>
                    </a:lnTo>
                    <a:lnTo>
                      <a:pt x="3145" y="682"/>
                    </a:lnTo>
                    <a:lnTo>
                      <a:pt x="3146" y="680"/>
                    </a:lnTo>
                    <a:lnTo>
                      <a:pt x="3148" y="680"/>
                    </a:lnTo>
                    <a:lnTo>
                      <a:pt x="3150" y="680"/>
                    </a:lnTo>
                    <a:lnTo>
                      <a:pt x="3152" y="682"/>
                    </a:lnTo>
                    <a:lnTo>
                      <a:pt x="3154" y="682"/>
                    </a:lnTo>
                    <a:lnTo>
                      <a:pt x="3159" y="682"/>
                    </a:lnTo>
                    <a:lnTo>
                      <a:pt x="3162" y="677"/>
                    </a:lnTo>
                    <a:lnTo>
                      <a:pt x="3164" y="674"/>
                    </a:lnTo>
                    <a:lnTo>
                      <a:pt x="3167" y="674"/>
                    </a:lnTo>
                    <a:lnTo>
                      <a:pt x="3169" y="673"/>
                    </a:lnTo>
                    <a:lnTo>
                      <a:pt x="3173" y="671"/>
                    </a:lnTo>
                    <a:lnTo>
                      <a:pt x="3176" y="668"/>
                    </a:lnTo>
                    <a:lnTo>
                      <a:pt x="3176" y="663"/>
                    </a:lnTo>
                    <a:lnTo>
                      <a:pt x="3178" y="659"/>
                    </a:lnTo>
                    <a:lnTo>
                      <a:pt x="3181" y="656"/>
                    </a:lnTo>
                    <a:lnTo>
                      <a:pt x="3181" y="654"/>
                    </a:lnTo>
                    <a:lnTo>
                      <a:pt x="3182" y="653"/>
                    </a:lnTo>
                    <a:lnTo>
                      <a:pt x="3184" y="652"/>
                    </a:lnTo>
                    <a:lnTo>
                      <a:pt x="3186" y="651"/>
                    </a:lnTo>
                    <a:lnTo>
                      <a:pt x="3188" y="649"/>
                    </a:lnTo>
                    <a:lnTo>
                      <a:pt x="3191" y="647"/>
                    </a:lnTo>
                    <a:lnTo>
                      <a:pt x="3193" y="644"/>
                    </a:lnTo>
                    <a:lnTo>
                      <a:pt x="3201" y="643"/>
                    </a:lnTo>
                    <a:lnTo>
                      <a:pt x="3208" y="647"/>
                    </a:lnTo>
                    <a:lnTo>
                      <a:pt x="3214" y="652"/>
                    </a:lnTo>
                    <a:lnTo>
                      <a:pt x="3221" y="658"/>
                    </a:lnTo>
                    <a:lnTo>
                      <a:pt x="3222" y="661"/>
                    </a:lnTo>
                    <a:lnTo>
                      <a:pt x="3224" y="661"/>
                    </a:lnTo>
                    <a:lnTo>
                      <a:pt x="3227" y="661"/>
                    </a:lnTo>
                    <a:lnTo>
                      <a:pt x="3230" y="659"/>
                    </a:lnTo>
                    <a:lnTo>
                      <a:pt x="3233" y="658"/>
                    </a:lnTo>
                    <a:lnTo>
                      <a:pt x="3235" y="656"/>
                    </a:lnTo>
                    <a:lnTo>
                      <a:pt x="3237" y="654"/>
                    </a:lnTo>
                    <a:lnTo>
                      <a:pt x="3239" y="653"/>
                    </a:lnTo>
                    <a:lnTo>
                      <a:pt x="3240" y="652"/>
                    </a:lnTo>
                    <a:lnTo>
                      <a:pt x="3243" y="651"/>
                    </a:lnTo>
                    <a:lnTo>
                      <a:pt x="3244" y="648"/>
                    </a:lnTo>
                    <a:lnTo>
                      <a:pt x="3247" y="644"/>
                    </a:lnTo>
                    <a:lnTo>
                      <a:pt x="3247" y="634"/>
                    </a:lnTo>
                    <a:lnTo>
                      <a:pt x="3244" y="633"/>
                    </a:lnTo>
                    <a:lnTo>
                      <a:pt x="3243" y="632"/>
                    </a:lnTo>
                    <a:lnTo>
                      <a:pt x="3243" y="632"/>
                    </a:lnTo>
                    <a:lnTo>
                      <a:pt x="3243" y="631"/>
                    </a:lnTo>
                    <a:lnTo>
                      <a:pt x="3244" y="629"/>
                    </a:lnTo>
                    <a:lnTo>
                      <a:pt x="3244" y="627"/>
                    </a:lnTo>
                    <a:lnTo>
                      <a:pt x="3245" y="625"/>
                    </a:lnTo>
                    <a:lnTo>
                      <a:pt x="3247" y="622"/>
                    </a:lnTo>
                    <a:lnTo>
                      <a:pt x="3245" y="620"/>
                    </a:lnTo>
                    <a:lnTo>
                      <a:pt x="3245" y="620"/>
                    </a:lnTo>
                    <a:lnTo>
                      <a:pt x="3244" y="618"/>
                    </a:lnTo>
                    <a:lnTo>
                      <a:pt x="3244" y="616"/>
                    </a:lnTo>
                    <a:lnTo>
                      <a:pt x="3240" y="613"/>
                    </a:lnTo>
                    <a:lnTo>
                      <a:pt x="3238" y="610"/>
                    </a:lnTo>
                    <a:lnTo>
                      <a:pt x="3235" y="606"/>
                    </a:lnTo>
                    <a:lnTo>
                      <a:pt x="3235" y="603"/>
                    </a:lnTo>
                    <a:lnTo>
                      <a:pt x="3233" y="598"/>
                    </a:lnTo>
                    <a:lnTo>
                      <a:pt x="3233" y="596"/>
                    </a:lnTo>
                    <a:lnTo>
                      <a:pt x="3232" y="593"/>
                    </a:lnTo>
                    <a:lnTo>
                      <a:pt x="3229" y="590"/>
                    </a:lnTo>
                    <a:lnTo>
                      <a:pt x="3228" y="587"/>
                    </a:lnTo>
                    <a:lnTo>
                      <a:pt x="3227" y="587"/>
                    </a:lnTo>
                    <a:lnTo>
                      <a:pt x="3226" y="587"/>
                    </a:lnTo>
                    <a:lnTo>
                      <a:pt x="3224" y="586"/>
                    </a:lnTo>
                    <a:lnTo>
                      <a:pt x="3223" y="585"/>
                    </a:lnTo>
                    <a:lnTo>
                      <a:pt x="3223" y="582"/>
                    </a:lnTo>
                    <a:lnTo>
                      <a:pt x="3222" y="581"/>
                    </a:lnTo>
                    <a:lnTo>
                      <a:pt x="3222" y="579"/>
                    </a:lnTo>
                    <a:lnTo>
                      <a:pt x="3223" y="576"/>
                    </a:lnTo>
                    <a:lnTo>
                      <a:pt x="3224" y="574"/>
                    </a:lnTo>
                    <a:lnTo>
                      <a:pt x="3226" y="572"/>
                    </a:lnTo>
                    <a:lnTo>
                      <a:pt x="3228" y="567"/>
                    </a:lnTo>
                    <a:lnTo>
                      <a:pt x="3230" y="564"/>
                    </a:lnTo>
                    <a:lnTo>
                      <a:pt x="3233" y="559"/>
                    </a:lnTo>
                    <a:lnTo>
                      <a:pt x="3233" y="556"/>
                    </a:lnTo>
                    <a:lnTo>
                      <a:pt x="3232" y="554"/>
                    </a:lnTo>
                    <a:lnTo>
                      <a:pt x="3230" y="551"/>
                    </a:lnTo>
                    <a:lnTo>
                      <a:pt x="3229" y="550"/>
                    </a:lnTo>
                    <a:lnTo>
                      <a:pt x="3228" y="549"/>
                    </a:lnTo>
                    <a:lnTo>
                      <a:pt x="3228" y="546"/>
                    </a:lnTo>
                    <a:lnTo>
                      <a:pt x="3299" y="489"/>
                    </a:lnTo>
                    <a:lnTo>
                      <a:pt x="3366" y="432"/>
                    </a:lnTo>
                    <a:lnTo>
                      <a:pt x="3431" y="380"/>
                    </a:lnTo>
                    <a:lnTo>
                      <a:pt x="3495" y="331"/>
                    </a:lnTo>
                    <a:lnTo>
                      <a:pt x="3557" y="287"/>
                    </a:lnTo>
                    <a:lnTo>
                      <a:pt x="3573" y="279"/>
                    </a:lnTo>
                    <a:lnTo>
                      <a:pt x="3588" y="270"/>
                    </a:lnTo>
                    <a:close/>
                    <a:moveTo>
                      <a:pt x="3230" y="240"/>
                    </a:moveTo>
                    <a:lnTo>
                      <a:pt x="3230" y="240"/>
                    </a:lnTo>
                    <a:lnTo>
                      <a:pt x="3230" y="241"/>
                    </a:lnTo>
                    <a:lnTo>
                      <a:pt x="3230" y="244"/>
                    </a:lnTo>
                    <a:lnTo>
                      <a:pt x="3232" y="246"/>
                    </a:lnTo>
                    <a:lnTo>
                      <a:pt x="3232" y="248"/>
                    </a:lnTo>
                    <a:lnTo>
                      <a:pt x="3233" y="249"/>
                    </a:lnTo>
                    <a:lnTo>
                      <a:pt x="3233" y="250"/>
                    </a:lnTo>
                    <a:lnTo>
                      <a:pt x="3233" y="251"/>
                    </a:lnTo>
                    <a:lnTo>
                      <a:pt x="3235" y="254"/>
                    </a:lnTo>
                    <a:lnTo>
                      <a:pt x="3235" y="256"/>
                    </a:lnTo>
                    <a:lnTo>
                      <a:pt x="3237" y="259"/>
                    </a:lnTo>
                    <a:lnTo>
                      <a:pt x="3237" y="261"/>
                    </a:lnTo>
                    <a:lnTo>
                      <a:pt x="3238" y="263"/>
                    </a:lnTo>
                    <a:lnTo>
                      <a:pt x="3239" y="263"/>
                    </a:lnTo>
                    <a:lnTo>
                      <a:pt x="3240" y="263"/>
                    </a:lnTo>
                    <a:lnTo>
                      <a:pt x="3240" y="261"/>
                    </a:lnTo>
                    <a:lnTo>
                      <a:pt x="3242" y="259"/>
                    </a:lnTo>
                    <a:lnTo>
                      <a:pt x="3242" y="256"/>
                    </a:lnTo>
                    <a:lnTo>
                      <a:pt x="3242" y="255"/>
                    </a:lnTo>
                    <a:lnTo>
                      <a:pt x="3242" y="253"/>
                    </a:lnTo>
                    <a:lnTo>
                      <a:pt x="3240" y="251"/>
                    </a:lnTo>
                    <a:lnTo>
                      <a:pt x="3239" y="249"/>
                    </a:lnTo>
                    <a:lnTo>
                      <a:pt x="3239" y="248"/>
                    </a:lnTo>
                    <a:lnTo>
                      <a:pt x="3238" y="246"/>
                    </a:lnTo>
                    <a:lnTo>
                      <a:pt x="3238" y="245"/>
                    </a:lnTo>
                    <a:lnTo>
                      <a:pt x="3237" y="244"/>
                    </a:lnTo>
                    <a:lnTo>
                      <a:pt x="3235" y="243"/>
                    </a:lnTo>
                    <a:lnTo>
                      <a:pt x="3234" y="243"/>
                    </a:lnTo>
                    <a:lnTo>
                      <a:pt x="3233" y="241"/>
                    </a:lnTo>
                    <a:lnTo>
                      <a:pt x="3232" y="240"/>
                    </a:lnTo>
                    <a:lnTo>
                      <a:pt x="3230" y="240"/>
                    </a:lnTo>
                    <a:close/>
                    <a:moveTo>
                      <a:pt x="2887" y="224"/>
                    </a:moveTo>
                    <a:lnTo>
                      <a:pt x="2888" y="225"/>
                    </a:lnTo>
                    <a:lnTo>
                      <a:pt x="2890" y="228"/>
                    </a:lnTo>
                    <a:lnTo>
                      <a:pt x="2889" y="234"/>
                    </a:lnTo>
                    <a:lnTo>
                      <a:pt x="2887" y="241"/>
                    </a:lnTo>
                    <a:lnTo>
                      <a:pt x="2883" y="249"/>
                    </a:lnTo>
                    <a:lnTo>
                      <a:pt x="2882" y="256"/>
                    </a:lnTo>
                    <a:lnTo>
                      <a:pt x="2885" y="263"/>
                    </a:lnTo>
                    <a:lnTo>
                      <a:pt x="2887" y="264"/>
                    </a:lnTo>
                    <a:lnTo>
                      <a:pt x="2889" y="264"/>
                    </a:lnTo>
                    <a:lnTo>
                      <a:pt x="2890" y="263"/>
                    </a:lnTo>
                    <a:lnTo>
                      <a:pt x="2893" y="263"/>
                    </a:lnTo>
                    <a:lnTo>
                      <a:pt x="2895" y="263"/>
                    </a:lnTo>
                    <a:lnTo>
                      <a:pt x="2898" y="263"/>
                    </a:lnTo>
                    <a:lnTo>
                      <a:pt x="2900" y="265"/>
                    </a:lnTo>
                    <a:lnTo>
                      <a:pt x="2902" y="265"/>
                    </a:lnTo>
                    <a:lnTo>
                      <a:pt x="2903" y="266"/>
                    </a:lnTo>
                    <a:lnTo>
                      <a:pt x="2903" y="269"/>
                    </a:lnTo>
                    <a:lnTo>
                      <a:pt x="2904" y="273"/>
                    </a:lnTo>
                    <a:lnTo>
                      <a:pt x="2904" y="276"/>
                    </a:lnTo>
                    <a:lnTo>
                      <a:pt x="2903" y="280"/>
                    </a:lnTo>
                    <a:lnTo>
                      <a:pt x="2902" y="283"/>
                    </a:lnTo>
                    <a:lnTo>
                      <a:pt x="2900" y="286"/>
                    </a:lnTo>
                    <a:lnTo>
                      <a:pt x="2899" y="290"/>
                    </a:lnTo>
                    <a:lnTo>
                      <a:pt x="2898" y="295"/>
                    </a:lnTo>
                    <a:lnTo>
                      <a:pt x="2897" y="300"/>
                    </a:lnTo>
                    <a:lnTo>
                      <a:pt x="2895" y="305"/>
                    </a:lnTo>
                    <a:lnTo>
                      <a:pt x="2894" y="309"/>
                    </a:lnTo>
                    <a:lnTo>
                      <a:pt x="2894" y="311"/>
                    </a:lnTo>
                    <a:lnTo>
                      <a:pt x="2894" y="314"/>
                    </a:lnTo>
                    <a:lnTo>
                      <a:pt x="2895" y="315"/>
                    </a:lnTo>
                    <a:lnTo>
                      <a:pt x="2898" y="317"/>
                    </a:lnTo>
                    <a:lnTo>
                      <a:pt x="2900" y="319"/>
                    </a:lnTo>
                    <a:lnTo>
                      <a:pt x="2903" y="321"/>
                    </a:lnTo>
                    <a:lnTo>
                      <a:pt x="2903" y="322"/>
                    </a:lnTo>
                    <a:lnTo>
                      <a:pt x="2903" y="324"/>
                    </a:lnTo>
                    <a:lnTo>
                      <a:pt x="2904" y="326"/>
                    </a:lnTo>
                    <a:lnTo>
                      <a:pt x="2904" y="330"/>
                    </a:lnTo>
                    <a:lnTo>
                      <a:pt x="2904" y="334"/>
                    </a:lnTo>
                    <a:lnTo>
                      <a:pt x="2905" y="336"/>
                    </a:lnTo>
                    <a:lnTo>
                      <a:pt x="2905" y="338"/>
                    </a:lnTo>
                    <a:lnTo>
                      <a:pt x="2907" y="340"/>
                    </a:lnTo>
                    <a:lnTo>
                      <a:pt x="2907" y="342"/>
                    </a:lnTo>
                    <a:lnTo>
                      <a:pt x="2908" y="345"/>
                    </a:lnTo>
                    <a:lnTo>
                      <a:pt x="2908" y="347"/>
                    </a:lnTo>
                    <a:lnTo>
                      <a:pt x="2909" y="351"/>
                    </a:lnTo>
                    <a:lnTo>
                      <a:pt x="2909" y="353"/>
                    </a:lnTo>
                    <a:lnTo>
                      <a:pt x="2909" y="356"/>
                    </a:lnTo>
                    <a:lnTo>
                      <a:pt x="2910" y="357"/>
                    </a:lnTo>
                    <a:lnTo>
                      <a:pt x="2910" y="361"/>
                    </a:lnTo>
                    <a:lnTo>
                      <a:pt x="2912" y="363"/>
                    </a:lnTo>
                    <a:lnTo>
                      <a:pt x="2913" y="365"/>
                    </a:lnTo>
                    <a:lnTo>
                      <a:pt x="2914" y="367"/>
                    </a:lnTo>
                    <a:lnTo>
                      <a:pt x="2915" y="368"/>
                    </a:lnTo>
                    <a:lnTo>
                      <a:pt x="2917" y="373"/>
                    </a:lnTo>
                    <a:lnTo>
                      <a:pt x="2918" y="380"/>
                    </a:lnTo>
                    <a:lnTo>
                      <a:pt x="2920" y="385"/>
                    </a:lnTo>
                    <a:lnTo>
                      <a:pt x="2923" y="394"/>
                    </a:lnTo>
                    <a:lnTo>
                      <a:pt x="2925" y="406"/>
                    </a:lnTo>
                    <a:lnTo>
                      <a:pt x="2928" y="411"/>
                    </a:lnTo>
                    <a:lnTo>
                      <a:pt x="2930" y="414"/>
                    </a:lnTo>
                    <a:lnTo>
                      <a:pt x="2933" y="419"/>
                    </a:lnTo>
                    <a:lnTo>
                      <a:pt x="2935" y="427"/>
                    </a:lnTo>
                    <a:lnTo>
                      <a:pt x="2936" y="437"/>
                    </a:lnTo>
                    <a:lnTo>
                      <a:pt x="2935" y="448"/>
                    </a:lnTo>
                    <a:lnTo>
                      <a:pt x="2932" y="454"/>
                    </a:lnTo>
                    <a:lnTo>
                      <a:pt x="2932" y="462"/>
                    </a:lnTo>
                    <a:lnTo>
                      <a:pt x="2930" y="469"/>
                    </a:lnTo>
                    <a:lnTo>
                      <a:pt x="2929" y="473"/>
                    </a:lnTo>
                    <a:lnTo>
                      <a:pt x="2929" y="475"/>
                    </a:lnTo>
                    <a:lnTo>
                      <a:pt x="2928" y="477"/>
                    </a:lnTo>
                    <a:lnTo>
                      <a:pt x="2927" y="478"/>
                    </a:lnTo>
                    <a:lnTo>
                      <a:pt x="2927" y="479"/>
                    </a:lnTo>
                    <a:lnTo>
                      <a:pt x="2925" y="480"/>
                    </a:lnTo>
                    <a:lnTo>
                      <a:pt x="2924" y="482"/>
                    </a:lnTo>
                    <a:lnTo>
                      <a:pt x="2923" y="482"/>
                    </a:lnTo>
                    <a:lnTo>
                      <a:pt x="2922" y="482"/>
                    </a:lnTo>
                    <a:lnTo>
                      <a:pt x="2920" y="480"/>
                    </a:lnTo>
                    <a:lnTo>
                      <a:pt x="2919" y="479"/>
                    </a:lnTo>
                    <a:lnTo>
                      <a:pt x="2918" y="478"/>
                    </a:lnTo>
                    <a:lnTo>
                      <a:pt x="2913" y="478"/>
                    </a:lnTo>
                    <a:lnTo>
                      <a:pt x="2913" y="478"/>
                    </a:lnTo>
                    <a:lnTo>
                      <a:pt x="2912" y="479"/>
                    </a:lnTo>
                    <a:lnTo>
                      <a:pt x="2912" y="479"/>
                    </a:lnTo>
                    <a:lnTo>
                      <a:pt x="2910" y="480"/>
                    </a:lnTo>
                    <a:lnTo>
                      <a:pt x="2908" y="482"/>
                    </a:lnTo>
                    <a:lnTo>
                      <a:pt x="2905" y="483"/>
                    </a:lnTo>
                    <a:lnTo>
                      <a:pt x="2902" y="483"/>
                    </a:lnTo>
                    <a:lnTo>
                      <a:pt x="2900" y="483"/>
                    </a:lnTo>
                    <a:lnTo>
                      <a:pt x="2897" y="483"/>
                    </a:lnTo>
                    <a:lnTo>
                      <a:pt x="2894" y="484"/>
                    </a:lnTo>
                    <a:lnTo>
                      <a:pt x="2892" y="486"/>
                    </a:lnTo>
                    <a:lnTo>
                      <a:pt x="2890" y="490"/>
                    </a:lnTo>
                    <a:lnTo>
                      <a:pt x="2888" y="491"/>
                    </a:lnTo>
                    <a:lnTo>
                      <a:pt x="2885" y="494"/>
                    </a:lnTo>
                    <a:lnTo>
                      <a:pt x="2883" y="495"/>
                    </a:lnTo>
                    <a:lnTo>
                      <a:pt x="2879" y="496"/>
                    </a:lnTo>
                    <a:lnTo>
                      <a:pt x="2877" y="498"/>
                    </a:lnTo>
                    <a:lnTo>
                      <a:pt x="2874" y="498"/>
                    </a:lnTo>
                    <a:lnTo>
                      <a:pt x="2873" y="495"/>
                    </a:lnTo>
                    <a:lnTo>
                      <a:pt x="2870" y="490"/>
                    </a:lnTo>
                    <a:lnTo>
                      <a:pt x="2873" y="485"/>
                    </a:lnTo>
                    <a:lnTo>
                      <a:pt x="2877" y="479"/>
                    </a:lnTo>
                    <a:lnTo>
                      <a:pt x="2882" y="474"/>
                    </a:lnTo>
                    <a:lnTo>
                      <a:pt x="2885" y="472"/>
                    </a:lnTo>
                    <a:lnTo>
                      <a:pt x="2888" y="467"/>
                    </a:lnTo>
                    <a:lnTo>
                      <a:pt x="2892" y="460"/>
                    </a:lnTo>
                    <a:lnTo>
                      <a:pt x="2893" y="454"/>
                    </a:lnTo>
                    <a:lnTo>
                      <a:pt x="2890" y="448"/>
                    </a:lnTo>
                    <a:lnTo>
                      <a:pt x="2889" y="448"/>
                    </a:lnTo>
                    <a:lnTo>
                      <a:pt x="2888" y="449"/>
                    </a:lnTo>
                    <a:lnTo>
                      <a:pt x="2887" y="449"/>
                    </a:lnTo>
                    <a:lnTo>
                      <a:pt x="2885" y="449"/>
                    </a:lnTo>
                    <a:lnTo>
                      <a:pt x="2885" y="448"/>
                    </a:lnTo>
                    <a:lnTo>
                      <a:pt x="2885" y="440"/>
                    </a:lnTo>
                    <a:lnTo>
                      <a:pt x="2883" y="438"/>
                    </a:lnTo>
                    <a:lnTo>
                      <a:pt x="2882" y="435"/>
                    </a:lnTo>
                    <a:lnTo>
                      <a:pt x="2882" y="434"/>
                    </a:lnTo>
                    <a:lnTo>
                      <a:pt x="2883" y="432"/>
                    </a:lnTo>
                    <a:lnTo>
                      <a:pt x="2883" y="428"/>
                    </a:lnTo>
                    <a:lnTo>
                      <a:pt x="2882" y="424"/>
                    </a:lnTo>
                    <a:lnTo>
                      <a:pt x="2882" y="421"/>
                    </a:lnTo>
                    <a:lnTo>
                      <a:pt x="2882" y="418"/>
                    </a:lnTo>
                    <a:lnTo>
                      <a:pt x="2880" y="413"/>
                    </a:lnTo>
                    <a:lnTo>
                      <a:pt x="2878" y="408"/>
                    </a:lnTo>
                    <a:lnTo>
                      <a:pt x="2878" y="403"/>
                    </a:lnTo>
                    <a:lnTo>
                      <a:pt x="2878" y="397"/>
                    </a:lnTo>
                    <a:lnTo>
                      <a:pt x="2878" y="397"/>
                    </a:lnTo>
                    <a:lnTo>
                      <a:pt x="2879" y="399"/>
                    </a:lnTo>
                    <a:lnTo>
                      <a:pt x="2882" y="401"/>
                    </a:lnTo>
                    <a:lnTo>
                      <a:pt x="2883" y="404"/>
                    </a:lnTo>
                    <a:lnTo>
                      <a:pt x="2884" y="407"/>
                    </a:lnTo>
                    <a:lnTo>
                      <a:pt x="2887" y="408"/>
                    </a:lnTo>
                    <a:lnTo>
                      <a:pt x="2888" y="409"/>
                    </a:lnTo>
                    <a:lnTo>
                      <a:pt x="2890" y="408"/>
                    </a:lnTo>
                    <a:lnTo>
                      <a:pt x="2890" y="404"/>
                    </a:lnTo>
                    <a:lnTo>
                      <a:pt x="2890" y="401"/>
                    </a:lnTo>
                    <a:lnTo>
                      <a:pt x="2890" y="397"/>
                    </a:lnTo>
                    <a:lnTo>
                      <a:pt x="2890" y="393"/>
                    </a:lnTo>
                    <a:lnTo>
                      <a:pt x="2890" y="389"/>
                    </a:lnTo>
                    <a:lnTo>
                      <a:pt x="2892" y="387"/>
                    </a:lnTo>
                    <a:lnTo>
                      <a:pt x="2892" y="385"/>
                    </a:lnTo>
                    <a:lnTo>
                      <a:pt x="2892" y="383"/>
                    </a:lnTo>
                    <a:lnTo>
                      <a:pt x="2892" y="382"/>
                    </a:lnTo>
                    <a:lnTo>
                      <a:pt x="2890" y="380"/>
                    </a:lnTo>
                    <a:lnTo>
                      <a:pt x="2890" y="377"/>
                    </a:lnTo>
                    <a:lnTo>
                      <a:pt x="2889" y="375"/>
                    </a:lnTo>
                    <a:lnTo>
                      <a:pt x="2889" y="372"/>
                    </a:lnTo>
                    <a:lnTo>
                      <a:pt x="2888" y="368"/>
                    </a:lnTo>
                    <a:lnTo>
                      <a:pt x="2888" y="366"/>
                    </a:lnTo>
                    <a:lnTo>
                      <a:pt x="2888" y="363"/>
                    </a:lnTo>
                    <a:lnTo>
                      <a:pt x="2888" y="361"/>
                    </a:lnTo>
                    <a:lnTo>
                      <a:pt x="2888" y="358"/>
                    </a:lnTo>
                    <a:lnTo>
                      <a:pt x="2887" y="357"/>
                    </a:lnTo>
                    <a:lnTo>
                      <a:pt x="2887" y="356"/>
                    </a:lnTo>
                    <a:lnTo>
                      <a:pt x="2884" y="355"/>
                    </a:lnTo>
                    <a:lnTo>
                      <a:pt x="2883" y="355"/>
                    </a:lnTo>
                    <a:lnTo>
                      <a:pt x="2882" y="356"/>
                    </a:lnTo>
                    <a:lnTo>
                      <a:pt x="2880" y="356"/>
                    </a:lnTo>
                    <a:lnTo>
                      <a:pt x="2879" y="357"/>
                    </a:lnTo>
                    <a:lnTo>
                      <a:pt x="2878" y="358"/>
                    </a:lnTo>
                    <a:lnTo>
                      <a:pt x="2877" y="358"/>
                    </a:lnTo>
                    <a:lnTo>
                      <a:pt x="2875" y="357"/>
                    </a:lnTo>
                    <a:lnTo>
                      <a:pt x="2873" y="355"/>
                    </a:lnTo>
                    <a:lnTo>
                      <a:pt x="2873" y="352"/>
                    </a:lnTo>
                    <a:lnTo>
                      <a:pt x="2873" y="350"/>
                    </a:lnTo>
                    <a:lnTo>
                      <a:pt x="2874" y="347"/>
                    </a:lnTo>
                    <a:lnTo>
                      <a:pt x="2875" y="346"/>
                    </a:lnTo>
                    <a:lnTo>
                      <a:pt x="2875" y="342"/>
                    </a:lnTo>
                    <a:lnTo>
                      <a:pt x="2878" y="340"/>
                    </a:lnTo>
                    <a:lnTo>
                      <a:pt x="2877" y="337"/>
                    </a:lnTo>
                    <a:lnTo>
                      <a:pt x="2877" y="335"/>
                    </a:lnTo>
                    <a:lnTo>
                      <a:pt x="2875" y="332"/>
                    </a:lnTo>
                    <a:lnTo>
                      <a:pt x="2875" y="329"/>
                    </a:lnTo>
                    <a:lnTo>
                      <a:pt x="2874" y="326"/>
                    </a:lnTo>
                    <a:lnTo>
                      <a:pt x="2874" y="324"/>
                    </a:lnTo>
                    <a:lnTo>
                      <a:pt x="2873" y="324"/>
                    </a:lnTo>
                    <a:lnTo>
                      <a:pt x="2872" y="324"/>
                    </a:lnTo>
                    <a:lnTo>
                      <a:pt x="2870" y="322"/>
                    </a:lnTo>
                    <a:lnTo>
                      <a:pt x="2869" y="322"/>
                    </a:lnTo>
                    <a:lnTo>
                      <a:pt x="2868" y="321"/>
                    </a:lnTo>
                    <a:lnTo>
                      <a:pt x="2868" y="319"/>
                    </a:lnTo>
                    <a:lnTo>
                      <a:pt x="2868" y="315"/>
                    </a:lnTo>
                    <a:lnTo>
                      <a:pt x="2868" y="312"/>
                    </a:lnTo>
                    <a:lnTo>
                      <a:pt x="2869" y="309"/>
                    </a:lnTo>
                    <a:lnTo>
                      <a:pt x="2869" y="306"/>
                    </a:lnTo>
                    <a:lnTo>
                      <a:pt x="2870" y="305"/>
                    </a:lnTo>
                    <a:lnTo>
                      <a:pt x="2868" y="302"/>
                    </a:lnTo>
                    <a:lnTo>
                      <a:pt x="2865" y="302"/>
                    </a:lnTo>
                    <a:lnTo>
                      <a:pt x="2865" y="302"/>
                    </a:lnTo>
                    <a:lnTo>
                      <a:pt x="2863" y="300"/>
                    </a:lnTo>
                    <a:lnTo>
                      <a:pt x="2862" y="299"/>
                    </a:lnTo>
                    <a:lnTo>
                      <a:pt x="2862" y="295"/>
                    </a:lnTo>
                    <a:lnTo>
                      <a:pt x="2862" y="292"/>
                    </a:lnTo>
                    <a:lnTo>
                      <a:pt x="2863" y="290"/>
                    </a:lnTo>
                    <a:lnTo>
                      <a:pt x="2864" y="287"/>
                    </a:lnTo>
                    <a:lnTo>
                      <a:pt x="2865" y="286"/>
                    </a:lnTo>
                    <a:lnTo>
                      <a:pt x="2865" y="283"/>
                    </a:lnTo>
                    <a:lnTo>
                      <a:pt x="2864" y="281"/>
                    </a:lnTo>
                    <a:lnTo>
                      <a:pt x="2864" y="280"/>
                    </a:lnTo>
                    <a:lnTo>
                      <a:pt x="2863" y="278"/>
                    </a:lnTo>
                    <a:lnTo>
                      <a:pt x="2863" y="276"/>
                    </a:lnTo>
                    <a:lnTo>
                      <a:pt x="2863" y="273"/>
                    </a:lnTo>
                    <a:lnTo>
                      <a:pt x="2864" y="270"/>
                    </a:lnTo>
                    <a:lnTo>
                      <a:pt x="2864" y="268"/>
                    </a:lnTo>
                    <a:lnTo>
                      <a:pt x="2865" y="265"/>
                    </a:lnTo>
                    <a:lnTo>
                      <a:pt x="2865" y="261"/>
                    </a:lnTo>
                    <a:lnTo>
                      <a:pt x="2867" y="256"/>
                    </a:lnTo>
                    <a:lnTo>
                      <a:pt x="2867" y="251"/>
                    </a:lnTo>
                    <a:lnTo>
                      <a:pt x="2868" y="246"/>
                    </a:lnTo>
                    <a:lnTo>
                      <a:pt x="2868" y="240"/>
                    </a:lnTo>
                    <a:lnTo>
                      <a:pt x="2870" y="232"/>
                    </a:lnTo>
                    <a:lnTo>
                      <a:pt x="2873" y="225"/>
                    </a:lnTo>
                    <a:lnTo>
                      <a:pt x="2874" y="228"/>
                    </a:lnTo>
                    <a:lnTo>
                      <a:pt x="2877" y="230"/>
                    </a:lnTo>
                    <a:lnTo>
                      <a:pt x="2878" y="230"/>
                    </a:lnTo>
                    <a:lnTo>
                      <a:pt x="2879" y="229"/>
                    </a:lnTo>
                    <a:lnTo>
                      <a:pt x="2882" y="228"/>
                    </a:lnTo>
                    <a:lnTo>
                      <a:pt x="2883" y="227"/>
                    </a:lnTo>
                    <a:lnTo>
                      <a:pt x="2884" y="225"/>
                    </a:lnTo>
                    <a:lnTo>
                      <a:pt x="2885" y="224"/>
                    </a:lnTo>
                    <a:lnTo>
                      <a:pt x="2887" y="224"/>
                    </a:lnTo>
                    <a:close/>
                    <a:moveTo>
                      <a:pt x="3178" y="149"/>
                    </a:moveTo>
                    <a:lnTo>
                      <a:pt x="3176" y="151"/>
                    </a:lnTo>
                    <a:lnTo>
                      <a:pt x="3176" y="154"/>
                    </a:lnTo>
                    <a:lnTo>
                      <a:pt x="3177" y="161"/>
                    </a:lnTo>
                    <a:lnTo>
                      <a:pt x="3178" y="167"/>
                    </a:lnTo>
                    <a:lnTo>
                      <a:pt x="3178" y="173"/>
                    </a:lnTo>
                    <a:lnTo>
                      <a:pt x="3181" y="178"/>
                    </a:lnTo>
                    <a:lnTo>
                      <a:pt x="3183" y="183"/>
                    </a:lnTo>
                    <a:lnTo>
                      <a:pt x="3184" y="189"/>
                    </a:lnTo>
                    <a:lnTo>
                      <a:pt x="3186" y="193"/>
                    </a:lnTo>
                    <a:lnTo>
                      <a:pt x="3186" y="197"/>
                    </a:lnTo>
                    <a:lnTo>
                      <a:pt x="3186" y="200"/>
                    </a:lnTo>
                    <a:lnTo>
                      <a:pt x="3187" y="204"/>
                    </a:lnTo>
                    <a:lnTo>
                      <a:pt x="3188" y="207"/>
                    </a:lnTo>
                    <a:lnTo>
                      <a:pt x="3189" y="207"/>
                    </a:lnTo>
                    <a:lnTo>
                      <a:pt x="3192" y="207"/>
                    </a:lnTo>
                    <a:lnTo>
                      <a:pt x="3193" y="205"/>
                    </a:lnTo>
                    <a:lnTo>
                      <a:pt x="3194" y="203"/>
                    </a:lnTo>
                    <a:lnTo>
                      <a:pt x="3194" y="202"/>
                    </a:lnTo>
                    <a:lnTo>
                      <a:pt x="3194" y="199"/>
                    </a:lnTo>
                    <a:lnTo>
                      <a:pt x="3194" y="197"/>
                    </a:lnTo>
                    <a:lnTo>
                      <a:pt x="3196" y="194"/>
                    </a:lnTo>
                    <a:lnTo>
                      <a:pt x="3197" y="192"/>
                    </a:lnTo>
                    <a:lnTo>
                      <a:pt x="3197" y="183"/>
                    </a:lnTo>
                    <a:lnTo>
                      <a:pt x="3198" y="182"/>
                    </a:lnTo>
                    <a:lnTo>
                      <a:pt x="3198" y="179"/>
                    </a:lnTo>
                    <a:lnTo>
                      <a:pt x="3198" y="177"/>
                    </a:lnTo>
                    <a:lnTo>
                      <a:pt x="3198" y="174"/>
                    </a:lnTo>
                    <a:lnTo>
                      <a:pt x="3197" y="172"/>
                    </a:lnTo>
                    <a:lnTo>
                      <a:pt x="3197" y="171"/>
                    </a:lnTo>
                    <a:lnTo>
                      <a:pt x="3194" y="169"/>
                    </a:lnTo>
                    <a:lnTo>
                      <a:pt x="3193" y="168"/>
                    </a:lnTo>
                    <a:lnTo>
                      <a:pt x="3191" y="166"/>
                    </a:lnTo>
                    <a:lnTo>
                      <a:pt x="3189" y="163"/>
                    </a:lnTo>
                    <a:lnTo>
                      <a:pt x="3189" y="161"/>
                    </a:lnTo>
                    <a:lnTo>
                      <a:pt x="3189" y="158"/>
                    </a:lnTo>
                    <a:lnTo>
                      <a:pt x="3188" y="154"/>
                    </a:lnTo>
                    <a:lnTo>
                      <a:pt x="3187" y="152"/>
                    </a:lnTo>
                    <a:lnTo>
                      <a:pt x="3184" y="152"/>
                    </a:lnTo>
                    <a:lnTo>
                      <a:pt x="3182" y="151"/>
                    </a:lnTo>
                    <a:lnTo>
                      <a:pt x="3178" y="149"/>
                    </a:lnTo>
                    <a:close/>
                    <a:moveTo>
                      <a:pt x="829" y="135"/>
                    </a:moveTo>
                    <a:lnTo>
                      <a:pt x="826" y="136"/>
                    </a:lnTo>
                    <a:lnTo>
                      <a:pt x="824" y="137"/>
                    </a:lnTo>
                    <a:lnTo>
                      <a:pt x="821" y="142"/>
                    </a:lnTo>
                    <a:lnTo>
                      <a:pt x="815" y="152"/>
                    </a:lnTo>
                    <a:lnTo>
                      <a:pt x="806" y="159"/>
                    </a:lnTo>
                    <a:lnTo>
                      <a:pt x="800" y="168"/>
                    </a:lnTo>
                    <a:lnTo>
                      <a:pt x="795" y="178"/>
                    </a:lnTo>
                    <a:lnTo>
                      <a:pt x="795" y="182"/>
                    </a:lnTo>
                    <a:lnTo>
                      <a:pt x="795" y="184"/>
                    </a:lnTo>
                    <a:lnTo>
                      <a:pt x="796" y="186"/>
                    </a:lnTo>
                    <a:lnTo>
                      <a:pt x="796" y="186"/>
                    </a:lnTo>
                    <a:lnTo>
                      <a:pt x="798" y="184"/>
                    </a:lnTo>
                    <a:lnTo>
                      <a:pt x="800" y="183"/>
                    </a:lnTo>
                    <a:lnTo>
                      <a:pt x="801" y="181"/>
                    </a:lnTo>
                    <a:lnTo>
                      <a:pt x="803" y="179"/>
                    </a:lnTo>
                    <a:lnTo>
                      <a:pt x="804" y="177"/>
                    </a:lnTo>
                    <a:lnTo>
                      <a:pt x="805" y="174"/>
                    </a:lnTo>
                    <a:lnTo>
                      <a:pt x="806" y="173"/>
                    </a:lnTo>
                    <a:lnTo>
                      <a:pt x="811" y="168"/>
                    </a:lnTo>
                    <a:lnTo>
                      <a:pt x="818" y="167"/>
                    </a:lnTo>
                    <a:lnTo>
                      <a:pt x="825" y="166"/>
                    </a:lnTo>
                    <a:lnTo>
                      <a:pt x="830" y="164"/>
                    </a:lnTo>
                    <a:lnTo>
                      <a:pt x="835" y="159"/>
                    </a:lnTo>
                    <a:lnTo>
                      <a:pt x="836" y="156"/>
                    </a:lnTo>
                    <a:lnTo>
                      <a:pt x="837" y="152"/>
                    </a:lnTo>
                    <a:lnTo>
                      <a:pt x="837" y="148"/>
                    </a:lnTo>
                    <a:lnTo>
                      <a:pt x="836" y="144"/>
                    </a:lnTo>
                    <a:lnTo>
                      <a:pt x="835" y="141"/>
                    </a:lnTo>
                    <a:lnTo>
                      <a:pt x="834" y="137"/>
                    </a:lnTo>
                    <a:lnTo>
                      <a:pt x="831" y="136"/>
                    </a:lnTo>
                    <a:lnTo>
                      <a:pt x="829" y="135"/>
                    </a:lnTo>
                    <a:close/>
                    <a:moveTo>
                      <a:pt x="3207" y="123"/>
                    </a:moveTo>
                    <a:lnTo>
                      <a:pt x="3206" y="125"/>
                    </a:lnTo>
                    <a:lnTo>
                      <a:pt x="3204" y="126"/>
                    </a:lnTo>
                    <a:lnTo>
                      <a:pt x="3204" y="142"/>
                    </a:lnTo>
                    <a:lnTo>
                      <a:pt x="3204" y="144"/>
                    </a:lnTo>
                    <a:lnTo>
                      <a:pt x="3206" y="147"/>
                    </a:lnTo>
                    <a:lnTo>
                      <a:pt x="3206" y="149"/>
                    </a:lnTo>
                    <a:lnTo>
                      <a:pt x="3207" y="152"/>
                    </a:lnTo>
                    <a:lnTo>
                      <a:pt x="3208" y="156"/>
                    </a:lnTo>
                    <a:lnTo>
                      <a:pt x="3209" y="159"/>
                    </a:lnTo>
                    <a:lnTo>
                      <a:pt x="3211" y="162"/>
                    </a:lnTo>
                    <a:lnTo>
                      <a:pt x="3213" y="166"/>
                    </a:lnTo>
                    <a:lnTo>
                      <a:pt x="3214" y="169"/>
                    </a:lnTo>
                    <a:lnTo>
                      <a:pt x="3216" y="172"/>
                    </a:lnTo>
                    <a:lnTo>
                      <a:pt x="3217" y="174"/>
                    </a:lnTo>
                    <a:lnTo>
                      <a:pt x="3218" y="178"/>
                    </a:lnTo>
                    <a:lnTo>
                      <a:pt x="3218" y="178"/>
                    </a:lnTo>
                    <a:lnTo>
                      <a:pt x="3218" y="177"/>
                    </a:lnTo>
                    <a:lnTo>
                      <a:pt x="3219" y="177"/>
                    </a:lnTo>
                    <a:lnTo>
                      <a:pt x="3221" y="176"/>
                    </a:lnTo>
                    <a:lnTo>
                      <a:pt x="3219" y="171"/>
                    </a:lnTo>
                    <a:lnTo>
                      <a:pt x="3218" y="166"/>
                    </a:lnTo>
                    <a:lnTo>
                      <a:pt x="3218" y="161"/>
                    </a:lnTo>
                    <a:lnTo>
                      <a:pt x="3216" y="154"/>
                    </a:lnTo>
                    <a:lnTo>
                      <a:pt x="3216" y="149"/>
                    </a:lnTo>
                    <a:lnTo>
                      <a:pt x="3216" y="144"/>
                    </a:lnTo>
                    <a:lnTo>
                      <a:pt x="3214" y="142"/>
                    </a:lnTo>
                    <a:lnTo>
                      <a:pt x="3213" y="140"/>
                    </a:lnTo>
                    <a:lnTo>
                      <a:pt x="3212" y="136"/>
                    </a:lnTo>
                    <a:lnTo>
                      <a:pt x="3212" y="133"/>
                    </a:lnTo>
                    <a:lnTo>
                      <a:pt x="3211" y="130"/>
                    </a:lnTo>
                    <a:lnTo>
                      <a:pt x="3209" y="127"/>
                    </a:lnTo>
                    <a:lnTo>
                      <a:pt x="3208" y="125"/>
                    </a:lnTo>
                    <a:lnTo>
                      <a:pt x="3207" y="123"/>
                    </a:lnTo>
                    <a:close/>
                    <a:moveTo>
                      <a:pt x="69" y="0"/>
                    </a:moveTo>
                    <a:lnTo>
                      <a:pt x="71" y="0"/>
                    </a:lnTo>
                    <a:lnTo>
                      <a:pt x="71" y="3"/>
                    </a:lnTo>
                    <a:lnTo>
                      <a:pt x="90" y="3"/>
                    </a:lnTo>
                    <a:lnTo>
                      <a:pt x="142" y="9"/>
                    </a:lnTo>
                    <a:lnTo>
                      <a:pt x="197" y="23"/>
                    </a:lnTo>
                    <a:lnTo>
                      <a:pt x="252" y="43"/>
                    </a:lnTo>
                    <a:lnTo>
                      <a:pt x="310" y="69"/>
                    </a:lnTo>
                    <a:lnTo>
                      <a:pt x="370" y="100"/>
                    </a:lnTo>
                    <a:lnTo>
                      <a:pt x="434" y="137"/>
                    </a:lnTo>
                    <a:lnTo>
                      <a:pt x="500" y="178"/>
                    </a:lnTo>
                    <a:lnTo>
                      <a:pt x="572" y="224"/>
                    </a:lnTo>
                    <a:lnTo>
                      <a:pt x="647" y="274"/>
                    </a:lnTo>
                    <a:lnTo>
                      <a:pt x="727" y="327"/>
                    </a:lnTo>
                    <a:lnTo>
                      <a:pt x="811" y="381"/>
                    </a:lnTo>
                    <a:lnTo>
                      <a:pt x="898" y="437"/>
                    </a:lnTo>
                    <a:lnTo>
                      <a:pt x="991" y="491"/>
                    </a:lnTo>
                    <a:lnTo>
                      <a:pt x="1085" y="545"/>
                    </a:lnTo>
                    <a:lnTo>
                      <a:pt x="1171" y="590"/>
                    </a:lnTo>
                    <a:lnTo>
                      <a:pt x="1258" y="632"/>
                    </a:lnTo>
                    <a:lnTo>
                      <a:pt x="1255" y="633"/>
                    </a:lnTo>
                    <a:lnTo>
                      <a:pt x="1250" y="636"/>
                    </a:lnTo>
                    <a:lnTo>
                      <a:pt x="1246" y="637"/>
                    </a:lnTo>
                    <a:lnTo>
                      <a:pt x="1244" y="641"/>
                    </a:lnTo>
                    <a:lnTo>
                      <a:pt x="1240" y="643"/>
                    </a:lnTo>
                    <a:lnTo>
                      <a:pt x="1236" y="646"/>
                    </a:lnTo>
                    <a:lnTo>
                      <a:pt x="1231" y="649"/>
                    </a:lnTo>
                    <a:lnTo>
                      <a:pt x="1225" y="651"/>
                    </a:lnTo>
                    <a:lnTo>
                      <a:pt x="1220" y="654"/>
                    </a:lnTo>
                    <a:lnTo>
                      <a:pt x="1216" y="658"/>
                    </a:lnTo>
                    <a:lnTo>
                      <a:pt x="1216" y="661"/>
                    </a:lnTo>
                    <a:lnTo>
                      <a:pt x="1217" y="661"/>
                    </a:lnTo>
                    <a:lnTo>
                      <a:pt x="1220" y="662"/>
                    </a:lnTo>
                    <a:lnTo>
                      <a:pt x="1222" y="662"/>
                    </a:lnTo>
                    <a:lnTo>
                      <a:pt x="1226" y="662"/>
                    </a:lnTo>
                    <a:lnTo>
                      <a:pt x="1229" y="662"/>
                    </a:lnTo>
                    <a:lnTo>
                      <a:pt x="1231" y="662"/>
                    </a:lnTo>
                    <a:lnTo>
                      <a:pt x="1234" y="662"/>
                    </a:lnTo>
                    <a:lnTo>
                      <a:pt x="1234" y="662"/>
                    </a:lnTo>
                    <a:lnTo>
                      <a:pt x="1237" y="661"/>
                    </a:lnTo>
                    <a:lnTo>
                      <a:pt x="1241" y="661"/>
                    </a:lnTo>
                    <a:lnTo>
                      <a:pt x="1244" y="659"/>
                    </a:lnTo>
                    <a:lnTo>
                      <a:pt x="1247" y="658"/>
                    </a:lnTo>
                    <a:lnTo>
                      <a:pt x="1250" y="659"/>
                    </a:lnTo>
                    <a:lnTo>
                      <a:pt x="1251" y="661"/>
                    </a:lnTo>
                    <a:lnTo>
                      <a:pt x="1252" y="662"/>
                    </a:lnTo>
                    <a:lnTo>
                      <a:pt x="1254" y="663"/>
                    </a:lnTo>
                    <a:lnTo>
                      <a:pt x="1254" y="663"/>
                    </a:lnTo>
                    <a:lnTo>
                      <a:pt x="1255" y="664"/>
                    </a:lnTo>
                    <a:lnTo>
                      <a:pt x="1266" y="662"/>
                    </a:lnTo>
                    <a:lnTo>
                      <a:pt x="1277" y="657"/>
                    </a:lnTo>
                    <a:lnTo>
                      <a:pt x="1286" y="651"/>
                    </a:lnTo>
                    <a:lnTo>
                      <a:pt x="1288" y="651"/>
                    </a:lnTo>
                    <a:lnTo>
                      <a:pt x="1291" y="649"/>
                    </a:lnTo>
                    <a:lnTo>
                      <a:pt x="1293" y="648"/>
                    </a:lnTo>
                    <a:lnTo>
                      <a:pt x="1303" y="652"/>
                    </a:lnTo>
                    <a:lnTo>
                      <a:pt x="1315" y="656"/>
                    </a:lnTo>
                    <a:lnTo>
                      <a:pt x="1313" y="654"/>
                    </a:lnTo>
                    <a:lnTo>
                      <a:pt x="1313" y="654"/>
                    </a:lnTo>
                    <a:lnTo>
                      <a:pt x="1313" y="652"/>
                    </a:lnTo>
                    <a:lnTo>
                      <a:pt x="1318" y="653"/>
                    </a:lnTo>
                    <a:lnTo>
                      <a:pt x="1318" y="656"/>
                    </a:lnTo>
                    <a:lnTo>
                      <a:pt x="1320" y="656"/>
                    </a:lnTo>
                    <a:lnTo>
                      <a:pt x="1321" y="657"/>
                    </a:lnTo>
                    <a:lnTo>
                      <a:pt x="1323" y="658"/>
                    </a:lnTo>
                    <a:lnTo>
                      <a:pt x="1326" y="661"/>
                    </a:lnTo>
                    <a:lnTo>
                      <a:pt x="1328" y="663"/>
                    </a:lnTo>
                    <a:lnTo>
                      <a:pt x="1331" y="664"/>
                    </a:lnTo>
                    <a:lnTo>
                      <a:pt x="1333" y="666"/>
                    </a:lnTo>
                    <a:lnTo>
                      <a:pt x="1336" y="667"/>
                    </a:lnTo>
                    <a:lnTo>
                      <a:pt x="1344" y="667"/>
                    </a:lnTo>
                    <a:lnTo>
                      <a:pt x="1348" y="668"/>
                    </a:lnTo>
                    <a:lnTo>
                      <a:pt x="1344" y="671"/>
                    </a:lnTo>
                    <a:lnTo>
                      <a:pt x="1388" y="690"/>
                    </a:lnTo>
                    <a:lnTo>
                      <a:pt x="1383" y="690"/>
                    </a:lnTo>
                    <a:lnTo>
                      <a:pt x="1382" y="690"/>
                    </a:lnTo>
                    <a:lnTo>
                      <a:pt x="1379" y="689"/>
                    </a:lnTo>
                    <a:lnTo>
                      <a:pt x="1377" y="689"/>
                    </a:lnTo>
                    <a:lnTo>
                      <a:pt x="1374" y="689"/>
                    </a:lnTo>
                    <a:lnTo>
                      <a:pt x="1372" y="690"/>
                    </a:lnTo>
                    <a:lnTo>
                      <a:pt x="1369" y="690"/>
                    </a:lnTo>
                    <a:lnTo>
                      <a:pt x="1368" y="693"/>
                    </a:lnTo>
                    <a:lnTo>
                      <a:pt x="1364" y="692"/>
                    </a:lnTo>
                    <a:lnTo>
                      <a:pt x="1359" y="694"/>
                    </a:lnTo>
                    <a:lnTo>
                      <a:pt x="1352" y="699"/>
                    </a:lnTo>
                    <a:lnTo>
                      <a:pt x="1346" y="704"/>
                    </a:lnTo>
                    <a:lnTo>
                      <a:pt x="1339" y="710"/>
                    </a:lnTo>
                    <a:lnTo>
                      <a:pt x="1336" y="714"/>
                    </a:lnTo>
                    <a:lnTo>
                      <a:pt x="1334" y="719"/>
                    </a:lnTo>
                    <a:lnTo>
                      <a:pt x="1334" y="727"/>
                    </a:lnTo>
                    <a:lnTo>
                      <a:pt x="1333" y="734"/>
                    </a:lnTo>
                    <a:lnTo>
                      <a:pt x="1333" y="738"/>
                    </a:lnTo>
                    <a:lnTo>
                      <a:pt x="1332" y="740"/>
                    </a:lnTo>
                    <a:lnTo>
                      <a:pt x="1331" y="743"/>
                    </a:lnTo>
                    <a:lnTo>
                      <a:pt x="1330" y="745"/>
                    </a:lnTo>
                    <a:lnTo>
                      <a:pt x="1327" y="748"/>
                    </a:lnTo>
                    <a:lnTo>
                      <a:pt x="1326" y="750"/>
                    </a:lnTo>
                    <a:lnTo>
                      <a:pt x="1318" y="768"/>
                    </a:lnTo>
                    <a:lnTo>
                      <a:pt x="1316" y="785"/>
                    </a:lnTo>
                    <a:lnTo>
                      <a:pt x="1318" y="802"/>
                    </a:lnTo>
                    <a:lnTo>
                      <a:pt x="1320" y="806"/>
                    </a:lnTo>
                    <a:lnTo>
                      <a:pt x="1321" y="814"/>
                    </a:lnTo>
                    <a:lnTo>
                      <a:pt x="1323" y="822"/>
                    </a:lnTo>
                    <a:lnTo>
                      <a:pt x="1326" y="830"/>
                    </a:lnTo>
                    <a:lnTo>
                      <a:pt x="1330" y="835"/>
                    </a:lnTo>
                    <a:lnTo>
                      <a:pt x="1333" y="833"/>
                    </a:lnTo>
                    <a:lnTo>
                      <a:pt x="1336" y="831"/>
                    </a:lnTo>
                    <a:lnTo>
                      <a:pt x="1338" y="827"/>
                    </a:lnTo>
                    <a:lnTo>
                      <a:pt x="1339" y="822"/>
                    </a:lnTo>
                    <a:lnTo>
                      <a:pt x="1342" y="819"/>
                    </a:lnTo>
                    <a:lnTo>
                      <a:pt x="1343" y="816"/>
                    </a:lnTo>
                    <a:lnTo>
                      <a:pt x="1346" y="815"/>
                    </a:lnTo>
                    <a:lnTo>
                      <a:pt x="1348" y="814"/>
                    </a:lnTo>
                    <a:lnTo>
                      <a:pt x="1349" y="812"/>
                    </a:lnTo>
                    <a:lnTo>
                      <a:pt x="1352" y="810"/>
                    </a:lnTo>
                    <a:lnTo>
                      <a:pt x="1352" y="807"/>
                    </a:lnTo>
                    <a:lnTo>
                      <a:pt x="1353" y="796"/>
                    </a:lnTo>
                    <a:lnTo>
                      <a:pt x="1349" y="784"/>
                    </a:lnTo>
                    <a:lnTo>
                      <a:pt x="1348" y="769"/>
                    </a:lnTo>
                    <a:lnTo>
                      <a:pt x="1349" y="755"/>
                    </a:lnTo>
                    <a:lnTo>
                      <a:pt x="1351" y="748"/>
                    </a:lnTo>
                    <a:lnTo>
                      <a:pt x="1353" y="740"/>
                    </a:lnTo>
                    <a:lnTo>
                      <a:pt x="1356" y="733"/>
                    </a:lnTo>
                    <a:lnTo>
                      <a:pt x="1359" y="727"/>
                    </a:lnTo>
                    <a:lnTo>
                      <a:pt x="1363" y="725"/>
                    </a:lnTo>
                    <a:lnTo>
                      <a:pt x="1367" y="725"/>
                    </a:lnTo>
                    <a:lnTo>
                      <a:pt x="1371" y="725"/>
                    </a:lnTo>
                    <a:lnTo>
                      <a:pt x="1374" y="725"/>
                    </a:lnTo>
                    <a:lnTo>
                      <a:pt x="1378" y="724"/>
                    </a:lnTo>
                    <a:lnTo>
                      <a:pt x="1381" y="719"/>
                    </a:lnTo>
                    <a:lnTo>
                      <a:pt x="1384" y="712"/>
                    </a:lnTo>
                    <a:lnTo>
                      <a:pt x="1388" y="704"/>
                    </a:lnTo>
                    <a:lnTo>
                      <a:pt x="1392" y="699"/>
                    </a:lnTo>
                    <a:lnTo>
                      <a:pt x="1398" y="695"/>
                    </a:lnTo>
                    <a:lnTo>
                      <a:pt x="1404" y="695"/>
                    </a:lnTo>
                    <a:lnTo>
                      <a:pt x="1409" y="699"/>
                    </a:lnTo>
                    <a:lnTo>
                      <a:pt x="1414" y="704"/>
                    </a:lnTo>
                    <a:lnTo>
                      <a:pt x="1418" y="712"/>
                    </a:lnTo>
                    <a:lnTo>
                      <a:pt x="1423" y="717"/>
                    </a:lnTo>
                    <a:lnTo>
                      <a:pt x="1425" y="718"/>
                    </a:lnTo>
                    <a:lnTo>
                      <a:pt x="1428" y="719"/>
                    </a:lnTo>
                    <a:lnTo>
                      <a:pt x="1430" y="722"/>
                    </a:lnTo>
                    <a:lnTo>
                      <a:pt x="1433" y="723"/>
                    </a:lnTo>
                    <a:lnTo>
                      <a:pt x="1434" y="724"/>
                    </a:lnTo>
                    <a:lnTo>
                      <a:pt x="1435" y="727"/>
                    </a:lnTo>
                    <a:lnTo>
                      <a:pt x="1437" y="729"/>
                    </a:lnTo>
                    <a:lnTo>
                      <a:pt x="1435" y="738"/>
                    </a:lnTo>
                    <a:lnTo>
                      <a:pt x="1433" y="746"/>
                    </a:lnTo>
                    <a:lnTo>
                      <a:pt x="1433" y="754"/>
                    </a:lnTo>
                    <a:lnTo>
                      <a:pt x="1437" y="760"/>
                    </a:lnTo>
                    <a:lnTo>
                      <a:pt x="1438" y="763"/>
                    </a:lnTo>
                    <a:lnTo>
                      <a:pt x="1442" y="763"/>
                    </a:lnTo>
                    <a:lnTo>
                      <a:pt x="1444" y="764"/>
                    </a:lnTo>
                    <a:lnTo>
                      <a:pt x="1447" y="764"/>
                    </a:lnTo>
                    <a:lnTo>
                      <a:pt x="1449" y="764"/>
                    </a:lnTo>
                    <a:lnTo>
                      <a:pt x="1450" y="766"/>
                    </a:lnTo>
                    <a:lnTo>
                      <a:pt x="1452" y="769"/>
                    </a:lnTo>
                    <a:lnTo>
                      <a:pt x="1454" y="771"/>
                    </a:lnTo>
                    <a:lnTo>
                      <a:pt x="1455" y="774"/>
                    </a:lnTo>
                    <a:lnTo>
                      <a:pt x="1457" y="776"/>
                    </a:lnTo>
                    <a:lnTo>
                      <a:pt x="1458" y="780"/>
                    </a:lnTo>
                    <a:lnTo>
                      <a:pt x="1460" y="782"/>
                    </a:lnTo>
                    <a:lnTo>
                      <a:pt x="1462" y="784"/>
                    </a:lnTo>
                    <a:lnTo>
                      <a:pt x="1465" y="784"/>
                    </a:lnTo>
                    <a:lnTo>
                      <a:pt x="1468" y="784"/>
                    </a:lnTo>
                    <a:lnTo>
                      <a:pt x="1469" y="779"/>
                    </a:lnTo>
                    <a:lnTo>
                      <a:pt x="1469" y="770"/>
                    </a:lnTo>
                    <a:lnTo>
                      <a:pt x="1469" y="761"/>
                    </a:lnTo>
                    <a:lnTo>
                      <a:pt x="1469" y="751"/>
                    </a:lnTo>
                    <a:lnTo>
                      <a:pt x="1468" y="744"/>
                    </a:lnTo>
                    <a:lnTo>
                      <a:pt x="1468" y="740"/>
                    </a:lnTo>
                    <a:lnTo>
                      <a:pt x="1468" y="738"/>
                    </a:lnTo>
                    <a:lnTo>
                      <a:pt x="1469" y="735"/>
                    </a:lnTo>
                    <a:lnTo>
                      <a:pt x="1469" y="733"/>
                    </a:lnTo>
                    <a:lnTo>
                      <a:pt x="1470" y="729"/>
                    </a:lnTo>
                    <a:lnTo>
                      <a:pt x="1472" y="727"/>
                    </a:lnTo>
                    <a:lnTo>
                      <a:pt x="1472" y="723"/>
                    </a:lnTo>
                    <a:lnTo>
                      <a:pt x="1473" y="722"/>
                    </a:lnTo>
                    <a:lnTo>
                      <a:pt x="1474" y="720"/>
                    </a:lnTo>
                    <a:lnTo>
                      <a:pt x="1475" y="722"/>
                    </a:lnTo>
                    <a:lnTo>
                      <a:pt x="1478" y="725"/>
                    </a:lnTo>
                    <a:lnTo>
                      <a:pt x="1480" y="729"/>
                    </a:lnTo>
                    <a:lnTo>
                      <a:pt x="1483" y="731"/>
                    </a:lnTo>
                    <a:lnTo>
                      <a:pt x="1488" y="734"/>
                    </a:lnTo>
                    <a:lnTo>
                      <a:pt x="1494" y="738"/>
                    </a:lnTo>
                    <a:lnTo>
                      <a:pt x="1500" y="741"/>
                    </a:lnTo>
                    <a:lnTo>
                      <a:pt x="1505" y="743"/>
                    </a:lnTo>
                    <a:lnTo>
                      <a:pt x="1510" y="740"/>
                    </a:lnTo>
                    <a:lnTo>
                      <a:pt x="1511" y="738"/>
                    </a:lnTo>
                    <a:lnTo>
                      <a:pt x="1513" y="735"/>
                    </a:lnTo>
                    <a:lnTo>
                      <a:pt x="1513" y="734"/>
                    </a:lnTo>
                    <a:lnTo>
                      <a:pt x="1513" y="735"/>
                    </a:lnTo>
                    <a:lnTo>
                      <a:pt x="1513" y="736"/>
                    </a:lnTo>
                    <a:lnTo>
                      <a:pt x="1513" y="739"/>
                    </a:lnTo>
                    <a:lnTo>
                      <a:pt x="1536" y="749"/>
                    </a:lnTo>
                    <a:lnTo>
                      <a:pt x="1562" y="758"/>
                    </a:lnTo>
                    <a:lnTo>
                      <a:pt x="1552" y="763"/>
                    </a:lnTo>
                    <a:lnTo>
                      <a:pt x="1541" y="766"/>
                    </a:lnTo>
                    <a:lnTo>
                      <a:pt x="1533" y="769"/>
                    </a:lnTo>
                    <a:lnTo>
                      <a:pt x="1528" y="775"/>
                    </a:lnTo>
                    <a:lnTo>
                      <a:pt x="1525" y="781"/>
                    </a:lnTo>
                    <a:lnTo>
                      <a:pt x="1520" y="789"/>
                    </a:lnTo>
                    <a:lnTo>
                      <a:pt x="1514" y="794"/>
                    </a:lnTo>
                    <a:lnTo>
                      <a:pt x="1505" y="796"/>
                    </a:lnTo>
                    <a:lnTo>
                      <a:pt x="1496" y="800"/>
                    </a:lnTo>
                    <a:lnTo>
                      <a:pt x="1496" y="800"/>
                    </a:lnTo>
                    <a:lnTo>
                      <a:pt x="1494" y="799"/>
                    </a:lnTo>
                    <a:lnTo>
                      <a:pt x="1493" y="799"/>
                    </a:lnTo>
                    <a:lnTo>
                      <a:pt x="1490" y="797"/>
                    </a:lnTo>
                    <a:lnTo>
                      <a:pt x="1488" y="797"/>
                    </a:lnTo>
                    <a:lnTo>
                      <a:pt x="1486" y="797"/>
                    </a:lnTo>
                    <a:lnTo>
                      <a:pt x="1481" y="800"/>
                    </a:lnTo>
                    <a:lnTo>
                      <a:pt x="1478" y="802"/>
                    </a:lnTo>
                    <a:lnTo>
                      <a:pt x="1475" y="805"/>
                    </a:lnTo>
                    <a:lnTo>
                      <a:pt x="1468" y="811"/>
                    </a:lnTo>
                    <a:lnTo>
                      <a:pt x="1460" y="814"/>
                    </a:lnTo>
                    <a:lnTo>
                      <a:pt x="1452" y="819"/>
                    </a:lnTo>
                    <a:lnTo>
                      <a:pt x="1450" y="820"/>
                    </a:lnTo>
                    <a:lnTo>
                      <a:pt x="1448" y="821"/>
                    </a:lnTo>
                    <a:lnTo>
                      <a:pt x="1447" y="824"/>
                    </a:lnTo>
                    <a:lnTo>
                      <a:pt x="1445" y="826"/>
                    </a:lnTo>
                    <a:lnTo>
                      <a:pt x="1445" y="827"/>
                    </a:lnTo>
                    <a:lnTo>
                      <a:pt x="1447" y="830"/>
                    </a:lnTo>
                    <a:lnTo>
                      <a:pt x="1449" y="831"/>
                    </a:lnTo>
                    <a:lnTo>
                      <a:pt x="1452" y="831"/>
                    </a:lnTo>
                    <a:lnTo>
                      <a:pt x="1468" y="830"/>
                    </a:lnTo>
                    <a:lnTo>
                      <a:pt x="1485" y="826"/>
                    </a:lnTo>
                    <a:lnTo>
                      <a:pt x="1501" y="821"/>
                    </a:lnTo>
                    <a:lnTo>
                      <a:pt x="1510" y="819"/>
                    </a:lnTo>
                    <a:lnTo>
                      <a:pt x="1519" y="815"/>
                    </a:lnTo>
                    <a:lnTo>
                      <a:pt x="1528" y="809"/>
                    </a:lnTo>
                    <a:lnTo>
                      <a:pt x="1533" y="801"/>
                    </a:lnTo>
                    <a:lnTo>
                      <a:pt x="1534" y="792"/>
                    </a:lnTo>
                    <a:lnTo>
                      <a:pt x="1535" y="784"/>
                    </a:lnTo>
                    <a:lnTo>
                      <a:pt x="1541" y="780"/>
                    </a:lnTo>
                    <a:lnTo>
                      <a:pt x="1551" y="779"/>
                    </a:lnTo>
                    <a:lnTo>
                      <a:pt x="1561" y="777"/>
                    </a:lnTo>
                    <a:lnTo>
                      <a:pt x="1574" y="779"/>
                    </a:lnTo>
                    <a:lnTo>
                      <a:pt x="1585" y="779"/>
                    </a:lnTo>
                    <a:lnTo>
                      <a:pt x="1596" y="777"/>
                    </a:lnTo>
                    <a:lnTo>
                      <a:pt x="1604" y="775"/>
                    </a:lnTo>
                    <a:lnTo>
                      <a:pt x="1609" y="769"/>
                    </a:lnTo>
                    <a:lnTo>
                      <a:pt x="1609" y="773"/>
                    </a:lnTo>
                    <a:lnTo>
                      <a:pt x="1670" y="792"/>
                    </a:lnTo>
                    <a:lnTo>
                      <a:pt x="1729" y="810"/>
                    </a:lnTo>
                    <a:lnTo>
                      <a:pt x="1728" y="809"/>
                    </a:lnTo>
                    <a:lnTo>
                      <a:pt x="1728" y="806"/>
                    </a:lnTo>
                    <a:lnTo>
                      <a:pt x="1729" y="805"/>
                    </a:lnTo>
                    <a:lnTo>
                      <a:pt x="1731" y="805"/>
                    </a:lnTo>
                    <a:lnTo>
                      <a:pt x="1731" y="806"/>
                    </a:lnTo>
                    <a:lnTo>
                      <a:pt x="1732" y="807"/>
                    </a:lnTo>
                    <a:lnTo>
                      <a:pt x="1733" y="807"/>
                    </a:lnTo>
                    <a:lnTo>
                      <a:pt x="1736" y="807"/>
                    </a:lnTo>
                    <a:lnTo>
                      <a:pt x="1737" y="809"/>
                    </a:lnTo>
                    <a:lnTo>
                      <a:pt x="1738" y="810"/>
                    </a:lnTo>
                    <a:lnTo>
                      <a:pt x="1739" y="810"/>
                    </a:lnTo>
                    <a:lnTo>
                      <a:pt x="1741" y="810"/>
                    </a:lnTo>
                    <a:lnTo>
                      <a:pt x="1744" y="811"/>
                    </a:lnTo>
                    <a:lnTo>
                      <a:pt x="1748" y="811"/>
                    </a:lnTo>
                    <a:lnTo>
                      <a:pt x="1752" y="812"/>
                    </a:lnTo>
                    <a:lnTo>
                      <a:pt x="1753" y="812"/>
                    </a:lnTo>
                    <a:lnTo>
                      <a:pt x="1756" y="819"/>
                    </a:lnTo>
                    <a:lnTo>
                      <a:pt x="1754" y="822"/>
                    </a:lnTo>
                    <a:lnTo>
                      <a:pt x="1749" y="825"/>
                    </a:lnTo>
                    <a:lnTo>
                      <a:pt x="1742" y="826"/>
                    </a:lnTo>
                    <a:lnTo>
                      <a:pt x="1736" y="826"/>
                    </a:lnTo>
                    <a:lnTo>
                      <a:pt x="1731" y="828"/>
                    </a:lnTo>
                    <a:lnTo>
                      <a:pt x="1727" y="828"/>
                    </a:lnTo>
                    <a:lnTo>
                      <a:pt x="1724" y="831"/>
                    </a:lnTo>
                    <a:lnTo>
                      <a:pt x="1723" y="832"/>
                    </a:lnTo>
                    <a:lnTo>
                      <a:pt x="1721" y="835"/>
                    </a:lnTo>
                    <a:lnTo>
                      <a:pt x="1719" y="836"/>
                    </a:lnTo>
                    <a:lnTo>
                      <a:pt x="1703" y="836"/>
                    </a:lnTo>
                    <a:lnTo>
                      <a:pt x="1688" y="837"/>
                    </a:lnTo>
                    <a:lnTo>
                      <a:pt x="1672" y="836"/>
                    </a:lnTo>
                    <a:lnTo>
                      <a:pt x="1670" y="837"/>
                    </a:lnTo>
                    <a:lnTo>
                      <a:pt x="1667" y="840"/>
                    </a:lnTo>
                    <a:lnTo>
                      <a:pt x="1666" y="842"/>
                    </a:lnTo>
                    <a:lnTo>
                      <a:pt x="1666" y="845"/>
                    </a:lnTo>
                    <a:lnTo>
                      <a:pt x="1667" y="847"/>
                    </a:lnTo>
                    <a:lnTo>
                      <a:pt x="1670" y="850"/>
                    </a:lnTo>
                    <a:lnTo>
                      <a:pt x="1673" y="850"/>
                    </a:lnTo>
                    <a:lnTo>
                      <a:pt x="1680" y="848"/>
                    </a:lnTo>
                    <a:lnTo>
                      <a:pt x="1687" y="846"/>
                    </a:lnTo>
                    <a:lnTo>
                      <a:pt x="1691" y="845"/>
                    </a:lnTo>
                    <a:lnTo>
                      <a:pt x="1692" y="843"/>
                    </a:lnTo>
                    <a:lnTo>
                      <a:pt x="1695" y="843"/>
                    </a:lnTo>
                    <a:lnTo>
                      <a:pt x="1697" y="843"/>
                    </a:lnTo>
                    <a:lnTo>
                      <a:pt x="1699" y="843"/>
                    </a:lnTo>
                    <a:lnTo>
                      <a:pt x="1702" y="843"/>
                    </a:lnTo>
                    <a:lnTo>
                      <a:pt x="1703" y="845"/>
                    </a:lnTo>
                    <a:lnTo>
                      <a:pt x="1704" y="845"/>
                    </a:lnTo>
                    <a:lnTo>
                      <a:pt x="1702" y="846"/>
                    </a:lnTo>
                    <a:lnTo>
                      <a:pt x="1699" y="847"/>
                    </a:lnTo>
                    <a:lnTo>
                      <a:pt x="1697" y="848"/>
                    </a:lnTo>
                    <a:lnTo>
                      <a:pt x="1693" y="850"/>
                    </a:lnTo>
                    <a:lnTo>
                      <a:pt x="1692" y="851"/>
                    </a:lnTo>
                    <a:lnTo>
                      <a:pt x="1691" y="852"/>
                    </a:lnTo>
                    <a:lnTo>
                      <a:pt x="1681" y="855"/>
                    </a:lnTo>
                    <a:lnTo>
                      <a:pt x="1671" y="857"/>
                    </a:lnTo>
                    <a:lnTo>
                      <a:pt x="1662" y="861"/>
                    </a:lnTo>
                    <a:lnTo>
                      <a:pt x="1657" y="865"/>
                    </a:lnTo>
                    <a:lnTo>
                      <a:pt x="1650" y="882"/>
                    </a:lnTo>
                    <a:lnTo>
                      <a:pt x="1640" y="898"/>
                    </a:lnTo>
                    <a:lnTo>
                      <a:pt x="1633" y="914"/>
                    </a:lnTo>
                    <a:lnTo>
                      <a:pt x="1631" y="919"/>
                    </a:lnTo>
                    <a:lnTo>
                      <a:pt x="1627" y="929"/>
                    </a:lnTo>
                    <a:lnTo>
                      <a:pt x="1623" y="937"/>
                    </a:lnTo>
                    <a:lnTo>
                      <a:pt x="1620" y="940"/>
                    </a:lnTo>
                    <a:lnTo>
                      <a:pt x="1615" y="939"/>
                    </a:lnTo>
                    <a:lnTo>
                      <a:pt x="1611" y="934"/>
                    </a:lnTo>
                    <a:lnTo>
                      <a:pt x="1610" y="928"/>
                    </a:lnTo>
                    <a:lnTo>
                      <a:pt x="1609" y="922"/>
                    </a:lnTo>
                    <a:lnTo>
                      <a:pt x="1607" y="917"/>
                    </a:lnTo>
                    <a:lnTo>
                      <a:pt x="1604" y="914"/>
                    </a:lnTo>
                    <a:lnTo>
                      <a:pt x="1601" y="917"/>
                    </a:lnTo>
                    <a:lnTo>
                      <a:pt x="1601" y="922"/>
                    </a:lnTo>
                    <a:lnTo>
                      <a:pt x="1602" y="927"/>
                    </a:lnTo>
                    <a:lnTo>
                      <a:pt x="1604" y="932"/>
                    </a:lnTo>
                    <a:lnTo>
                      <a:pt x="1604" y="935"/>
                    </a:lnTo>
                    <a:lnTo>
                      <a:pt x="1605" y="942"/>
                    </a:lnTo>
                    <a:lnTo>
                      <a:pt x="1605" y="949"/>
                    </a:lnTo>
                    <a:lnTo>
                      <a:pt x="1604" y="957"/>
                    </a:lnTo>
                    <a:lnTo>
                      <a:pt x="1606" y="964"/>
                    </a:lnTo>
                    <a:lnTo>
                      <a:pt x="1610" y="969"/>
                    </a:lnTo>
                    <a:lnTo>
                      <a:pt x="1615" y="975"/>
                    </a:lnTo>
                    <a:lnTo>
                      <a:pt x="1616" y="981"/>
                    </a:lnTo>
                    <a:lnTo>
                      <a:pt x="1615" y="990"/>
                    </a:lnTo>
                    <a:lnTo>
                      <a:pt x="1611" y="995"/>
                    </a:lnTo>
                    <a:lnTo>
                      <a:pt x="1606" y="999"/>
                    </a:lnTo>
                    <a:lnTo>
                      <a:pt x="1601" y="1001"/>
                    </a:lnTo>
                    <a:lnTo>
                      <a:pt x="1597" y="1004"/>
                    </a:lnTo>
                    <a:lnTo>
                      <a:pt x="1595" y="1008"/>
                    </a:lnTo>
                    <a:lnTo>
                      <a:pt x="1596" y="1014"/>
                    </a:lnTo>
                    <a:lnTo>
                      <a:pt x="1596" y="1016"/>
                    </a:lnTo>
                    <a:lnTo>
                      <a:pt x="1596" y="1019"/>
                    </a:lnTo>
                    <a:lnTo>
                      <a:pt x="1595" y="1020"/>
                    </a:lnTo>
                    <a:lnTo>
                      <a:pt x="1592" y="1021"/>
                    </a:lnTo>
                    <a:lnTo>
                      <a:pt x="1591" y="1022"/>
                    </a:lnTo>
                    <a:lnTo>
                      <a:pt x="1589" y="1022"/>
                    </a:lnTo>
                    <a:lnTo>
                      <a:pt x="1587" y="1024"/>
                    </a:lnTo>
                    <a:lnTo>
                      <a:pt x="1586" y="1024"/>
                    </a:lnTo>
                    <a:lnTo>
                      <a:pt x="1574" y="1030"/>
                    </a:lnTo>
                    <a:lnTo>
                      <a:pt x="1565" y="1035"/>
                    </a:lnTo>
                    <a:lnTo>
                      <a:pt x="1554" y="1041"/>
                    </a:lnTo>
                    <a:lnTo>
                      <a:pt x="1543" y="1047"/>
                    </a:lnTo>
                    <a:lnTo>
                      <a:pt x="1531" y="1052"/>
                    </a:lnTo>
                    <a:lnTo>
                      <a:pt x="1523" y="1061"/>
                    </a:lnTo>
                    <a:lnTo>
                      <a:pt x="1515" y="1065"/>
                    </a:lnTo>
                    <a:lnTo>
                      <a:pt x="1506" y="1069"/>
                    </a:lnTo>
                    <a:lnTo>
                      <a:pt x="1499" y="1071"/>
                    </a:lnTo>
                    <a:lnTo>
                      <a:pt x="1495" y="1073"/>
                    </a:lnTo>
                    <a:lnTo>
                      <a:pt x="1491" y="1076"/>
                    </a:lnTo>
                    <a:lnTo>
                      <a:pt x="1488" y="1078"/>
                    </a:lnTo>
                    <a:lnTo>
                      <a:pt x="1485" y="1081"/>
                    </a:lnTo>
                    <a:lnTo>
                      <a:pt x="1483" y="1083"/>
                    </a:lnTo>
                    <a:lnTo>
                      <a:pt x="1480" y="1087"/>
                    </a:lnTo>
                    <a:lnTo>
                      <a:pt x="1480" y="1095"/>
                    </a:lnTo>
                    <a:lnTo>
                      <a:pt x="1479" y="1101"/>
                    </a:lnTo>
                    <a:lnTo>
                      <a:pt x="1475" y="1108"/>
                    </a:lnTo>
                    <a:lnTo>
                      <a:pt x="1474" y="1113"/>
                    </a:lnTo>
                    <a:lnTo>
                      <a:pt x="1475" y="1121"/>
                    </a:lnTo>
                    <a:lnTo>
                      <a:pt x="1478" y="1128"/>
                    </a:lnTo>
                    <a:lnTo>
                      <a:pt x="1481" y="1138"/>
                    </a:lnTo>
                    <a:lnTo>
                      <a:pt x="1488" y="1146"/>
                    </a:lnTo>
                    <a:lnTo>
                      <a:pt x="1491" y="1154"/>
                    </a:lnTo>
                    <a:lnTo>
                      <a:pt x="1493" y="1158"/>
                    </a:lnTo>
                    <a:lnTo>
                      <a:pt x="1493" y="1161"/>
                    </a:lnTo>
                    <a:lnTo>
                      <a:pt x="1493" y="1164"/>
                    </a:lnTo>
                    <a:lnTo>
                      <a:pt x="1494" y="1167"/>
                    </a:lnTo>
                    <a:lnTo>
                      <a:pt x="1494" y="1169"/>
                    </a:lnTo>
                    <a:lnTo>
                      <a:pt x="1496" y="1170"/>
                    </a:lnTo>
                    <a:lnTo>
                      <a:pt x="1501" y="1184"/>
                    </a:lnTo>
                    <a:lnTo>
                      <a:pt x="1504" y="1198"/>
                    </a:lnTo>
                    <a:lnTo>
                      <a:pt x="1504" y="1213"/>
                    </a:lnTo>
                    <a:lnTo>
                      <a:pt x="1504" y="1215"/>
                    </a:lnTo>
                    <a:lnTo>
                      <a:pt x="1505" y="1218"/>
                    </a:lnTo>
                    <a:lnTo>
                      <a:pt x="1505" y="1220"/>
                    </a:lnTo>
                    <a:lnTo>
                      <a:pt x="1504" y="1223"/>
                    </a:lnTo>
                    <a:lnTo>
                      <a:pt x="1503" y="1225"/>
                    </a:lnTo>
                    <a:lnTo>
                      <a:pt x="1499" y="1228"/>
                    </a:lnTo>
                    <a:lnTo>
                      <a:pt x="1498" y="1231"/>
                    </a:lnTo>
                    <a:lnTo>
                      <a:pt x="1495" y="1234"/>
                    </a:lnTo>
                    <a:lnTo>
                      <a:pt x="1493" y="1235"/>
                    </a:lnTo>
                    <a:lnTo>
                      <a:pt x="1489" y="1236"/>
                    </a:lnTo>
                    <a:lnTo>
                      <a:pt x="1486" y="1236"/>
                    </a:lnTo>
                    <a:lnTo>
                      <a:pt x="1480" y="1229"/>
                    </a:lnTo>
                    <a:lnTo>
                      <a:pt x="1475" y="1220"/>
                    </a:lnTo>
                    <a:lnTo>
                      <a:pt x="1473" y="1213"/>
                    </a:lnTo>
                    <a:lnTo>
                      <a:pt x="1469" y="1208"/>
                    </a:lnTo>
                    <a:lnTo>
                      <a:pt x="1465" y="1203"/>
                    </a:lnTo>
                    <a:lnTo>
                      <a:pt x="1460" y="1199"/>
                    </a:lnTo>
                    <a:lnTo>
                      <a:pt x="1455" y="1198"/>
                    </a:lnTo>
                    <a:lnTo>
                      <a:pt x="1453" y="1195"/>
                    </a:lnTo>
                    <a:lnTo>
                      <a:pt x="1450" y="1192"/>
                    </a:lnTo>
                    <a:lnTo>
                      <a:pt x="1449" y="1188"/>
                    </a:lnTo>
                    <a:lnTo>
                      <a:pt x="1449" y="1183"/>
                    </a:lnTo>
                    <a:lnTo>
                      <a:pt x="1448" y="1178"/>
                    </a:lnTo>
                    <a:lnTo>
                      <a:pt x="1445" y="1174"/>
                    </a:lnTo>
                    <a:lnTo>
                      <a:pt x="1443" y="1170"/>
                    </a:lnTo>
                    <a:lnTo>
                      <a:pt x="1442" y="1166"/>
                    </a:lnTo>
                    <a:lnTo>
                      <a:pt x="1440" y="1163"/>
                    </a:lnTo>
                    <a:lnTo>
                      <a:pt x="1440" y="1159"/>
                    </a:lnTo>
                    <a:lnTo>
                      <a:pt x="1442" y="1156"/>
                    </a:lnTo>
                    <a:lnTo>
                      <a:pt x="1442" y="1153"/>
                    </a:lnTo>
                    <a:lnTo>
                      <a:pt x="1440" y="1149"/>
                    </a:lnTo>
                    <a:lnTo>
                      <a:pt x="1439" y="1147"/>
                    </a:lnTo>
                    <a:lnTo>
                      <a:pt x="1434" y="1141"/>
                    </a:lnTo>
                    <a:lnTo>
                      <a:pt x="1429" y="1134"/>
                    </a:lnTo>
                    <a:lnTo>
                      <a:pt x="1424" y="1129"/>
                    </a:lnTo>
                    <a:lnTo>
                      <a:pt x="1418" y="1129"/>
                    </a:lnTo>
                    <a:lnTo>
                      <a:pt x="1413" y="1134"/>
                    </a:lnTo>
                    <a:lnTo>
                      <a:pt x="1403" y="1138"/>
                    </a:lnTo>
                    <a:lnTo>
                      <a:pt x="1393" y="1138"/>
                    </a:lnTo>
                    <a:lnTo>
                      <a:pt x="1382" y="1136"/>
                    </a:lnTo>
                    <a:lnTo>
                      <a:pt x="1373" y="1132"/>
                    </a:lnTo>
                    <a:lnTo>
                      <a:pt x="1361" y="1124"/>
                    </a:lnTo>
                    <a:lnTo>
                      <a:pt x="1348" y="1122"/>
                    </a:lnTo>
                    <a:lnTo>
                      <a:pt x="1334" y="1123"/>
                    </a:lnTo>
                    <a:lnTo>
                      <a:pt x="1321" y="1123"/>
                    </a:lnTo>
                    <a:lnTo>
                      <a:pt x="1316" y="1122"/>
                    </a:lnTo>
                    <a:lnTo>
                      <a:pt x="1307" y="1119"/>
                    </a:lnTo>
                    <a:lnTo>
                      <a:pt x="1297" y="1118"/>
                    </a:lnTo>
                    <a:lnTo>
                      <a:pt x="1288" y="1117"/>
                    </a:lnTo>
                    <a:lnTo>
                      <a:pt x="1283" y="1118"/>
                    </a:lnTo>
                    <a:lnTo>
                      <a:pt x="1285" y="1119"/>
                    </a:lnTo>
                    <a:lnTo>
                      <a:pt x="1286" y="1121"/>
                    </a:lnTo>
                    <a:lnTo>
                      <a:pt x="1287" y="1123"/>
                    </a:lnTo>
                    <a:lnTo>
                      <a:pt x="1288" y="1126"/>
                    </a:lnTo>
                    <a:lnTo>
                      <a:pt x="1291" y="1127"/>
                    </a:lnTo>
                    <a:lnTo>
                      <a:pt x="1292" y="1129"/>
                    </a:lnTo>
                    <a:lnTo>
                      <a:pt x="1295" y="1132"/>
                    </a:lnTo>
                    <a:lnTo>
                      <a:pt x="1296" y="1133"/>
                    </a:lnTo>
                    <a:lnTo>
                      <a:pt x="1296" y="1134"/>
                    </a:lnTo>
                    <a:lnTo>
                      <a:pt x="1296" y="1136"/>
                    </a:lnTo>
                    <a:lnTo>
                      <a:pt x="1295" y="1137"/>
                    </a:lnTo>
                    <a:lnTo>
                      <a:pt x="1292" y="1137"/>
                    </a:lnTo>
                    <a:lnTo>
                      <a:pt x="1290" y="1137"/>
                    </a:lnTo>
                    <a:lnTo>
                      <a:pt x="1283" y="1138"/>
                    </a:lnTo>
                    <a:lnTo>
                      <a:pt x="1280" y="1142"/>
                    </a:lnTo>
                    <a:lnTo>
                      <a:pt x="1277" y="1146"/>
                    </a:lnTo>
                    <a:lnTo>
                      <a:pt x="1275" y="1148"/>
                    </a:lnTo>
                    <a:lnTo>
                      <a:pt x="1268" y="1147"/>
                    </a:lnTo>
                    <a:lnTo>
                      <a:pt x="1260" y="1143"/>
                    </a:lnTo>
                    <a:lnTo>
                      <a:pt x="1254" y="1138"/>
                    </a:lnTo>
                    <a:lnTo>
                      <a:pt x="1247" y="1133"/>
                    </a:lnTo>
                    <a:lnTo>
                      <a:pt x="1241" y="1132"/>
                    </a:lnTo>
                    <a:lnTo>
                      <a:pt x="1231" y="1134"/>
                    </a:lnTo>
                    <a:lnTo>
                      <a:pt x="1222" y="1136"/>
                    </a:lnTo>
                    <a:lnTo>
                      <a:pt x="1212" y="1133"/>
                    </a:lnTo>
                    <a:lnTo>
                      <a:pt x="1201" y="1132"/>
                    </a:lnTo>
                    <a:lnTo>
                      <a:pt x="1190" y="1131"/>
                    </a:lnTo>
                    <a:lnTo>
                      <a:pt x="1181" y="1132"/>
                    </a:lnTo>
                    <a:lnTo>
                      <a:pt x="1180" y="1134"/>
                    </a:lnTo>
                    <a:lnTo>
                      <a:pt x="1179" y="1137"/>
                    </a:lnTo>
                    <a:lnTo>
                      <a:pt x="1176" y="1139"/>
                    </a:lnTo>
                    <a:lnTo>
                      <a:pt x="1174" y="1139"/>
                    </a:lnTo>
                    <a:lnTo>
                      <a:pt x="1171" y="1139"/>
                    </a:lnTo>
                    <a:lnTo>
                      <a:pt x="1169" y="1142"/>
                    </a:lnTo>
                    <a:lnTo>
                      <a:pt x="1156" y="1144"/>
                    </a:lnTo>
                    <a:lnTo>
                      <a:pt x="1145" y="1149"/>
                    </a:lnTo>
                    <a:lnTo>
                      <a:pt x="1134" y="1153"/>
                    </a:lnTo>
                    <a:lnTo>
                      <a:pt x="1126" y="1158"/>
                    </a:lnTo>
                    <a:lnTo>
                      <a:pt x="1121" y="1163"/>
                    </a:lnTo>
                    <a:lnTo>
                      <a:pt x="1119" y="1173"/>
                    </a:lnTo>
                    <a:lnTo>
                      <a:pt x="1118" y="1177"/>
                    </a:lnTo>
                    <a:lnTo>
                      <a:pt x="1118" y="1180"/>
                    </a:lnTo>
                    <a:lnTo>
                      <a:pt x="1118" y="1184"/>
                    </a:lnTo>
                    <a:lnTo>
                      <a:pt x="1118" y="1188"/>
                    </a:lnTo>
                    <a:lnTo>
                      <a:pt x="1119" y="1192"/>
                    </a:lnTo>
                    <a:lnTo>
                      <a:pt x="1120" y="1195"/>
                    </a:lnTo>
                    <a:lnTo>
                      <a:pt x="1123" y="1199"/>
                    </a:lnTo>
                    <a:lnTo>
                      <a:pt x="1125" y="1202"/>
                    </a:lnTo>
                    <a:lnTo>
                      <a:pt x="1128" y="1205"/>
                    </a:lnTo>
                    <a:lnTo>
                      <a:pt x="1129" y="1210"/>
                    </a:lnTo>
                    <a:lnTo>
                      <a:pt x="1129" y="1221"/>
                    </a:lnTo>
                    <a:lnTo>
                      <a:pt x="1126" y="1231"/>
                    </a:lnTo>
                    <a:lnTo>
                      <a:pt x="1123" y="1243"/>
                    </a:lnTo>
                    <a:lnTo>
                      <a:pt x="1121" y="1254"/>
                    </a:lnTo>
                    <a:lnTo>
                      <a:pt x="1123" y="1263"/>
                    </a:lnTo>
                    <a:lnTo>
                      <a:pt x="1125" y="1270"/>
                    </a:lnTo>
                    <a:lnTo>
                      <a:pt x="1126" y="1280"/>
                    </a:lnTo>
                    <a:lnTo>
                      <a:pt x="1128" y="1282"/>
                    </a:lnTo>
                    <a:lnTo>
                      <a:pt x="1130" y="1285"/>
                    </a:lnTo>
                    <a:lnTo>
                      <a:pt x="1133" y="1286"/>
                    </a:lnTo>
                    <a:lnTo>
                      <a:pt x="1135" y="1289"/>
                    </a:lnTo>
                    <a:lnTo>
                      <a:pt x="1136" y="1291"/>
                    </a:lnTo>
                    <a:lnTo>
                      <a:pt x="1140" y="1295"/>
                    </a:lnTo>
                    <a:lnTo>
                      <a:pt x="1141" y="1299"/>
                    </a:lnTo>
                    <a:lnTo>
                      <a:pt x="1143" y="1302"/>
                    </a:lnTo>
                    <a:lnTo>
                      <a:pt x="1145" y="1306"/>
                    </a:lnTo>
                    <a:lnTo>
                      <a:pt x="1150" y="1313"/>
                    </a:lnTo>
                    <a:lnTo>
                      <a:pt x="1155" y="1320"/>
                    </a:lnTo>
                    <a:lnTo>
                      <a:pt x="1160" y="1325"/>
                    </a:lnTo>
                    <a:lnTo>
                      <a:pt x="1163" y="1328"/>
                    </a:lnTo>
                    <a:lnTo>
                      <a:pt x="1165" y="1332"/>
                    </a:lnTo>
                    <a:lnTo>
                      <a:pt x="1166" y="1336"/>
                    </a:lnTo>
                    <a:lnTo>
                      <a:pt x="1169" y="1340"/>
                    </a:lnTo>
                    <a:lnTo>
                      <a:pt x="1171" y="1343"/>
                    </a:lnTo>
                    <a:lnTo>
                      <a:pt x="1179" y="1346"/>
                    </a:lnTo>
                    <a:lnTo>
                      <a:pt x="1185" y="1347"/>
                    </a:lnTo>
                    <a:lnTo>
                      <a:pt x="1192" y="1348"/>
                    </a:lnTo>
                    <a:lnTo>
                      <a:pt x="1194" y="1350"/>
                    </a:lnTo>
                    <a:lnTo>
                      <a:pt x="1196" y="1351"/>
                    </a:lnTo>
                    <a:lnTo>
                      <a:pt x="1199" y="1352"/>
                    </a:lnTo>
                    <a:lnTo>
                      <a:pt x="1201" y="1353"/>
                    </a:lnTo>
                    <a:lnTo>
                      <a:pt x="1204" y="1353"/>
                    </a:lnTo>
                    <a:lnTo>
                      <a:pt x="1206" y="1355"/>
                    </a:lnTo>
                    <a:lnTo>
                      <a:pt x="1207" y="1353"/>
                    </a:lnTo>
                    <a:lnTo>
                      <a:pt x="1210" y="1352"/>
                    </a:lnTo>
                    <a:lnTo>
                      <a:pt x="1212" y="1351"/>
                    </a:lnTo>
                    <a:lnTo>
                      <a:pt x="1215" y="1350"/>
                    </a:lnTo>
                    <a:lnTo>
                      <a:pt x="1217" y="1350"/>
                    </a:lnTo>
                    <a:lnTo>
                      <a:pt x="1220" y="1350"/>
                    </a:lnTo>
                    <a:lnTo>
                      <a:pt x="1224" y="1351"/>
                    </a:lnTo>
                    <a:lnTo>
                      <a:pt x="1240" y="1351"/>
                    </a:lnTo>
                    <a:lnTo>
                      <a:pt x="1242" y="1350"/>
                    </a:lnTo>
                    <a:lnTo>
                      <a:pt x="1245" y="1348"/>
                    </a:lnTo>
                    <a:lnTo>
                      <a:pt x="1247" y="1348"/>
                    </a:lnTo>
                    <a:lnTo>
                      <a:pt x="1250" y="1350"/>
                    </a:lnTo>
                    <a:lnTo>
                      <a:pt x="1252" y="1351"/>
                    </a:lnTo>
                    <a:lnTo>
                      <a:pt x="1255" y="1352"/>
                    </a:lnTo>
                    <a:lnTo>
                      <a:pt x="1256" y="1353"/>
                    </a:lnTo>
                    <a:lnTo>
                      <a:pt x="1257" y="1353"/>
                    </a:lnTo>
                    <a:lnTo>
                      <a:pt x="1260" y="1355"/>
                    </a:lnTo>
                    <a:lnTo>
                      <a:pt x="1263" y="1353"/>
                    </a:lnTo>
                    <a:lnTo>
                      <a:pt x="1266" y="1353"/>
                    </a:lnTo>
                    <a:lnTo>
                      <a:pt x="1268" y="1352"/>
                    </a:lnTo>
                    <a:lnTo>
                      <a:pt x="1270" y="1351"/>
                    </a:lnTo>
                    <a:lnTo>
                      <a:pt x="1270" y="1348"/>
                    </a:lnTo>
                    <a:lnTo>
                      <a:pt x="1270" y="1347"/>
                    </a:lnTo>
                    <a:lnTo>
                      <a:pt x="1268" y="1346"/>
                    </a:lnTo>
                    <a:lnTo>
                      <a:pt x="1268" y="1343"/>
                    </a:lnTo>
                    <a:lnTo>
                      <a:pt x="1270" y="1341"/>
                    </a:lnTo>
                    <a:lnTo>
                      <a:pt x="1271" y="1340"/>
                    </a:lnTo>
                    <a:lnTo>
                      <a:pt x="1273" y="1337"/>
                    </a:lnTo>
                    <a:lnTo>
                      <a:pt x="1276" y="1335"/>
                    </a:lnTo>
                    <a:lnTo>
                      <a:pt x="1280" y="1330"/>
                    </a:lnTo>
                    <a:lnTo>
                      <a:pt x="1281" y="1322"/>
                    </a:lnTo>
                    <a:lnTo>
                      <a:pt x="1281" y="1315"/>
                    </a:lnTo>
                    <a:lnTo>
                      <a:pt x="1285" y="1310"/>
                    </a:lnTo>
                    <a:lnTo>
                      <a:pt x="1292" y="1307"/>
                    </a:lnTo>
                    <a:lnTo>
                      <a:pt x="1301" y="1307"/>
                    </a:lnTo>
                    <a:lnTo>
                      <a:pt x="1311" y="1307"/>
                    </a:lnTo>
                    <a:lnTo>
                      <a:pt x="1318" y="1306"/>
                    </a:lnTo>
                    <a:lnTo>
                      <a:pt x="1325" y="1305"/>
                    </a:lnTo>
                    <a:lnTo>
                      <a:pt x="1334" y="1305"/>
                    </a:lnTo>
                    <a:lnTo>
                      <a:pt x="1344" y="1305"/>
                    </a:lnTo>
                    <a:lnTo>
                      <a:pt x="1353" y="1306"/>
                    </a:lnTo>
                    <a:lnTo>
                      <a:pt x="1358" y="1309"/>
                    </a:lnTo>
                    <a:lnTo>
                      <a:pt x="1359" y="1315"/>
                    </a:lnTo>
                    <a:lnTo>
                      <a:pt x="1357" y="1318"/>
                    </a:lnTo>
                    <a:lnTo>
                      <a:pt x="1354" y="1322"/>
                    </a:lnTo>
                    <a:lnTo>
                      <a:pt x="1352" y="1325"/>
                    </a:lnTo>
                    <a:lnTo>
                      <a:pt x="1349" y="1328"/>
                    </a:lnTo>
                    <a:lnTo>
                      <a:pt x="1347" y="1332"/>
                    </a:lnTo>
                    <a:lnTo>
                      <a:pt x="1347" y="1336"/>
                    </a:lnTo>
                    <a:lnTo>
                      <a:pt x="1347" y="1340"/>
                    </a:lnTo>
                    <a:lnTo>
                      <a:pt x="1346" y="1350"/>
                    </a:lnTo>
                    <a:lnTo>
                      <a:pt x="1343" y="1357"/>
                    </a:lnTo>
                    <a:lnTo>
                      <a:pt x="1337" y="1363"/>
                    </a:lnTo>
                    <a:lnTo>
                      <a:pt x="1328" y="1367"/>
                    </a:lnTo>
                    <a:lnTo>
                      <a:pt x="1325" y="1367"/>
                    </a:lnTo>
                    <a:lnTo>
                      <a:pt x="1322" y="1367"/>
                    </a:lnTo>
                    <a:lnTo>
                      <a:pt x="1318" y="1368"/>
                    </a:lnTo>
                    <a:lnTo>
                      <a:pt x="1316" y="1369"/>
                    </a:lnTo>
                    <a:lnTo>
                      <a:pt x="1316" y="1372"/>
                    </a:lnTo>
                    <a:lnTo>
                      <a:pt x="1317" y="1374"/>
                    </a:lnTo>
                    <a:lnTo>
                      <a:pt x="1320" y="1377"/>
                    </a:lnTo>
                    <a:lnTo>
                      <a:pt x="1322" y="1378"/>
                    </a:lnTo>
                    <a:lnTo>
                      <a:pt x="1326" y="1379"/>
                    </a:lnTo>
                    <a:lnTo>
                      <a:pt x="1328" y="1384"/>
                    </a:lnTo>
                    <a:lnTo>
                      <a:pt x="1331" y="1391"/>
                    </a:lnTo>
                    <a:lnTo>
                      <a:pt x="1333" y="1396"/>
                    </a:lnTo>
                    <a:lnTo>
                      <a:pt x="1338" y="1401"/>
                    </a:lnTo>
                    <a:lnTo>
                      <a:pt x="1344" y="1403"/>
                    </a:lnTo>
                    <a:lnTo>
                      <a:pt x="1352" y="1403"/>
                    </a:lnTo>
                    <a:lnTo>
                      <a:pt x="1359" y="1402"/>
                    </a:lnTo>
                    <a:lnTo>
                      <a:pt x="1367" y="1401"/>
                    </a:lnTo>
                    <a:lnTo>
                      <a:pt x="1373" y="1403"/>
                    </a:lnTo>
                    <a:lnTo>
                      <a:pt x="1383" y="1403"/>
                    </a:lnTo>
                    <a:lnTo>
                      <a:pt x="1392" y="1402"/>
                    </a:lnTo>
                    <a:lnTo>
                      <a:pt x="1402" y="1401"/>
                    </a:lnTo>
                    <a:lnTo>
                      <a:pt x="1405" y="1401"/>
                    </a:lnTo>
                    <a:lnTo>
                      <a:pt x="1410" y="1401"/>
                    </a:lnTo>
                    <a:lnTo>
                      <a:pt x="1414" y="1401"/>
                    </a:lnTo>
                    <a:lnTo>
                      <a:pt x="1418" y="1402"/>
                    </a:lnTo>
                    <a:lnTo>
                      <a:pt x="1420" y="1403"/>
                    </a:lnTo>
                    <a:lnTo>
                      <a:pt x="1422" y="1406"/>
                    </a:lnTo>
                    <a:lnTo>
                      <a:pt x="1424" y="1408"/>
                    </a:lnTo>
                    <a:lnTo>
                      <a:pt x="1425" y="1411"/>
                    </a:lnTo>
                    <a:lnTo>
                      <a:pt x="1428" y="1412"/>
                    </a:lnTo>
                    <a:lnTo>
                      <a:pt x="1430" y="1412"/>
                    </a:lnTo>
                    <a:lnTo>
                      <a:pt x="1433" y="1412"/>
                    </a:lnTo>
                    <a:lnTo>
                      <a:pt x="1435" y="1411"/>
                    </a:lnTo>
                    <a:lnTo>
                      <a:pt x="1439" y="1411"/>
                    </a:lnTo>
                    <a:lnTo>
                      <a:pt x="1444" y="1413"/>
                    </a:lnTo>
                    <a:lnTo>
                      <a:pt x="1447" y="1418"/>
                    </a:lnTo>
                    <a:lnTo>
                      <a:pt x="1448" y="1425"/>
                    </a:lnTo>
                    <a:lnTo>
                      <a:pt x="1447" y="1432"/>
                    </a:lnTo>
                    <a:lnTo>
                      <a:pt x="1447" y="1437"/>
                    </a:lnTo>
                    <a:lnTo>
                      <a:pt x="1445" y="1442"/>
                    </a:lnTo>
                    <a:lnTo>
                      <a:pt x="1444" y="1447"/>
                    </a:lnTo>
                    <a:lnTo>
                      <a:pt x="1443" y="1450"/>
                    </a:lnTo>
                    <a:lnTo>
                      <a:pt x="1442" y="1455"/>
                    </a:lnTo>
                    <a:lnTo>
                      <a:pt x="1440" y="1459"/>
                    </a:lnTo>
                    <a:lnTo>
                      <a:pt x="1439" y="1464"/>
                    </a:lnTo>
                    <a:lnTo>
                      <a:pt x="1438" y="1466"/>
                    </a:lnTo>
                    <a:lnTo>
                      <a:pt x="1437" y="1470"/>
                    </a:lnTo>
                    <a:lnTo>
                      <a:pt x="1437" y="1474"/>
                    </a:lnTo>
                    <a:lnTo>
                      <a:pt x="1437" y="1491"/>
                    </a:lnTo>
                    <a:lnTo>
                      <a:pt x="1438" y="1495"/>
                    </a:lnTo>
                    <a:lnTo>
                      <a:pt x="1442" y="1496"/>
                    </a:lnTo>
                    <a:lnTo>
                      <a:pt x="1445" y="1499"/>
                    </a:lnTo>
                    <a:lnTo>
                      <a:pt x="1448" y="1500"/>
                    </a:lnTo>
                    <a:lnTo>
                      <a:pt x="1452" y="1503"/>
                    </a:lnTo>
                    <a:lnTo>
                      <a:pt x="1453" y="1504"/>
                    </a:lnTo>
                    <a:lnTo>
                      <a:pt x="1454" y="1505"/>
                    </a:lnTo>
                    <a:lnTo>
                      <a:pt x="1457" y="1506"/>
                    </a:lnTo>
                    <a:lnTo>
                      <a:pt x="1459" y="1509"/>
                    </a:lnTo>
                    <a:lnTo>
                      <a:pt x="1463" y="1510"/>
                    </a:lnTo>
                    <a:lnTo>
                      <a:pt x="1468" y="1512"/>
                    </a:lnTo>
                    <a:lnTo>
                      <a:pt x="1473" y="1512"/>
                    </a:lnTo>
                    <a:lnTo>
                      <a:pt x="1478" y="1512"/>
                    </a:lnTo>
                    <a:lnTo>
                      <a:pt x="1491" y="1511"/>
                    </a:lnTo>
                    <a:lnTo>
                      <a:pt x="1503" y="1508"/>
                    </a:lnTo>
                    <a:lnTo>
                      <a:pt x="1513" y="1505"/>
                    </a:lnTo>
                    <a:lnTo>
                      <a:pt x="1523" y="1503"/>
                    </a:lnTo>
                    <a:lnTo>
                      <a:pt x="1533" y="1505"/>
                    </a:lnTo>
                    <a:lnTo>
                      <a:pt x="1543" y="1508"/>
                    </a:lnTo>
                    <a:lnTo>
                      <a:pt x="1551" y="1510"/>
                    </a:lnTo>
                    <a:lnTo>
                      <a:pt x="1552" y="1510"/>
                    </a:lnTo>
                    <a:lnTo>
                      <a:pt x="1554" y="1511"/>
                    </a:lnTo>
                    <a:lnTo>
                      <a:pt x="1556" y="1514"/>
                    </a:lnTo>
                    <a:lnTo>
                      <a:pt x="1560" y="1515"/>
                    </a:lnTo>
                    <a:lnTo>
                      <a:pt x="1562" y="1516"/>
                    </a:lnTo>
                    <a:lnTo>
                      <a:pt x="1566" y="1517"/>
                    </a:lnTo>
                    <a:lnTo>
                      <a:pt x="1569" y="1519"/>
                    </a:lnTo>
                    <a:lnTo>
                      <a:pt x="1570" y="1517"/>
                    </a:lnTo>
                    <a:lnTo>
                      <a:pt x="1574" y="1516"/>
                    </a:lnTo>
                    <a:lnTo>
                      <a:pt x="1577" y="1514"/>
                    </a:lnTo>
                    <a:lnTo>
                      <a:pt x="1581" y="1511"/>
                    </a:lnTo>
                    <a:lnTo>
                      <a:pt x="1584" y="1508"/>
                    </a:lnTo>
                    <a:lnTo>
                      <a:pt x="1589" y="1505"/>
                    </a:lnTo>
                    <a:lnTo>
                      <a:pt x="1595" y="1501"/>
                    </a:lnTo>
                    <a:lnTo>
                      <a:pt x="1599" y="1495"/>
                    </a:lnTo>
                    <a:lnTo>
                      <a:pt x="1601" y="1490"/>
                    </a:lnTo>
                    <a:lnTo>
                      <a:pt x="1604" y="1484"/>
                    </a:lnTo>
                    <a:lnTo>
                      <a:pt x="1610" y="1479"/>
                    </a:lnTo>
                    <a:lnTo>
                      <a:pt x="1611" y="1478"/>
                    </a:lnTo>
                    <a:lnTo>
                      <a:pt x="1614" y="1476"/>
                    </a:lnTo>
                    <a:lnTo>
                      <a:pt x="1615" y="1474"/>
                    </a:lnTo>
                    <a:lnTo>
                      <a:pt x="1617" y="1474"/>
                    </a:lnTo>
                    <a:lnTo>
                      <a:pt x="1620" y="1474"/>
                    </a:lnTo>
                    <a:lnTo>
                      <a:pt x="1621" y="1474"/>
                    </a:lnTo>
                    <a:lnTo>
                      <a:pt x="1622" y="1475"/>
                    </a:lnTo>
                    <a:lnTo>
                      <a:pt x="1623" y="1475"/>
                    </a:lnTo>
                    <a:lnTo>
                      <a:pt x="1625" y="1476"/>
                    </a:lnTo>
                    <a:lnTo>
                      <a:pt x="1627" y="1476"/>
                    </a:lnTo>
                    <a:lnTo>
                      <a:pt x="1628" y="1476"/>
                    </a:lnTo>
                    <a:lnTo>
                      <a:pt x="1630" y="1475"/>
                    </a:lnTo>
                    <a:lnTo>
                      <a:pt x="1631" y="1473"/>
                    </a:lnTo>
                    <a:lnTo>
                      <a:pt x="1632" y="1471"/>
                    </a:lnTo>
                    <a:lnTo>
                      <a:pt x="1633" y="1470"/>
                    </a:lnTo>
                    <a:lnTo>
                      <a:pt x="1636" y="1468"/>
                    </a:lnTo>
                    <a:lnTo>
                      <a:pt x="1661" y="1463"/>
                    </a:lnTo>
                    <a:lnTo>
                      <a:pt x="1683" y="1453"/>
                    </a:lnTo>
                    <a:lnTo>
                      <a:pt x="1685" y="1452"/>
                    </a:lnTo>
                    <a:lnTo>
                      <a:pt x="1687" y="1449"/>
                    </a:lnTo>
                    <a:lnTo>
                      <a:pt x="1691" y="1449"/>
                    </a:lnTo>
                    <a:lnTo>
                      <a:pt x="1693" y="1448"/>
                    </a:lnTo>
                    <a:lnTo>
                      <a:pt x="1696" y="1448"/>
                    </a:lnTo>
                    <a:lnTo>
                      <a:pt x="1698" y="1448"/>
                    </a:lnTo>
                    <a:lnTo>
                      <a:pt x="1701" y="1449"/>
                    </a:lnTo>
                    <a:lnTo>
                      <a:pt x="1702" y="1450"/>
                    </a:lnTo>
                    <a:lnTo>
                      <a:pt x="1701" y="1453"/>
                    </a:lnTo>
                    <a:lnTo>
                      <a:pt x="1699" y="1455"/>
                    </a:lnTo>
                    <a:lnTo>
                      <a:pt x="1697" y="1457"/>
                    </a:lnTo>
                    <a:lnTo>
                      <a:pt x="1695" y="1458"/>
                    </a:lnTo>
                    <a:lnTo>
                      <a:pt x="1692" y="1459"/>
                    </a:lnTo>
                    <a:lnTo>
                      <a:pt x="1690" y="1459"/>
                    </a:lnTo>
                    <a:lnTo>
                      <a:pt x="1686" y="1460"/>
                    </a:lnTo>
                    <a:lnTo>
                      <a:pt x="1685" y="1461"/>
                    </a:lnTo>
                    <a:lnTo>
                      <a:pt x="1683" y="1463"/>
                    </a:lnTo>
                    <a:lnTo>
                      <a:pt x="1682" y="1465"/>
                    </a:lnTo>
                    <a:lnTo>
                      <a:pt x="1682" y="1468"/>
                    </a:lnTo>
                    <a:lnTo>
                      <a:pt x="1682" y="1470"/>
                    </a:lnTo>
                    <a:lnTo>
                      <a:pt x="1683" y="1474"/>
                    </a:lnTo>
                    <a:lnTo>
                      <a:pt x="1685" y="1476"/>
                    </a:lnTo>
                    <a:lnTo>
                      <a:pt x="1686" y="1479"/>
                    </a:lnTo>
                    <a:lnTo>
                      <a:pt x="1686" y="1481"/>
                    </a:lnTo>
                    <a:lnTo>
                      <a:pt x="1683" y="1484"/>
                    </a:lnTo>
                    <a:lnTo>
                      <a:pt x="1681" y="1485"/>
                    </a:lnTo>
                    <a:lnTo>
                      <a:pt x="1678" y="1488"/>
                    </a:lnTo>
                    <a:lnTo>
                      <a:pt x="1675" y="1489"/>
                    </a:lnTo>
                    <a:lnTo>
                      <a:pt x="1672" y="1490"/>
                    </a:lnTo>
                    <a:lnTo>
                      <a:pt x="1671" y="1493"/>
                    </a:lnTo>
                    <a:lnTo>
                      <a:pt x="1670" y="1494"/>
                    </a:lnTo>
                    <a:lnTo>
                      <a:pt x="1671" y="1495"/>
                    </a:lnTo>
                    <a:lnTo>
                      <a:pt x="1672" y="1496"/>
                    </a:lnTo>
                    <a:lnTo>
                      <a:pt x="1673" y="1498"/>
                    </a:lnTo>
                    <a:lnTo>
                      <a:pt x="1676" y="1499"/>
                    </a:lnTo>
                    <a:lnTo>
                      <a:pt x="1677" y="1500"/>
                    </a:lnTo>
                    <a:lnTo>
                      <a:pt x="1680" y="1500"/>
                    </a:lnTo>
                    <a:lnTo>
                      <a:pt x="1680" y="1501"/>
                    </a:lnTo>
                    <a:lnTo>
                      <a:pt x="1681" y="1503"/>
                    </a:lnTo>
                    <a:lnTo>
                      <a:pt x="1683" y="1505"/>
                    </a:lnTo>
                    <a:lnTo>
                      <a:pt x="1685" y="1505"/>
                    </a:lnTo>
                    <a:lnTo>
                      <a:pt x="1686" y="1505"/>
                    </a:lnTo>
                    <a:lnTo>
                      <a:pt x="1688" y="1503"/>
                    </a:lnTo>
                    <a:lnTo>
                      <a:pt x="1690" y="1501"/>
                    </a:lnTo>
                    <a:lnTo>
                      <a:pt x="1692" y="1499"/>
                    </a:lnTo>
                    <a:lnTo>
                      <a:pt x="1693" y="1496"/>
                    </a:lnTo>
                    <a:lnTo>
                      <a:pt x="1695" y="1494"/>
                    </a:lnTo>
                    <a:lnTo>
                      <a:pt x="1695" y="1491"/>
                    </a:lnTo>
                    <a:lnTo>
                      <a:pt x="1693" y="1489"/>
                    </a:lnTo>
                    <a:lnTo>
                      <a:pt x="1692" y="1486"/>
                    </a:lnTo>
                    <a:lnTo>
                      <a:pt x="1691" y="1484"/>
                    </a:lnTo>
                    <a:lnTo>
                      <a:pt x="1690" y="1481"/>
                    </a:lnTo>
                    <a:lnTo>
                      <a:pt x="1690" y="1479"/>
                    </a:lnTo>
                    <a:lnTo>
                      <a:pt x="1690" y="1476"/>
                    </a:lnTo>
                    <a:lnTo>
                      <a:pt x="1691" y="1473"/>
                    </a:lnTo>
                    <a:lnTo>
                      <a:pt x="1693" y="1471"/>
                    </a:lnTo>
                    <a:lnTo>
                      <a:pt x="1703" y="1468"/>
                    </a:lnTo>
                    <a:lnTo>
                      <a:pt x="1713" y="1465"/>
                    </a:lnTo>
                    <a:lnTo>
                      <a:pt x="1724" y="1463"/>
                    </a:lnTo>
                    <a:lnTo>
                      <a:pt x="1723" y="1460"/>
                    </a:lnTo>
                    <a:lnTo>
                      <a:pt x="1722" y="1459"/>
                    </a:lnTo>
                    <a:lnTo>
                      <a:pt x="1719" y="1458"/>
                    </a:lnTo>
                    <a:lnTo>
                      <a:pt x="1718" y="1457"/>
                    </a:lnTo>
                    <a:lnTo>
                      <a:pt x="1717" y="1455"/>
                    </a:lnTo>
                    <a:lnTo>
                      <a:pt x="1717" y="1453"/>
                    </a:lnTo>
                    <a:lnTo>
                      <a:pt x="1718" y="1452"/>
                    </a:lnTo>
                    <a:lnTo>
                      <a:pt x="1721" y="1450"/>
                    </a:lnTo>
                    <a:lnTo>
                      <a:pt x="1722" y="1450"/>
                    </a:lnTo>
                    <a:lnTo>
                      <a:pt x="1724" y="1452"/>
                    </a:lnTo>
                    <a:lnTo>
                      <a:pt x="1727" y="1453"/>
                    </a:lnTo>
                    <a:lnTo>
                      <a:pt x="1728" y="1454"/>
                    </a:lnTo>
                    <a:lnTo>
                      <a:pt x="1731" y="1455"/>
                    </a:lnTo>
                    <a:lnTo>
                      <a:pt x="1729" y="1457"/>
                    </a:lnTo>
                    <a:lnTo>
                      <a:pt x="1729" y="1458"/>
                    </a:lnTo>
                    <a:lnTo>
                      <a:pt x="1728" y="1459"/>
                    </a:lnTo>
                    <a:lnTo>
                      <a:pt x="1728" y="1459"/>
                    </a:lnTo>
                    <a:lnTo>
                      <a:pt x="1728" y="1460"/>
                    </a:lnTo>
                    <a:lnTo>
                      <a:pt x="1731" y="1460"/>
                    </a:lnTo>
                    <a:lnTo>
                      <a:pt x="1743" y="1460"/>
                    </a:lnTo>
                    <a:lnTo>
                      <a:pt x="1747" y="1460"/>
                    </a:lnTo>
                    <a:lnTo>
                      <a:pt x="1751" y="1461"/>
                    </a:lnTo>
                    <a:lnTo>
                      <a:pt x="1752" y="1463"/>
                    </a:lnTo>
                    <a:lnTo>
                      <a:pt x="1753" y="1464"/>
                    </a:lnTo>
                    <a:lnTo>
                      <a:pt x="1753" y="1465"/>
                    </a:lnTo>
                    <a:lnTo>
                      <a:pt x="1754" y="1468"/>
                    </a:lnTo>
                    <a:lnTo>
                      <a:pt x="1754" y="1470"/>
                    </a:lnTo>
                    <a:lnTo>
                      <a:pt x="1754" y="1473"/>
                    </a:lnTo>
                    <a:lnTo>
                      <a:pt x="1756" y="1474"/>
                    </a:lnTo>
                    <a:lnTo>
                      <a:pt x="1758" y="1475"/>
                    </a:lnTo>
                    <a:lnTo>
                      <a:pt x="1762" y="1476"/>
                    </a:lnTo>
                    <a:lnTo>
                      <a:pt x="1770" y="1474"/>
                    </a:lnTo>
                    <a:lnTo>
                      <a:pt x="1780" y="1471"/>
                    </a:lnTo>
                    <a:lnTo>
                      <a:pt x="1790" y="1471"/>
                    </a:lnTo>
                    <a:lnTo>
                      <a:pt x="1798" y="1474"/>
                    </a:lnTo>
                    <a:lnTo>
                      <a:pt x="1799" y="1474"/>
                    </a:lnTo>
                    <a:lnTo>
                      <a:pt x="1800" y="1474"/>
                    </a:lnTo>
                    <a:lnTo>
                      <a:pt x="1800" y="1475"/>
                    </a:lnTo>
                    <a:lnTo>
                      <a:pt x="1800" y="1476"/>
                    </a:lnTo>
                    <a:lnTo>
                      <a:pt x="1802" y="1478"/>
                    </a:lnTo>
                    <a:lnTo>
                      <a:pt x="1803" y="1478"/>
                    </a:lnTo>
                    <a:lnTo>
                      <a:pt x="1805" y="1478"/>
                    </a:lnTo>
                    <a:lnTo>
                      <a:pt x="1807" y="1479"/>
                    </a:lnTo>
                    <a:lnTo>
                      <a:pt x="1809" y="1479"/>
                    </a:lnTo>
                    <a:lnTo>
                      <a:pt x="1820" y="1478"/>
                    </a:lnTo>
                    <a:lnTo>
                      <a:pt x="1830" y="1474"/>
                    </a:lnTo>
                    <a:lnTo>
                      <a:pt x="1834" y="1470"/>
                    </a:lnTo>
                    <a:lnTo>
                      <a:pt x="1839" y="1468"/>
                    </a:lnTo>
                    <a:lnTo>
                      <a:pt x="1845" y="1466"/>
                    </a:lnTo>
                    <a:lnTo>
                      <a:pt x="1850" y="1463"/>
                    </a:lnTo>
                    <a:lnTo>
                      <a:pt x="1854" y="1461"/>
                    </a:lnTo>
                    <a:lnTo>
                      <a:pt x="1856" y="1460"/>
                    </a:lnTo>
                    <a:lnTo>
                      <a:pt x="1859" y="1460"/>
                    </a:lnTo>
                    <a:lnTo>
                      <a:pt x="1860" y="1461"/>
                    </a:lnTo>
                    <a:lnTo>
                      <a:pt x="1861" y="1463"/>
                    </a:lnTo>
                    <a:lnTo>
                      <a:pt x="1863" y="1464"/>
                    </a:lnTo>
                    <a:lnTo>
                      <a:pt x="1863" y="1465"/>
                    </a:lnTo>
                    <a:lnTo>
                      <a:pt x="1864" y="1466"/>
                    </a:lnTo>
                    <a:lnTo>
                      <a:pt x="1865" y="1468"/>
                    </a:lnTo>
                    <a:lnTo>
                      <a:pt x="1866" y="1468"/>
                    </a:lnTo>
                    <a:lnTo>
                      <a:pt x="1868" y="1469"/>
                    </a:lnTo>
                    <a:lnTo>
                      <a:pt x="1869" y="1470"/>
                    </a:lnTo>
                    <a:lnTo>
                      <a:pt x="1868" y="1471"/>
                    </a:lnTo>
                    <a:lnTo>
                      <a:pt x="1868" y="1473"/>
                    </a:lnTo>
                    <a:lnTo>
                      <a:pt x="1868" y="1474"/>
                    </a:lnTo>
                    <a:lnTo>
                      <a:pt x="1869" y="1475"/>
                    </a:lnTo>
                    <a:lnTo>
                      <a:pt x="1871" y="1476"/>
                    </a:lnTo>
                    <a:lnTo>
                      <a:pt x="1875" y="1476"/>
                    </a:lnTo>
                    <a:lnTo>
                      <a:pt x="1879" y="1478"/>
                    </a:lnTo>
                    <a:lnTo>
                      <a:pt x="1881" y="1479"/>
                    </a:lnTo>
                    <a:lnTo>
                      <a:pt x="1885" y="1481"/>
                    </a:lnTo>
                    <a:lnTo>
                      <a:pt x="1885" y="1479"/>
                    </a:lnTo>
                    <a:lnTo>
                      <a:pt x="1886" y="1478"/>
                    </a:lnTo>
                    <a:lnTo>
                      <a:pt x="1888" y="1476"/>
                    </a:lnTo>
                    <a:lnTo>
                      <a:pt x="1890" y="1478"/>
                    </a:lnTo>
                    <a:lnTo>
                      <a:pt x="1893" y="1479"/>
                    </a:lnTo>
                    <a:lnTo>
                      <a:pt x="1895" y="1480"/>
                    </a:lnTo>
                    <a:lnTo>
                      <a:pt x="1896" y="1481"/>
                    </a:lnTo>
                    <a:lnTo>
                      <a:pt x="1899" y="1481"/>
                    </a:lnTo>
                    <a:lnTo>
                      <a:pt x="1900" y="1483"/>
                    </a:lnTo>
                    <a:lnTo>
                      <a:pt x="1900" y="1484"/>
                    </a:lnTo>
                    <a:lnTo>
                      <a:pt x="1901" y="1485"/>
                    </a:lnTo>
                    <a:lnTo>
                      <a:pt x="1901" y="1488"/>
                    </a:lnTo>
                    <a:lnTo>
                      <a:pt x="1900" y="1489"/>
                    </a:lnTo>
                    <a:lnTo>
                      <a:pt x="1899" y="1490"/>
                    </a:lnTo>
                    <a:lnTo>
                      <a:pt x="1896" y="1491"/>
                    </a:lnTo>
                    <a:lnTo>
                      <a:pt x="1894" y="1493"/>
                    </a:lnTo>
                    <a:lnTo>
                      <a:pt x="1891" y="1494"/>
                    </a:lnTo>
                    <a:lnTo>
                      <a:pt x="1890" y="1494"/>
                    </a:lnTo>
                    <a:lnTo>
                      <a:pt x="1889" y="1496"/>
                    </a:lnTo>
                    <a:lnTo>
                      <a:pt x="1889" y="1496"/>
                    </a:lnTo>
                    <a:lnTo>
                      <a:pt x="1890" y="1496"/>
                    </a:lnTo>
                    <a:lnTo>
                      <a:pt x="1891" y="1496"/>
                    </a:lnTo>
                    <a:lnTo>
                      <a:pt x="1894" y="1496"/>
                    </a:lnTo>
                    <a:lnTo>
                      <a:pt x="1895" y="1495"/>
                    </a:lnTo>
                    <a:lnTo>
                      <a:pt x="1898" y="1495"/>
                    </a:lnTo>
                    <a:lnTo>
                      <a:pt x="1899" y="1495"/>
                    </a:lnTo>
                    <a:lnTo>
                      <a:pt x="1900" y="1494"/>
                    </a:lnTo>
                    <a:lnTo>
                      <a:pt x="1914" y="1493"/>
                    </a:lnTo>
                    <a:lnTo>
                      <a:pt x="1925" y="1495"/>
                    </a:lnTo>
                    <a:lnTo>
                      <a:pt x="1932" y="1503"/>
                    </a:lnTo>
                    <a:lnTo>
                      <a:pt x="1934" y="1504"/>
                    </a:lnTo>
                    <a:lnTo>
                      <a:pt x="1936" y="1506"/>
                    </a:lnTo>
                    <a:lnTo>
                      <a:pt x="1937" y="1509"/>
                    </a:lnTo>
                    <a:lnTo>
                      <a:pt x="1940" y="1511"/>
                    </a:lnTo>
                    <a:lnTo>
                      <a:pt x="1940" y="1512"/>
                    </a:lnTo>
                    <a:lnTo>
                      <a:pt x="1937" y="1520"/>
                    </a:lnTo>
                    <a:lnTo>
                      <a:pt x="1940" y="1517"/>
                    </a:lnTo>
                    <a:lnTo>
                      <a:pt x="1945" y="1517"/>
                    </a:lnTo>
                    <a:lnTo>
                      <a:pt x="1951" y="1519"/>
                    </a:lnTo>
                    <a:lnTo>
                      <a:pt x="1955" y="1521"/>
                    </a:lnTo>
                    <a:lnTo>
                      <a:pt x="1959" y="1522"/>
                    </a:lnTo>
                    <a:lnTo>
                      <a:pt x="1960" y="1524"/>
                    </a:lnTo>
                    <a:lnTo>
                      <a:pt x="1961" y="1525"/>
                    </a:lnTo>
                    <a:lnTo>
                      <a:pt x="1962" y="1526"/>
                    </a:lnTo>
                    <a:lnTo>
                      <a:pt x="1964" y="1529"/>
                    </a:lnTo>
                    <a:lnTo>
                      <a:pt x="1965" y="1529"/>
                    </a:lnTo>
                    <a:lnTo>
                      <a:pt x="1969" y="1530"/>
                    </a:lnTo>
                    <a:lnTo>
                      <a:pt x="1971" y="1530"/>
                    </a:lnTo>
                    <a:lnTo>
                      <a:pt x="1975" y="1529"/>
                    </a:lnTo>
                    <a:lnTo>
                      <a:pt x="1977" y="1529"/>
                    </a:lnTo>
                    <a:lnTo>
                      <a:pt x="1981" y="1529"/>
                    </a:lnTo>
                    <a:lnTo>
                      <a:pt x="2007" y="1619"/>
                    </a:lnTo>
                    <a:lnTo>
                      <a:pt x="2030" y="1713"/>
                    </a:lnTo>
                    <a:lnTo>
                      <a:pt x="2043" y="1767"/>
                    </a:lnTo>
                    <a:lnTo>
                      <a:pt x="2061" y="1821"/>
                    </a:lnTo>
                    <a:lnTo>
                      <a:pt x="2081" y="1873"/>
                    </a:lnTo>
                    <a:lnTo>
                      <a:pt x="2077" y="1873"/>
                    </a:lnTo>
                    <a:lnTo>
                      <a:pt x="2074" y="1873"/>
                    </a:lnTo>
                    <a:lnTo>
                      <a:pt x="2072" y="1874"/>
                    </a:lnTo>
                    <a:lnTo>
                      <a:pt x="2068" y="1876"/>
                    </a:lnTo>
                    <a:lnTo>
                      <a:pt x="2053" y="1883"/>
                    </a:lnTo>
                    <a:lnTo>
                      <a:pt x="2042" y="1892"/>
                    </a:lnTo>
                    <a:lnTo>
                      <a:pt x="2038" y="1894"/>
                    </a:lnTo>
                    <a:lnTo>
                      <a:pt x="2036" y="1897"/>
                    </a:lnTo>
                    <a:lnTo>
                      <a:pt x="2035" y="1899"/>
                    </a:lnTo>
                    <a:lnTo>
                      <a:pt x="2033" y="1903"/>
                    </a:lnTo>
                    <a:lnTo>
                      <a:pt x="2032" y="1905"/>
                    </a:lnTo>
                    <a:lnTo>
                      <a:pt x="2031" y="1908"/>
                    </a:lnTo>
                    <a:lnTo>
                      <a:pt x="2030" y="1909"/>
                    </a:lnTo>
                    <a:lnTo>
                      <a:pt x="2030" y="1915"/>
                    </a:lnTo>
                    <a:lnTo>
                      <a:pt x="2028" y="1920"/>
                    </a:lnTo>
                    <a:lnTo>
                      <a:pt x="2026" y="1925"/>
                    </a:lnTo>
                    <a:lnTo>
                      <a:pt x="2018" y="1930"/>
                    </a:lnTo>
                    <a:lnTo>
                      <a:pt x="2016" y="1932"/>
                    </a:lnTo>
                    <a:lnTo>
                      <a:pt x="2013" y="1933"/>
                    </a:lnTo>
                    <a:lnTo>
                      <a:pt x="2011" y="1935"/>
                    </a:lnTo>
                    <a:lnTo>
                      <a:pt x="2008" y="1938"/>
                    </a:lnTo>
                    <a:lnTo>
                      <a:pt x="2006" y="1939"/>
                    </a:lnTo>
                    <a:lnTo>
                      <a:pt x="2003" y="1942"/>
                    </a:lnTo>
                    <a:lnTo>
                      <a:pt x="2003" y="1944"/>
                    </a:lnTo>
                    <a:lnTo>
                      <a:pt x="2002" y="1945"/>
                    </a:lnTo>
                    <a:lnTo>
                      <a:pt x="2002" y="1947"/>
                    </a:lnTo>
                    <a:lnTo>
                      <a:pt x="2001" y="1947"/>
                    </a:lnTo>
                    <a:lnTo>
                      <a:pt x="2001" y="1948"/>
                    </a:lnTo>
                    <a:lnTo>
                      <a:pt x="2000" y="1949"/>
                    </a:lnTo>
                    <a:lnTo>
                      <a:pt x="1997" y="1949"/>
                    </a:lnTo>
                    <a:lnTo>
                      <a:pt x="1997" y="1950"/>
                    </a:lnTo>
                    <a:lnTo>
                      <a:pt x="1996" y="1950"/>
                    </a:lnTo>
                    <a:lnTo>
                      <a:pt x="1997" y="1949"/>
                    </a:lnTo>
                    <a:lnTo>
                      <a:pt x="1997" y="1948"/>
                    </a:lnTo>
                    <a:lnTo>
                      <a:pt x="1997" y="1947"/>
                    </a:lnTo>
                    <a:lnTo>
                      <a:pt x="1995" y="1947"/>
                    </a:lnTo>
                    <a:lnTo>
                      <a:pt x="1991" y="1948"/>
                    </a:lnTo>
                    <a:lnTo>
                      <a:pt x="1990" y="1949"/>
                    </a:lnTo>
                    <a:lnTo>
                      <a:pt x="1987" y="1951"/>
                    </a:lnTo>
                    <a:lnTo>
                      <a:pt x="1984" y="1954"/>
                    </a:lnTo>
                    <a:lnTo>
                      <a:pt x="1980" y="1956"/>
                    </a:lnTo>
                    <a:lnTo>
                      <a:pt x="1977" y="1959"/>
                    </a:lnTo>
                    <a:lnTo>
                      <a:pt x="1976" y="1960"/>
                    </a:lnTo>
                    <a:lnTo>
                      <a:pt x="1975" y="1963"/>
                    </a:lnTo>
                    <a:lnTo>
                      <a:pt x="1975" y="1964"/>
                    </a:lnTo>
                    <a:lnTo>
                      <a:pt x="1974" y="1965"/>
                    </a:lnTo>
                    <a:lnTo>
                      <a:pt x="1971" y="1968"/>
                    </a:lnTo>
                    <a:lnTo>
                      <a:pt x="1970" y="1969"/>
                    </a:lnTo>
                    <a:lnTo>
                      <a:pt x="1969" y="1973"/>
                    </a:lnTo>
                    <a:lnTo>
                      <a:pt x="1967" y="1975"/>
                    </a:lnTo>
                    <a:lnTo>
                      <a:pt x="1966" y="1978"/>
                    </a:lnTo>
                    <a:lnTo>
                      <a:pt x="1965" y="1979"/>
                    </a:lnTo>
                    <a:lnTo>
                      <a:pt x="1962" y="1981"/>
                    </a:lnTo>
                    <a:lnTo>
                      <a:pt x="1959" y="1983"/>
                    </a:lnTo>
                    <a:lnTo>
                      <a:pt x="1956" y="1983"/>
                    </a:lnTo>
                    <a:lnTo>
                      <a:pt x="1952" y="1985"/>
                    </a:lnTo>
                    <a:lnTo>
                      <a:pt x="1951" y="1986"/>
                    </a:lnTo>
                    <a:lnTo>
                      <a:pt x="1950" y="1989"/>
                    </a:lnTo>
                    <a:lnTo>
                      <a:pt x="1947" y="1990"/>
                    </a:lnTo>
                    <a:lnTo>
                      <a:pt x="1930" y="1996"/>
                    </a:lnTo>
                    <a:lnTo>
                      <a:pt x="1911" y="1999"/>
                    </a:lnTo>
                    <a:lnTo>
                      <a:pt x="1909" y="1997"/>
                    </a:lnTo>
                    <a:lnTo>
                      <a:pt x="1906" y="1997"/>
                    </a:lnTo>
                    <a:lnTo>
                      <a:pt x="1905" y="1996"/>
                    </a:lnTo>
                    <a:lnTo>
                      <a:pt x="1904" y="1996"/>
                    </a:lnTo>
                    <a:lnTo>
                      <a:pt x="1900" y="1996"/>
                    </a:lnTo>
                    <a:lnTo>
                      <a:pt x="1888" y="1996"/>
                    </a:lnTo>
                    <a:lnTo>
                      <a:pt x="1885" y="1995"/>
                    </a:lnTo>
                    <a:lnTo>
                      <a:pt x="1884" y="1995"/>
                    </a:lnTo>
                    <a:lnTo>
                      <a:pt x="1884" y="1996"/>
                    </a:lnTo>
                    <a:lnTo>
                      <a:pt x="1884" y="1997"/>
                    </a:lnTo>
                    <a:lnTo>
                      <a:pt x="1884" y="2000"/>
                    </a:lnTo>
                    <a:lnTo>
                      <a:pt x="1885" y="2000"/>
                    </a:lnTo>
                    <a:lnTo>
                      <a:pt x="1888" y="2001"/>
                    </a:lnTo>
                    <a:lnTo>
                      <a:pt x="1890" y="2001"/>
                    </a:lnTo>
                    <a:lnTo>
                      <a:pt x="1894" y="2002"/>
                    </a:lnTo>
                    <a:lnTo>
                      <a:pt x="1896" y="2002"/>
                    </a:lnTo>
                    <a:lnTo>
                      <a:pt x="1899" y="2002"/>
                    </a:lnTo>
                    <a:lnTo>
                      <a:pt x="1901" y="2004"/>
                    </a:lnTo>
                    <a:lnTo>
                      <a:pt x="1904" y="2006"/>
                    </a:lnTo>
                    <a:lnTo>
                      <a:pt x="1903" y="2006"/>
                    </a:lnTo>
                    <a:lnTo>
                      <a:pt x="1903" y="2007"/>
                    </a:lnTo>
                    <a:lnTo>
                      <a:pt x="1903" y="2010"/>
                    </a:lnTo>
                    <a:lnTo>
                      <a:pt x="1904" y="2011"/>
                    </a:lnTo>
                    <a:lnTo>
                      <a:pt x="1905" y="2011"/>
                    </a:lnTo>
                    <a:lnTo>
                      <a:pt x="1908" y="2011"/>
                    </a:lnTo>
                    <a:lnTo>
                      <a:pt x="1909" y="2012"/>
                    </a:lnTo>
                    <a:lnTo>
                      <a:pt x="1910" y="2012"/>
                    </a:lnTo>
                    <a:lnTo>
                      <a:pt x="1911" y="2014"/>
                    </a:lnTo>
                    <a:lnTo>
                      <a:pt x="1910" y="2017"/>
                    </a:lnTo>
                    <a:lnTo>
                      <a:pt x="1908" y="2020"/>
                    </a:lnTo>
                    <a:lnTo>
                      <a:pt x="1905" y="2022"/>
                    </a:lnTo>
                    <a:lnTo>
                      <a:pt x="1901" y="2025"/>
                    </a:lnTo>
                    <a:lnTo>
                      <a:pt x="1898" y="2027"/>
                    </a:lnTo>
                    <a:lnTo>
                      <a:pt x="1891" y="2031"/>
                    </a:lnTo>
                    <a:lnTo>
                      <a:pt x="1883" y="2035"/>
                    </a:lnTo>
                    <a:lnTo>
                      <a:pt x="1871" y="2037"/>
                    </a:lnTo>
                    <a:lnTo>
                      <a:pt x="1866" y="2039"/>
                    </a:lnTo>
                    <a:lnTo>
                      <a:pt x="1861" y="2040"/>
                    </a:lnTo>
                    <a:lnTo>
                      <a:pt x="1856" y="2040"/>
                    </a:lnTo>
                    <a:lnTo>
                      <a:pt x="1843" y="2040"/>
                    </a:lnTo>
                    <a:lnTo>
                      <a:pt x="1840" y="2042"/>
                    </a:lnTo>
                    <a:lnTo>
                      <a:pt x="1840" y="2044"/>
                    </a:lnTo>
                    <a:lnTo>
                      <a:pt x="1840" y="2045"/>
                    </a:lnTo>
                    <a:lnTo>
                      <a:pt x="1840" y="2046"/>
                    </a:lnTo>
                    <a:lnTo>
                      <a:pt x="1840" y="2048"/>
                    </a:lnTo>
                    <a:lnTo>
                      <a:pt x="1840" y="2048"/>
                    </a:lnTo>
                    <a:lnTo>
                      <a:pt x="1840" y="2050"/>
                    </a:lnTo>
                    <a:lnTo>
                      <a:pt x="1839" y="2050"/>
                    </a:lnTo>
                    <a:lnTo>
                      <a:pt x="1838" y="2051"/>
                    </a:lnTo>
                    <a:lnTo>
                      <a:pt x="1837" y="2052"/>
                    </a:lnTo>
                    <a:lnTo>
                      <a:pt x="1835" y="2053"/>
                    </a:lnTo>
                    <a:lnTo>
                      <a:pt x="1835" y="2053"/>
                    </a:lnTo>
                    <a:lnTo>
                      <a:pt x="1835" y="2053"/>
                    </a:lnTo>
                    <a:lnTo>
                      <a:pt x="1837" y="2055"/>
                    </a:lnTo>
                    <a:lnTo>
                      <a:pt x="1837" y="2057"/>
                    </a:lnTo>
                    <a:lnTo>
                      <a:pt x="1835" y="2058"/>
                    </a:lnTo>
                    <a:lnTo>
                      <a:pt x="1833" y="2060"/>
                    </a:lnTo>
                    <a:lnTo>
                      <a:pt x="1830" y="2060"/>
                    </a:lnTo>
                    <a:lnTo>
                      <a:pt x="1827" y="2061"/>
                    </a:lnTo>
                    <a:lnTo>
                      <a:pt x="1823" y="2061"/>
                    </a:lnTo>
                    <a:lnTo>
                      <a:pt x="1819" y="2061"/>
                    </a:lnTo>
                    <a:lnTo>
                      <a:pt x="1817" y="2061"/>
                    </a:lnTo>
                    <a:lnTo>
                      <a:pt x="1814" y="2061"/>
                    </a:lnTo>
                    <a:lnTo>
                      <a:pt x="1812" y="2060"/>
                    </a:lnTo>
                    <a:lnTo>
                      <a:pt x="1809" y="2058"/>
                    </a:lnTo>
                    <a:lnTo>
                      <a:pt x="1805" y="2058"/>
                    </a:lnTo>
                    <a:lnTo>
                      <a:pt x="1804" y="2060"/>
                    </a:lnTo>
                    <a:lnTo>
                      <a:pt x="1803" y="2061"/>
                    </a:lnTo>
                    <a:lnTo>
                      <a:pt x="1803" y="2062"/>
                    </a:lnTo>
                    <a:lnTo>
                      <a:pt x="1803" y="2062"/>
                    </a:lnTo>
                    <a:lnTo>
                      <a:pt x="1803" y="2063"/>
                    </a:lnTo>
                    <a:lnTo>
                      <a:pt x="1804" y="2063"/>
                    </a:lnTo>
                    <a:lnTo>
                      <a:pt x="1805" y="2066"/>
                    </a:lnTo>
                    <a:lnTo>
                      <a:pt x="1807" y="2067"/>
                    </a:lnTo>
                    <a:lnTo>
                      <a:pt x="1807" y="2068"/>
                    </a:lnTo>
                    <a:lnTo>
                      <a:pt x="1809" y="2068"/>
                    </a:lnTo>
                    <a:lnTo>
                      <a:pt x="1810" y="2070"/>
                    </a:lnTo>
                    <a:lnTo>
                      <a:pt x="1812" y="2071"/>
                    </a:lnTo>
                    <a:lnTo>
                      <a:pt x="1812" y="2071"/>
                    </a:lnTo>
                    <a:lnTo>
                      <a:pt x="1812" y="2072"/>
                    </a:lnTo>
                    <a:lnTo>
                      <a:pt x="1812" y="2073"/>
                    </a:lnTo>
                    <a:lnTo>
                      <a:pt x="1812" y="2075"/>
                    </a:lnTo>
                    <a:lnTo>
                      <a:pt x="1810" y="2075"/>
                    </a:lnTo>
                    <a:lnTo>
                      <a:pt x="1812" y="2076"/>
                    </a:lnTo>
                    <a:lnTo>
                      <a:pt x="1812" y="2076"/>
                    </a:lnTo>
                    <a:lnTo>
                      <a:pt x="1813" y="2076"/>
                    </a:lnTo>
                    <a:lnTo>
                      <a:pt x="1814" y="2076"/>
                    </a:lnTo>
                    <a:lnTo>
                      <a:pt x="1814" y="2076"/>
                    </a:lnTo>
                    <a:lnTo>
                      <a:pt x="1814" y="2077"/>
                    </a:lnTo>
                    <a:lnTo>
                      <a:pt x="1813" y="2078"/>
                    </a:lnTo>
                    <a:lnTo>
                      <a:pt x="1812" y="2080"/>
                    </a:lnTo>
                    <a:lnTo>
                      <a:pt x="1810" y="2080"/>
                    </a:lnTo>
                    <a:lnTo>
                      <a:pt x="1809" y="2081"/>
                    </a:lnTo>
                    <a:lnTo>
                      <a:pt x="1809" y="2082"/>
                    </a:lnTo>
                    <a:lnTo>
                      <a:pt x="1809" y="2083"/>
                    </a:lnTo>
                    <a:lnTo>
                      <a:pt x="1809" y="2086"/>
                    </a:lnTo>
                    <a:lnTo>
                      <a:pt x="1809" y="2087"/>
                    </a:lnTo>
                    <a:lnTo>
                      <a:pt x="1809" y="2090"/>
                    </a:lnTo>
                    <a:lnTo>
                      <a:pt x="1808" y="2091"/>
                    </a:lnTo>
                    <a:lnTo>
                      <a:pt x="1807" y="2092"/>
                    </a:lnTo>
                    <a:lnTo>
                      <a:pt x="1803" y="2092"/>
                    </a:lnTo>
                    <a:lnTo>
                      <a:pt x="1799" y="2092"/>
                    </a:lnTo>
                    <a:lnTo>
                      <a:pt x="1797" y="2093"/>
                    </a:lnTo>
                    <a:lnTo>
                      <a:pt x="1793" y="2095"/>
                    </a:lnTo>
                    <a:lnTo>
                      <a:pt x="1792" y="2096"/>
                    </a:lnTo>
                    <a:lnTo>
                      <a:pt x="1790" y="2096"/>
                    </a:lnTo>
                    <a:lnTo>
                      <a:pt x="1789" y="2097"/>
                    </a:lnTo>
                    <a:lnTo>
                      <a:pt x="1788" y="2097"/>
                    </a:lnTo>
                    <a:lnTo>
                      <a:pt x="1787" y="2099"/>
                    </a:lnTo>
                    <a:lnTo>
                      <a:pt x="1787" y="2102"/>
                    </a:lnTo>
                    <a:lnTo>
                      <a:pt x="1788" y="2103"/>
                    </a:lnTo>
                    <a:lnTo>
                      <a:pt x="1789" y="2104"/>
                    </a:lnTo>
                    <a:lnTo>
                      <a:pt x="1790" y="2106"/>
                    </a:lnTo>
                    <a:lnTo>
                      <a:pt x="1793" y="2107"/>
                    </a:lnTo>
                    <a:lnTo>
                      <a:pt x="1795" y="2107"/>
                    </a:lnTo>
                    <a:lnTo>
                      <a:pt x="1799" y="2108"/>
                    </a:lnTo>
                    <a:lnTo>
                      <a:pt x="1802" y="2108"/>
                    </a:lnTo>
                    <a:lnTo>
                      <a:pt x="1804" y="2108"/>
                    </a:lnTo>
                    <a:lnTo>
                      <a:pt x="1814" y="2108"/>
                    </a:lnTo>
                    <a:lnTo>
                      <a:pt x="1815" y="2109"/>
                    </a:lnTo>
                    <a:lnTo>
                      <a:pt x="1817" y="2112"/>
                    </a:lnTo>
                    <a:lnTo>
                      <a:pt x="1815" y="2113"/>
                    </a:lnTo>
                    <a:lnTo>
                      <a:pt x="1814" y="2113"/>
                    </a:lnTo>
                    <a:lnTo>
                      <a:pt x="1812" y="2116"/>
                    </a:lnTo>
                    <a:lnTo>
                      <a:pt x="1809" y="2117"/>
                    </a:lnTo>
                    <a:lnTo>
                      <a:pt x="1807" y="2118"/>
                    </a:lnTo>
                    <a:lnTo>
                      <a:pt x="1804" y="2118"/>
                    </a:lnTo>
                    <a:lnTo>
                      <a:pt x="1804" y="2119"/>
                    </a:lnTo>
                    <a:lnTo>
                      <a:pt x="1803" y="2119"/>
                    </a:lnTo>
                    <a:lnTo>
                      <a:pt x="1800" y="2121"/>
                    </a:lnTo>
                    <a:lnTo>
                      <a:pt x="1798" y="2121"/>
                    </a:lnTo>
                    <a:lnTo>
                      <a:pt x="1798" y="2129"/>
                    </a:lnTo>
                    <a:lnTo>
                      <a:pt x="1795" y="2131"/>
                    </a:lnTo>
                    <a:lnTo>
                      <a:pt x="1793" y="2132"/>
                    </a:lnTo>
                    <a:lnTo>
                      <a:pt x="1790" y="2132"/>
                    </a:lnTo>
                    <a:lnTo>
                      <a:pt x="1788" y="2133"/>
                    </a:lnTo>
                    <a:lnTo>
                      <a:pt x="1787" y="2134"/>
                    </a:lnTo>
                    <a:lnTo>
                      <a:pt x="1787" y="2136"/>
                    </a:lnTo>
                    <a:lnTo>
                      <a:pt x="1788" y="2137"/>
                    </a:lnTo>
                    <a:lnTo>
                      <a:pt x="1789" y="2138"/>
                    </a:lnTo>
                    <a:lnTo>
                      <a:pt x="1790" y="2139"/>
                    </a:lnTo>
                    <a:lnTo>
                      <a:pt x="1793" y="2142"/>
                    </a:lnTo>
                    <a:lnTo>
                      <a:pt x="1795" y="2142"/>
                    </a:lnTo>
                    <a:lnTo>
                      <a:pt x="1797" y="2143"/>
                    </a:lnTo>
                    <a:lnTo>
                      <a:pt x="1799" y="2144"/>
                    </a:lnTo>
                    <a:lnTo>
                      <a:pt x="1800" y="2144"/>
                    </a:lnTo>
                    <a:lnTo>
                      <a:pt x="1800" y="2144"/>
                    </a:lnTo>
                    <a:lnTo>
                      <a:pt x="1800" y="2144"/>
                    </a:lnTo>
                    <a:lnTo>
                      <a:pt x="1798" y="2144"/>
                    </a:lnTo>
                    <a:lnTo>
                      <a:pt x="1795" y="2145"/>
                    </a:lnTo>
                    <a:lnTo>
                      <a:pt x="1794" y="2145"/>
                    </a:lnTo>
                    <a:lnTo>
                      <a:pt x="1793" y="2147"/>
                    </a:lnTo>
                    <a:lnTo>
                      <a:pt x="1804" y="2147"/>
                    </a:lnTo>
                    <a:lnTo>
                      <a:pt x="1783" y="2148"/>
                    </a:lnTo>
                    <a:lnTo>
                      <a:pt x="1762" y="2149"/>
                    </a:lnTo>
                    <a:lnTo>
                      <a:pt x="1752" y="2148"/>
                    </a:lnTo>
                    <a:lnTo>
                      <a:pt x="1741" y="2147"/>
                    </a:lnTo>
                    <a:lnTo>
                      <a:pt x="1742" y="2147"/>
                    </a:lnTo>
                    <a:lnTo>
                      <a:pt x="1744" y="2147"/>
                    </a:lnTo>
                    <a:lnTo>
                      <a:pt x="1746" y="2147"/>
                    </a:lnTo>
                    <a:lnTo>
                      <a:pt x="1747" y="2145"/>
                    </a:lnTo>
                    <a:lnTo>
                      <a:pt x="1746" y="2144"/>
                    </a:lnTo>
                    <a:lnTo>
                      <a:pt x="1727" y="2144"/>
                    </a:lnTo>
                    <a:lnTo>
                      <a:pt x="1727" y="2143"/>
                    </a:lnTo>
                    <a:lnTo>
                      <a:pt x="1726" y="2142"/>
                    </a:lnTo>
                    <a:lnTo>
                      <a:pt x="1724" y="2141"/>
                    </a:lnTo>
                    <a:lnTo>
                      <a:pt x="1722" y="2139"/>
                    </a:lnTo>
                    <a:lnTo>
                      <a:pt x="1722" y="2137"/>
                    </a:lnTo>
                    <a:lnTo>
                      <a:pt x="1721" y="2136"/>
                    </a:lnTo>
                    <a:lnTo>
                      <a:pt x="1719" y="2136"/>
                    </a:lnTo>
                    <a:lnTo>
                      <a:pt x="1718" y="2136"/>
                    </a:lnTo>
                    <a:lnTo>
                      <a:pt x="1717" y="2136"/>
                    </a:lnTo>
                    <a:lnTo>
                      <a:pt x="1717" y="2134"/>
                    </a:lnTo>
                    <a:lnTo>
                      <a:pt x="1717" y="2132"/>
                    </a:lnTo>
                    <a:lnTo>
                      <a:pt x="1714" y="2132"/>
                    </a:lnTo>
                    <a:lnTo>
                      <a:pt x="1713" y="2134"/>
                    </a:lnTo>
                    <a:lnTo>
                      <a:pt x="1711" y="2136"/>
                    </a:lnTo>
                    <a:lnTo>
                      <a:pt x="1709" y="2137"/>
                    </a:lnTo>
                    <a:lnTo>
                      <a:pt x="1707" y="2137"/>
                    </a:lnTo>
                    <a:lnTo>
                      <a:pt x="1704" y="2136"/>
                    </a:lnTo>
                    <a:lnTo>
                      <a:pt x="1704" y="2134"/>
                    </a:lnTo>
                    <a:lnTo>
                      <a:pt x="1703" y="2133"/>
                    </a:lnTo>
                    <a:lnTo>
                      <a:pt x="1703" y="2132"/>
                    </a:lnTo>
                    <a:lnTo>
                      <a:pt x="1702" y="2133"/>
                    </a:lnTo>
                    <a:lnTo>
                      <a:pt x="1701" y="2132"/>
                    </a:lnTo>
                    <a:lnTo>
                      <a:pt x="1699" y="2131"/>
                    </a:lnTo>
                    <a:lnTo>
                      <a:pt x="1698" y="2129"/>
                    </a:lnTo>
                    <a:lnTo>
                      <a:pt x="1707" y="2129"/>
                    </a:lnTo>
                    <a:lnTo>
                      <a:pt x="1709" y="2127"/>
                    </a:lnTo>
                    <a:lnTo>
                      <a:pt x="1711" y="2126"/>
                    </a:lnTo>
                    <a:lnTo>
                      <a:pt x="1711" y="2123"/>
                    </a:lnTo>
                    <a:lnTo>
                      <a:pt x="1709" y="2121"/>
                    </a:lnTo>
                    <a:lnTo>
                      <a:pt x="1703" y="2121"/>
                    </a:lnTo>
                    <a:lnTo>
                      <a:pt x="1703" y="2121"/>
                    </a:lnTo>
                    <a:lnTo>
                      <a:pt x="1703" y="2121"/>
                    </a:lnTo>
                    <a:lnTo>
                      <a:pt x="1703" y="2121"/>
                    </a:lnTo>
                    <a:lnTo>
                      <a:pt x="1703" y="2118"/>
                    </a:lnTo>
                    <a:lnTo>
                      <a:pt x="1698" y="2116"/>
                    </a:lnTo>
                    <a:lnTo>
                      <a:pt x="1691" y="2116"/>
                    </a:lnTo>
                    <a:lnTo>
                      <a:pt x="1688" y="2114"/>
                    </a:lnTo>
                    <a:lnTo>
                      <a:pt x="1687" y="2113"/>
                    </a:lnTo>
                    <a:lnTo>
                      <a:pt x="1686" y="2113"/>
                    </a:lnTo>
                    <a:lnTo>
                      <a:pt x="1687" y="2112"/>
                    </a:lnTo>
                    <a:lnTo>
                      <a:pt x="1688" y="2111"/>
                    </a:lnTo>
                    <a:lnTo>
                      <a:pt x="1688" y="2111"/>
                    </a:lnTo>
                    <a:lnTo>
                      <a:pt x="1688" y="2109"/>
                    </a:lnTo>
                    <a:lnTo>
                      <a:pt x="1690" y="2109"/>
                    </a:lnTo>
                    <a:lnTo>
                      <a:pt x="1691" y="2108"/>
                    </a:lnTo>
                    <a:lnTo>
                      <a:pt x="1692" y="2108"/>
                    </a:lnTo>
                    <a:lnTo>
                      <a:pt x="1692" y="2108"/>
                    </a:lnTo>
                    <a:lnTo>
                      <a:pt x="1693" y="2108"/>
                    </a:lnTo>
                    <a:lnTo>
                      <a:pt x="1696" y="2108"/>
                    </a:lnTo>
                    <a:lnTo>
                      <a:pt x="1697" y="2109"/>
                    </a:lnTo>
                    <a:lnTo>
                      <a:pt x="1697" y="2109"/>
                    </a:lnTo>
                    <a:lnTo>
                      <a:pt x="1697" y="2109"/>
                    </a:lnTo>
                    <a:lnTo>
                      <a:pt x="1699" y="2111"/>
                    </a:lnTo>
                    <a:lnTo>
                      <a:pt x="1701" y="2111"/>
                    </a:lnTo>
                    <a:lnTo>
                      <a:pt x="1703" y="2111"/>
                    </a:lnTo>
                    <a:lnTo>
                      <a:pt x="1701" y="2108"/>
                    </a:lnTo>
                    <a:lnTo>
                      <a:pt x="1707" y="2108"/>
                    </a:lnTo>
                    <a:lnTo>
                      <a:pt x="1707" y="2103"/>
                    </a:lnTo>
                    <a:lnTo>
                      <a:pt x="1707" y="2102"/>
                    </a:lnTo>
                    <a:lnTo>
                      <a:pt x="1707" y="2101"/>
                    </a:lnTo>
                    <a:lnTo>
                      <a:pt x="1706" y="2101"/>
                    </a:lnTo>
                    <a:lnTo>
                      <a:pt x="1704" y="2099"/>
                    </a:lnTo>
                    <a:lnTo>
                      <a:pt x="1704" y="2098"/>
                    </a:lnTo>
                    <a:lnTo>
                      <a:pt x="1703" y="2097"/>
                    </a:lnTo>
                    <a:lnTo>
                      <a:pt x="1703" y="2095"/>
                    </a:lnTo>
                    <a:lnTo>
                      <a:pt x="1703" y="2092"/>
                    </a:lnTo>
                    <a:lnTo>
                      <a:pt x="1703" y="2090"/>
                    </a:lnTo>
                    <a:lnTo>
                      <a:pt x="1703" y="2087"/>
                    </a:lnTo>
                    <a:lnTo>
                      <a:pt x="1703" y="2085"/>
                    </a:lnTo>
                    <a:lnTo>
                      <a:pt x="1704" y="2083"/>
                    </a:lnTo>
                    <a:lnTo>
                      <a:pt x="1704" y="2081"/>
                    </a:lnTo>
                    <a:lnTo>
                      <a:pt x="1704" y="2080"/>
                    </a:lnTo>
                    <a:lnTo>
                      <a:pt x="1704" y="2077"/>
                    </a:lnTo>
                    <a:lnTo>
                      <a:pt x="1703" y="2076"/>
                    </a:lnTo>
                    <a:lnTo>
                      <a:pt x="1701" y="2075"/>
                    </a:lnTo>
                    <a:lnTo>
                      <a:pt x="1698" y="2075"/>
                    </a:lnTo>
                    <a:lnTo>
                      <a:pt x="1696" y="2075"/>
                    </a:lnTo>
                    <a:lnTo>
                      <a:pt x="1695" y="2076"/>
                    </a:lnTo>
                    <a:lnTo>
                      <a:pt x="1692" y="2076"/>
                    </a:lnTo>
                    <a:lnTo>
                      <a:pt x="1690" y="2077"/>
                    </a:lnTo>
                    <a:lnTo>
                      <a:pt x="1688" y="2077"/>
                    </a:lnTo>
                    <a:lnTo>
                      <a:pt x="1686" y="2077"/>
                    </a:lnTo>
                    <a:lnTo>
                      <a:pt x="1683" y="2075"/>
                    </a:lnTo>
                    <a:lnTo>
                      <a:pt x="1681" y="2073"/>
                    </a:lnTo>
                    <a:lnTo>
                      <a:pt x="1678" y="2071"/>
                    </a:lnTo>
                    <a:lnTo>
                      <a:pt x="1677" y="2070"/>
                    </a:lnTo>
                    <a:lnTo>
                      <a:pt x="1677" y="2067"/>
                    </a:lnTo>
                    <a:lnTo>
                      <a:pt x="1677" y="2066"/>
                    </a:lnTo>
                    <a:lnTo>
                      <a:pt x="1678" y="2065"/>
                    </a:lnTo>
                    <a:lnTo>
                      <a:pt x="1680" y="2063"/>
                    </a:lnTo>
                    <a:lnTo>
                      <a:pt x="1681" y="2063"/>
                    </a:lnTo>
                    <a:lnTo>
                      <a:pt x="1683" y="2063"/>
                    </a:lnTo>
                    <a:lnTo>
                      <a:pt x="1683" y="2058"/>
                    </a:lnTo>
                    <a:lnTo>
                      <a:pt x="1681" y="2057"/>
                    </a:lnTo>
                    <a:lnTo>
                      <a:pt x="1678" y="2056"/>
                    </a:lnTo>
                    <a:lnTo>
                      <a:pt x="1677" y="2056"/>
                    </a:lnTo>
                    <a:lnTo>
                      <a:pt x="1676" y="2055"/>
                    </a:lnTo>
                    <a:lnTo>
                      <a:pt x="1675" y="2053"/>
                    </a:lnTo>
                    <a:lnTo>
                      <a:pt x="1673" y="2050"/>
                    </a:lnTo>
                    <a:lnTo>
                      <a:pt x="1671" y="2048"/>
                    </a:lnTo>
                    <a:lnTo>
                      <a:pt x="1670" y="2046"/>
                    </a:lnTo>
                    <a:lnTo>
                      <a:pt x="1668" y="2045"/>
                    </a:lnTo>
                    <a:lnTo>
                      <a:pt x="1670" y="2042"/>
                    </a:lnTo>
                    <a:lnTo>
                      <a:pt x="1671" y="2044"/>
                    </a:lnTo>
                    <a:lnTo>
                      <a:pt x="1672" y="2044"/>
                    </a:lnTo>
                    <a:lnTo>
                      <a:pt x="1672" y="2044"/>
                    </a:lnTo>
                    <a:lnTo>
                      <a:pt x="1673" y="2044"/>
                    </a:lnTo>
                    <a:lnTo>
                      <a:pt x="1675" y="2042"/>
                    </a:lnTo>
                    <a:lnTo>
                      <a:pt x="1676" y="2041"/>
                    </a:lnTo>
                    <a:lnTo>
                      <a:pt x="1676" y="2041"/>
                    </a:lnTo>
                    <a:lnTo>
                      <a:pt x="1676" y="2040"/>
                    </a:lnTo>
                    <a:lnTo>
                      <a:pt x="1676" y="2039"/>
                    </a:lnTo>
                    <a:lnTo>
                      <a:pt x="1675" y="2037"/>
                    </a:lnTo>
                    <a:lnTo>
                      <a:pt x="1677" y="2035"/>
                    </a:lnTo>
                    <a:lnTo>
                      <a:pt x="1677" y="2032"/>
                    </a:lnTo>
                    <a:lnTo>
                      <a:pt x="1677" y="2030"/>
                    </a:lnTo>
                    <a:lnTo>
                      <a:pt x="1680" y="2025"/>
                    </a:lnTo>
                    <a:lnTo>
                      <a:pt x="1682" y="2022"/>
                    </a:lnTo>
                    <a:lnTo>
                      <a:pt x="1683" y="2019"/>
                    </a:lnTo>
                    <a:lnTo>
                      <a:pt x="1685" y="2016"/>
                    </a:lnTo>
                    <a:lnTo>
                      <a:pt x="1685" y="2012"/>
                    </a:lnTo>
                    <a:lnTo>
                      <a:pt x="1686" y="2010"/>
                    </a:lnTo>
                    <a:lnTo>
                      <a:pt x="1686" y="2006"/>
                    </a:lnTo>
                    <a:lnTo>
                      <a:pt x="1686" y="2004"/>
                    </a:lnTo>
                    <a:lnTo>
                      <a:pt x="1685" y="2001"/>
                    </a:lnTo>
                    <a:lnTo>
                      <a:pt x="1682" y="1999"/>
                    </a:lnTo>
                    <a:lnTo>
                      <a:pt x="1680" y="1996"/>
                    </a:lnTo>
                    <a:lnTo>
                      <a:pt x="1677" y="1993"/>
                    </a:lnTo>
                    <a:lnTo>
                      <a:pt x="1675" y="1990"/>
                    </a:lnTo>
                    <a:lnTo>
                      <a:pt x="1676" y="1988"/>
                    </a:lnTo>
                    <a:lnTo>
                      <a:pt x="1677" y="1984"/>
                    </a:lnTo>
                    <a:lnTo>
                      <a:pt x="1678" y="1981"/>
                    </a:lnTo>
                    <a:lnTo>
                      <a:pt x="1680" y="1978"/>
                    </a:lnTo>
                    <a:lnTo>
                      <a:pt x="1680" y="1976"/>
                    </a:lnTo>
                    <a:lnTo>
                      <a:pt x="1678" y="1974"/>
                    </a:lnTo>
                    <a:lnTo>
                      <a:pt x="1677" y="1973"/>
                    </a:lnTo>
                    <a:lnTo>
                      <a:pt x="1677" y="1971"/>
                    </a:lnTo>
                    <a:lnTo>
                      <a:pt x="1677" y="1970"/>
                    </a:lnTo>
                    <a:lnTo>
                      <a:pt x="1678" y="1968"/>
                    </a:lnTo>
                    <a:lnTo>
                      <a:pt x="1678" y="1965"/>
                    </a:lnTo>
                    <a:lnTo>
                      <a:pt x="1680" y="1964"/>
                    </a:lnTo>
                    <a:lnTo>
                      <a:pt x="1680" y="1961"/>
                    </a:lnTo>
                    <a:lnTo>
                      <a:pt x="1681" y="1960"/>
                    </a:lnTo>
                    <a:lnTo>
                      <a:pt x="1682" y="1959"/>
                    </a:lnTo>
                    <a:lnTo>
                      <a:pt x="1682" y="1958"/>
                    </a:lnTo>
                    <a:lnTo>
                      <a:pt x="1683" y="1956"/>
                    </a:lnTo>
                    <a:lnTo>
                      <a:pt x="1683" y="1954"/>
                    </a:lnTo>
                    <a:lnTo>
                      <a:pt x="1683" y="1951"/>
                    </a:lnTo>
                    <a:lnTo>
                      <a:pt x="1685" y="1950"/>
                    </a:lnTo>
                    <a:lnTo>
                      <a:pt x="1685" y="1949"/>
                    </a:lnTo>
                    <a:lnTo>
                      <a:pt x="1686" y="1949"/>
                    </a:lnTo>
                    <a:lnTo>
                      <a:pt x="1686" y="1942"/>
                    </a:lnTo>
                    <a:lnTo>
                      <a:pt x="1686" y="1939"/>
                    </a:lnTo>
                    <a:lnTo>
                      <a:pt x="1687" y="1938"/>
                    </a:lnTo>
                    <a:lnTo>
                      <a:pt x="1688" y="1937"/>
                    </a:lnTo>
                    <a:lnTo>
                      <a:pt x="1688" y="1935"/>
                    </a:lnTo>
                    <a:lnTo>
                      <a:pt x="1687" y="1933"/>
                    </a:lnTo>
                    <a:lnTo>
                      <a:pt x="1686" y="1930"/>
                    </a:lnTo>
                    <a:lnTo>
                      <a:pt x="1686" y="1928"/>
                    </a:lnTo>
                    <a:lnTo>
                      <a:pt x="1685" y="1927"/>
                    </a:lnTo>
                    <a:lnTo>
                      <a:pt x="1685" y="1924"/>
                    </a:lnTo>
                    <a:lnTo>
                      <a:pt x="1686" y="1923"/>
                    </a:lnTo>
                    <a:lnTo>
                      <a:pt x="1686" y="1920"/>
                    </a:lnTo>
                    <a:lnTo>
                      <a:pt x="1686" y="1919"/>
                    </a:lnTo>
                    <a:lnTo>
                      <a:pt x="1686" y="1918"/>
                    </a:lnTo>
                    <a:lnTo>
                      <a:pt x="1683" y="1917"/>
                    </a:lnTo>
                    <a:lnTo>
                      <a:pt x="1683" y="1914"/>
                    </a:lnTo>
                    <a:lnTo>
                      <a:pt x="1685" y="1913"/>
                    </a:lnTo>
                    <a:lnTo>
                      <a:pt x="1686" y="1912"/>
                    </a:lnTo>
                    <a:lnTo>
                      <a:pt x="1687" y="1910"/>
                    </a:lnTo>
                    <a:lnTo>
                      <a:pt x="1688" y="1909"/>
                    </a:lnTo>
                    <a:lnTo>
                      <a:pt x="1688" y="1908"/>
                    </a:lnTo>
                    <a:lnTo>
                      <a:pt x="1687" y="1905"/>
                    </a:lnTo>
                    <a:lnTo>
                      <a:pt x="1687" y="1904"/>
                    </a:lnTo>
                    <a:lnTo>
                      <a:pt x="1688" y="1902"/>
                    </a:lnTo>
                    <a:lnTo>
                      <a:pt x="1691" y="1900"/>
                    </a:lnTo>
                    <a:lnTo>
                      <a:pt x="1692" y="1899"/>
                    </a:lnTo>
                    <a:lnTo>
                      <a:pt x="1692" y="1899"/>
                    </a:lnTo>
                    <a:lnTo>
                      <a:pt x="1692" y="1898"/>
                    </a:lnTo>
                    <a:lnTo>
                      <a:pt x="1691" y="1897"/>
                    </a:lnTo>
                    <a:lnTo>
                      <a:pt x="1691" y="1894"/>
                    </a:lnTo>
                    <a:lnTo>
                      <a:pt x="1691" y="1893"/>
                    </a:lnTo>
                    <a:lnTo>
                      <a:pt x="1691" y="1892"/>
                    </a:lnTo>
                    <a:lnTo>
                      <a:pt x="1691" y="1892"/>
                    </a:lnTo>
                    <a:lnTo>
                      <a:pt x="1690" y="1891"/>
                    </a:lnTo>
                    <a:lnTo>
                      <a:pt x="1688" y="1891"/>
                    </a:lnTo>
                    <a:lnTo>
                      <a:pt x="1688" y="1889"/>
                    </a:lnTo>
                    <a:lnTo>
                      <a:pt x="1688" y="1881"/>
                    </a:lnTo>
                    <a:lnTo>
                      <a:pt x="1687" y="1878"/>
                    </a:lnTo>
                    <a:lnTo>
                      <a:pt x="1685" y="1877"/>
                    </a:lnTo>
                    <a:lnTo>
                      <a:pt x="1683" y="1874"/>
                    </a:lnTo>
                    <a:lnTo>
                      <a:pt x="1683" y="1873"/>
                    </a:lnTo>
                    <a:lnTo>
                      <a:pt x="1683" y="1871"/>
                    </a:lnTo>
                    <a:lnTo>
                      <a:pt x="1685" y="1869"/>
                    </a:lnTo>
                    <a:lnTo>
                      <a:pt x="1685" y="1868"/>
                    </a:lnTo>
                    <a:lnTo>
                      <a:pt x="1685" y="1867"/>
                    </a:lnTo>
                    <a:lnTo>
                      <a:pt x="1683" y="1867"/>
                    </a:lnTo>
                    <a:lnTo>
                      <a:pt x="1680" y="1866"/>
                    </a:lnTo>
                    <a:lnTo>
                      <a:pt x="1671" y="1862"/>
                    </a:lnTo>
                    <a:lnTo>
                      <a:pt x="1663" y="1858"/>
                    </a:lnTo>
                    <a:lnTo>
                      <a:pt x="1657" y="1854"/>
                    </a:lnTo>
                    <a:lnTo>
                      <a:pt x="1651" y="1853"/>
                    </a:lnTo>
                    <a:lnTo>
                      <a:pt x="1646" y="1852"/>
                    </a:lnTo>
                    <a:lnTo>
                      <a:pt x="1641" y="1850"/>
                    </a:lnTo>
                    <a:lnTo>
                      <a:pt x="1638" y="1850"/>
                    </a:lnTo>
                    <a:lnTo>
                      <a:pt x="1636" y="1848"/>
                    </a:lnTo>
                    <a:lnTo>
                      <a:pt x="1635" y="1848"/>
                    </a:lnTo>
                    <a:lnTo>
                      <a:pt x="1633" y="1847"/>
                    </a:lnTo>
                    <a:lnTo>
                      <a:pt x="1630" y="1847"/>
                    </a:lnTo>
                    <a:lnTo>
                      <a:pt x="1616" y="1846"/>
                    </a:lnTo>
                    <a:lnTo>
                      <a:pt x="1604" y="1842"/>
                    </a:lnTo>
                    <a:lnTo>
                      <a:pt x="1601" y="1840"/>
                    </a:lnTo>
                    <a:lnTo>
                      <a:pt x="1599" y="1838"/>
                    </a:lnTo>
                    <a:lnTo>
                      <a:pt x="1596" y="1836"/>
                    </a:lnTo>
                    <a:lnTo>
                      <a:pt x="1594" y="1833"/>
                    </a:lnTo>
                    <a:lnTo>
                      <a:pt x="1590" y="1833"/>
                    </a:lnTo>
                    <a:lnTo>
                      <a:pt x="1587" y="1832"/>
                    </a:lnTo>
                    <a:lnTo>
                      <a:pt x="1585" y="1831"/>
                    </a:lnTo>
                    <a:lnTo>
                      <a:pt x="1584" y="1828"/>
                    </a:lnTo>
                    <a:lnTo>
                      <a:pt x="1579" y="1826"/>
                    </a:lnTo>
                    <a:lnTo>
                      <a:pt x="1576" y="1822"/>
                    </a:lnTo>
                    <a:lnTo>
                      <a:pt x="1575" y="1818"/>
                    </a:lnTo>
                    <a:lnTo>
                      <a:pt x="1572" y="1815"/>
                    </a:lnTo>
                    <a:lnTo>
                      <a:pt x="1570" y="1811"/>
                    </a:lnTo>
                    <a:lnTo>
                      <a:pt x="1569" y="1810"/>
                    </a:lnTo>
                    <a:lnTo>
                      <a:pt x="1567" y="1808"/>
                    </a:lnTo>
                    <a:lnTo>
                      <a:pt x="1566" y="1807"/>
                    </a:lnTo>
                    <a:lnTo>
                      <a:pt x="1565" y="1805"/>
                    </a:lnTo>
                    <a:lnTo>
                      <a:pt x="1562" y="1805"/>
                    </a:lnTo>
                    <a:lnTo>
                      <a:pt x="1561" y="1805"/>
                    </a:lnTo>
                    <a:lnTo>
                      <a:pt x="1560" y="1803"/>
                    </a:lnTo>
                    <a:lnTo>
                      <a:pt x="1560" y="1802"/>
                    </a:lnTo>
                    <a:lnTo>
                      <a:pt x="1559" y="1801"/>
                    </a:lnTo>
                    <a:lnTo>
                      <a:pt x="1559" y="1799"/>
                    </a:lnTo>
                    <a:lnTo>
                      <a:pt x="1557" y="1796"/>
                    </a:lnTo>
                    <a:lnTo>
                      <a:pt x="1556" y="1795"/>
                    </a:lnTo>
                    <a:lnTo>
                      <a:pt x="1552" y="1794"/>
                    </a:lnTo>
                    <a:lnTo>
                      <a:pt x="1549" y="1792"/>
                    </a:lnTo>
                    <a:lnTo>
                      <a:pt x="1546" y="1791"/>
                    </a:lnTo>
                    <a:lnTo>
                      <a:pt x="1544" y="1790"/>
                    </a:lnTo>
                    <a:lnTo>
                      <a:pt x="1541" y="1786"/>
                    </a:lnTo>
                    <a:lnTo>
                      <a:pt x="1539" y="1782"/>
                    </a:lnTo>
                    <a:lnTo>
                      <a:pt x="1536" y="1779"/>
                    </a:lnTo>
                    <a:lnTo>
                      <a:pt x="1534" y="1775"/>
                    </a:lnTo>
                    <a:lnTo>
                      <a:pt x="1530" y="1772"/>
                    </a:lnTo>
                    <a:lnTo>
                      <a:pt x="1528" y="1770"/>
                    </a:lnTo>
                    <a:lnTo>
                      <a:pt x="1525" y="1766"/>
                    </a:lnTo>
                    <a:lnTo>
                      <a:pt x="1523" y="1762"/>
                    </a:lnTo>
                    <a:lnTo>
                      <a:pt x="1520" y="1759"/>
                    </a:lnTo>
                    <a:lnTo>
                      <a:pt x="1518" y="1755"/>
                    </a:lnTo>
                    <a:lnTo>
                      <a:pt x="1510" y="1748"/>
                    </a:lnTo>
                    <a:lnTo>
                      <a:pt x="1504" y="1740"/>
                    </a:lnTo>
                    <a:lnTo>
                      <a:pt x="1494" y="1735"/>
                    </a:lnTo>
                    <a:lnTo>
                      <a:pt x="1490" y="1734"/>
                    </a:lnTo>
                    <a:lnTo>
                      <a:pt x="1486" y="1733"/>
                    </a:lnTo>
                    <a:lnTo>
                      <a:pt x="1483" y="1731"/>
                    </a:lnTo>
                    <a:lnTo>
                      <a:pt x="1480" y="1730"/>
                    </a:lnTo>
                    <a:lnTo>
                      <a:pt x="1478" y="1729"/>
                    </a:lnTo>
                    <a:lnTo>
                      <a:pt x="1478" y="1729"/>
                    </a:lnTo>
                    <a:lnTo>
                      <a:pt x="1478" y="1728"/>
                    </a:lnTo>
                    <a:lnTo>
                      <a:pt x="1479" y="1728"/>
                    </a:lnTo>
                    <a:lnTo>
                      <a:pt x="1479" y="1726"/>
                    </a:lnTo>
                    <a:lnTo>
                      <a:pt x="1480" y="1726"/>
                    </a:lnTo>
                    <a:lnTo>
                      <a:pt x="1480" y="1726"/>
                    </a:lnTo>
                    <a:lnTo>
                      <a:pt x="1481" y="1724"/>
                    </a:lnTo>
                    <a:lnTo>
                      <a:pt x="1480" y="1720"/>
                    </a:lnTo>
                    <a:lnTo>
                      <a:pt x="1479" y="1718"/>
                    </a:lnTo>
                    <a:lnTo>
                      <a:pt x="1476" y="1715"/>
                    </a:lnTo>
                    <a:lnTo>
                      <a:pt x="1473" y="1714"/>
                    </a:lnTo>
                    <a:lnTo>
                      <a:pt x="1472" y="1711"/>
                    </a:lnTo>
                    <a:lnTo>
                      <a:pt x="1472" y="1709"/>
                    </a:lnTo>
                    <a:lnTo>
                      <a:pt x="1474" y="1708"/>
                    </a:lnTo>
                    <a:lnTo>
                      <a:pt x="1475" y="1705"/>
                    </a:lnTo>
                    <a:lnTo>
                      <a:pt x="1479" y="1703"/>
                    </a:lnTo>
                    <a:lnTo>
                      <a:pt x="1481" y="1700"/>
                    </a:lnTo>
                    <a:lnTo>
                      <a:pt x="1485" y="1699"/>
                    </a:lnTo>
                    <a:lnTo>
                      <a:pt x="1489" y="1698"/>
                    </a:lnTo>
                    <a:lnTo>
                      <a:pt x="1491" y="1697"/>
                    </a:lnTo>
                    <a:lnTo>
                      <a:pt x="1495" y="1695"/>
                    </a:lnTo>
                    <a:lnTo>
                      <a:pt x="1498" y="1693"/>
                    </a:lnTo>
                    <a:lnTo>
                      <a:pt x="1500" y="1692"/>
                    </a:lnTo>
                    <a:lnTo>
                      <a:pt x="1501" y="1689"/>
                    </a:lnTo>
                    <a:lnTo>
                      <a:pt x="1501" y="1687"/>
                    </a:lnTo>
                    <a:lnTo>
                      <a:pt x="1501" y="1684"/>
                    </a:lnTo>
                    <a:lnTo>
                      <a:pt x="1499" y="1683"/>
                    </a:lnTo>
                    <a:lnTo>
                      <a:pt x="1499" y="1684"/>
                    </a:lnTo>
                    <a:lnTo>
                      <a:pt x="1498" y="1685"/>
                    </a:lnTo>
                    <a:lnTo>
                      <a:pt x="1496" y="1685"/>
                    </a:lnTo>
                    <a:lnTo>
                      <a:pt x="1494" y="1685"/>
                    </a:lnTo>
                    <a:lnTo>
                      <a:pt x="1491" y="1685"/>
                    </a:lnTo>
                    <a:lnTo>
                      <a:pt x="1490" y="1684"/>
                    </a:lnTo>
                    <a:lnTo>
                      <a:pt x="1488" y="1683"/>
                    </a:lnTo>
                    <a:lnTo>
                      <a:pt x="1486" y="1682"/>
                    </a:lnTo>
                    <a:lnTo>
                      <a:pt x="1483" y="1679"/>
                    </a:lnTo>
                    <a:lnTo>
                      <a:pt x="1481" y="1679"/>
                    </a:lnTo>
                    <a:lnTo>
                      <a:pt x="1480" y="1679"/>
                    </a:lnTo>
                    <a:lnTo>
                      <a:pt x="1480" y="1679"/>
                    </a:lnTo>
                    <a:lnTo>
                      <a:pt x="1481" y="1678"/>
                    </a:lnTo>
                    <a:lnTo>
                      <a:pt x="1481" y="1678"/>
                    </a:lnTo>
                    <a:lnTo>
                      <a:pt x="1483" y="1678"/>
                    </a:lnTo>
                    <a:lnTo>
                      <a:pt x="1483" y="1677"/>
                    </a:lnTo>
                    <a:lnTo>
                      <a:pt x="1484" y="1675"/>
                    </a:lnTo>
                    <a:lnTo>
                      <a:pt x="1484" y="1674"/>
                    </a:lnTo>
                    <a:lnTo>
                      <a:pt x="1483" y="1673"/>
                    </a:lnTo>
                    <a:lnTo>
                      <a:pt x="1480" y="1672"/>
                    </a:lnTo>
                    <a:lnTo>
                      <a:pt x="1480" y="1664"/>
                    </a:lnTo>
                    <a:lnTo>
                      <a:pt x="1480" y="1663"/>
                    </a:lnTo>
                    <a:lnTo>
                      <a:pt x="1480" y="1663"/>
                    </a:lnTo>
                    <a:lnTo>
                      <a:pt x="1481" y="1663"/>
                    </a:lnTo>
                    <a:lnTo>
                      <a:pt x="1483" y="1663"/>
                    </a:lnTo>
                    <a:lnTo>
                      <a:pt x="1484" y="1663"/>
                    </a:lnTo>
                    <a:lnTo>
                      <a:pt x="1486" y="1662"/>
                    </a:lnTo>
                    <a:lnTo>
                      <a:pt x="1486" y="1660"/>
                    </a:lnTo>
                    <a:lnTo>
                      <a:pt x="1488" y="1659"/>
                    </a:lnTo>
                    <a:lnTo>
                      <a:pt x="1488" y="1658"/>
                    </a:lnTo>
                    <a:lnTo>
                      <a:pt x="1489" y="1657"/>
                    </a:lnTo>
                    <a:lnTo>
                      <a:pt x="1489" y="1655"/>
                    </a:lnTo>
                    <a:lnTo>
                      <a:pt x="1490" y="1654"/>
                    </a:lnTo>
                    <a:lnTo>
                      <a:pt x="1493" y="1653"/>
                    </a:lnTo>
                    <a:lnTo>
                      <a:pt x="1495" y="1652"/>
                    </a:lnTo>
                    <a:lnTo>
                      <a:pt x="1496" y="1651"/>
                    </a:lnTo>
                    <a:lnTo>
                      <a:pt x="1498" y="1649"/>
                    </a:lnTo>
                    <a:lnTo>
                      <a:pt x="1498" y="1647"/>
                    </a:lnTo>
                    <a:lnTo>
                      <a:pt x="1496" y="1644"/>
                    </a:lnTo>
                    <a:lnTo>
                      <a:pt x="1496" y="1642"/>
                    </a:lnTo>
                    <a:lnTo>
                      <a:pt x="1495" y="1639"/>
                    </a:lnTo>
                    <a:lnTo>
                      <a:pt x="1495" y="1638"/>
                    </a:lnTo>
                    <a:lnTo>
                      <a:pt x="1496" y="1636"/>
                    </a:lnTo>
                    <a:lnTo>
                      <a:pt x="1504" y="1634"/>
                    </a:lnTo>
                    <a:lnTo>
                      <a:pt x="1511" y="1633"/>
                    </a:lnTo>
                    <a:lnTo>
                      <a:pt x="1518" y="1631"/>
                    </a:lnTo>
                    <a:lnTo>
                      <a:pt x="1519" y="1629"/>
                    </a:lnTo>
                    <a:lnTo>
                      <a:pt x="1519" y="1628"/>
                    </a:lnTo>
                    <a:lnTo>
                      <a:pt x="1519" y="1626"/>
                    </a:lnTo>
                    <a:lnTo>
                      <a:pt x="1519" y="1624"/>
                    </a:lnTo>
                    <a:lnTo>
                      <a:pt x="1519" y="1623"/>
                    </a:lnTo>
                    <a:lnTo>
                      <a:pt x="1520" y="1622"/>
                    </a:lnTo>
                    <a:lnTo>
                      <a:pt x="1523" y="1619"/>
                    </a:lnTo>
                    <a:lnTo>
                      <a:pt x="1525" y="1617"/>
                    </a:lnTo>
                    <a:lnTo>
                      <a:pt x="1525" y="1614"/>
                    </a:lnTo>
                    <a:lnTo>
                      <a:pt x="1528" y="1613"/>
                    </a:lnTo>
                    <a:lnTo>
                      <a:pt x="1530" y="1612"/>
                    </a:lnTo>
                    <a:lnTo>
                      <a:pt x="1533" y="1611"/>
                    </a:lnTo>
                    <a:lnTo>
                      <a:pt x="1536" y="1611"/>
                    </a:lnTo>
                    <a:lnTo>
                      <a:pt x="1539" y="1611"/>
                    </a:lnTo>
                    <a:lnTo>
                      <a:pt x="1543" y="1609"/>
                    </a:lnTo>
                    <a:lnTo>
                      <a:pt x="1544" y="1609"/>
                    </a:lnTo>
                    <a:lnTo>
                      <a:pt x="1546" y="1607"/>
                    </a:lnTo>
                    <a:lnTo>
                      <a:pt x="1548" y="1605"/>
                    </a:lnTo>
                    <a:lnTo>
                      <a:pt x="1548" y="1603"/>
                    </a:lnTo>
                    <a:lnTo>
                      <a:pt x="1549" y="1602"/>
                    </a:lnTo>
                    <a:lnTo>
                      <a:pt x="1551" y="1601"/>
                    </a:lnTo>
                    <a:lnTo>
                      <a:pt x="1554" y="1598"/>
                    </a:lnTo>
                    <a:lnTo>
                      <a:pt x="1556" y="1596"/>
                    </a:lnTo>
                    <a:lnTo>
                      <a:pt x="1557" y="1593"/>
                    </a:lnTo>
                    <a:lnTo>
                      <a:pt x="1557" y="1590"/>
                    </a:lnTo>
                    <a:lnTo>
                      <a:pt x="1556" y="1586"/>
                    </a:lnTo>
                    <a:lnTo>
                      <a:pt x="1555" y="1583"/>
                    </a:lnTo>
                    <a:lnTo>
                      <a:pt x="1554" y="1582"/>
                    </a:lnTo>
                    <a:lnTo>
                      <a:pt x="1554" y="1580"/>
                    </a:lnTo>
                    <a:lnTo>
                      <a:pt x="1554" y="1578"/>
                    </a:lnTo>
                    <a:lnTo>
                      <a:pt x="1555" y="1575"/>
                    </a:lnTo>
                    <a:lnTo>
                      <a:pt x="1556" y="1571"/>
                    </a:lnTo>
                    <a:lnTo>
                      <a:pt x="1557" y="1568"/>
                    </a:lnTo>
                    <a:lnTo>
                      <a:pt x="1560" y="1565"/>
                    </a:lnTo>
                    <a:lnTo>
                      <a:pt x="1559" y="1563"/>
                    </a:lnTo>
                    <a:lnTo>
                      <a:pt x="1559" y="1562"/>
                    </a:lnTo>
                    <a:lnTo>
                      <a:pt x="1557" y="1561"/>
                    </a:lnTo>
                    <a:lnTo>
                      <a:pt x="1556" y="1558"/>
                    </a:lnTo>
                    <a:lnTo>
                      <a:pt x="1556" y="1557"/>
                    </a:lnTo>
                    <a:lnTo>
                      <a:pt x="1556" y="1555"/>
                    </a:lnTo>
                    <a:lnTo>
                      <a:pt x="1557" y="1554"/>
                    </a:lnTo>
                    <a:lnTo>
                      <a:pt x="1559" y="1552"/>
                    </a:lnTo>
                    <a:lnTo>
                      <a:pt x="1559" y="1551"/>
                    </a:lnTo>
                    <a:lnTo>
                      <a:pt x="1557" y="1550"/>
                    </a:lnTo>
                    <a:lnTo>
                      <a:pt x="1556" y="1549"/>
                    </a:lnTo>
                    <a:lnTo>
                      <a:pt x="1554" y="1546"/>
                    </a:lnTo>
                    <a:lnTo>
                      <a:pt x="1552" y="1545"/>
                    </a:lnTo>
                    <a:lnTo>
                      <a:pt x="1550" y="1544"/>
                    </a:lnTo>
                    <a:lnTo>
                      <a:pt x="1549" y="1540"/>
                    </a:lnTo>
                    <a:lnTo>
                      <a:pt x="1548" y="1537"/>
                    </a:lnTo>
                    <a:lnTo>
                      <a:pt x="1545" y="1535"/>
                    </a:lnTo>
                    <a:lnTo>
                      <a:pt x="1543" y="1532"/>
                    </a:lnTo>
                    <a:lnTo>
                      <a:pt x="1540" y="1531"/>
                    </a:lnTo>
                    <a:lnTo>
                      <a:pt x="1536" y="1531"/>
                    </a:lnTo>
                    <a:lnTo>
                      <a:pt x="1530" y="1531"/>
                    </a:lnTo>
                    <a:lnTo>
                      <a:pt x="1525" y="1532"/>
                    </a:lnTo>
                    <a:lnTo>
                      <a:pt x="1521" y="1534"/>
                    </a:lnTo>
                    <a:lnTo>
                      <a:pt x="1518" y="1534"/>
                    </a:lnTo>
                    <a:lnTo>
                      <a:pt x="1516" y="1534"/>
                    </a:lnTo>
                    <a:lnTo>
                      <a:pt x="1515" y="1532"/>
                    </a:lnTo>
                    <a:lnTo>
                      <a:pt x="1513" y="1531"/>
                    </a:lnTo>
                    <a:lnTo>
                      <a:pt x="1511" y="1530"/>
                    </a:lnTo>
                    <a:lnTo>
                      <a:pt x="1509" y="1530"/>
                    </a:lnTo>
                    <a:lnTo>
                      <a:pt x="1506" y="1531"/>
                    </a:lnTo>
                    <a:lnTo>
                      <a:pt x="1494" y="1532"/>
                    </a:lnTo>
                    <a:lnTo>
                      <a:pt x="1480" y="1536"/>
                    </a:lnTo>
                    <a:lnTo>
                      <a:pt x="1468" y="1539"/>
                    </a:lnTo>
                    <a:lnTo>
                      <a:pt x="1459" y="1539"/>
                    </a:lnTo>
                    <a:lnTo>
                      <a:pt x="1452" y="1536"/>
                    </a:lnTo>
                    <a:lnTo>
                      <a:pt x="1444" y="1534"/>
                    </a:lnTo>
                    <a:lnTo>
                      <a:pt x="1430" y="1534"/>
                    </a:lnTo>
                    <a:lnTo>
                      <a:pt x="1418" y="1536"/>
                    </a:lnTo>
                    <a:lnTo>
                      <a:pt x="1409" y="1536"/>
                    </a:lnTo>
                    <a:lnTo>
                      <a:pt x="1399" y="1536"/>
                    </a:lnTo>
                    <a:lnTo>
                      <a:pt x="1388" y="1535"/>
                    </a:lnTo>
                    <a:lnTo>
                      <a:pt x="1381" y="1532"/>
                    </a:lnTo>
                    <a:lnTo>
                      <a:pt x="1376" y="1529"/>
                    </a:lnTo>
                    <a:lnTo>
                      <a:pt x="1376" y="1524"/>
                    </a:lnTo>
                    <a:lnTo>
                      <a:pt x="1377" y="1521"/>
                    </a:lnTo>
                    <a:lnTo>
                      <a:pt x="1378" y="1519"/>
                    </a:lnTo>
                    <a:lnTo>
                      <a:pt x="1381" y="1515"/>
                    </a:lnTo>
                    <a:lnTo>
                      <a:pt x="1383" y="1512"/>
                    </a:lnTo>
                    <a:lnTo>
                      <a:pt x="1384" y="1511"/>
                    </a:lnTo>
                    <a:lnTo>
                      <a:pt x="1384" y="1509"/>
                    </a:lnTo>
                    <a:lnTo>
                      <a:pt x="1384" y="1506"/>
                    </a:lnTo>
                    <a:lnTo>
                      <a:pt x="1384" y="1504"/>
                    </a:lnTo>
                    <a:lnTo>
                      <a:pt x="1384" y="1501"/>
                    </a:lnTo>
                    <a:lnTo>
                      <a:pt x="1383" y="1500"/>
                    </a:lnTo>
                    <a:lnTo>
                      <a:pt x="1383" y="1496"/>
                    </a:lnTo>
                    <a:lnTo>
                      <a:pt x="1383" y="1493"/>
                    </a:lnTo>
                    <a:lnTo>
                      <a:pt x="1383" y="1489"/>
                    </a:lnTo>
                    <a:lnTo>
                      <a:pt x="1383" y="1485"/>
                    </a:lnTo>
                    <a:lnTo>
                      <a:pt x="1383" y="1481"/>
                    </a:lnTo>
                    <a:lnTo>
                      <a:pt x="1383" y="1479"/>
                    </a:lnTo>
                    <a:lnTo>
                      <a:pt x="1381" y="1478"/>
                    </a:lnTo>
                    <a:lnTo>
                      <a:pt x="1377" y="1475"/>
                    </a:lnTo>
                    <a:lnTo>
                      <a:pt x="1373" y="1474"/>
                    </a:lnTo>
                    <a:lnTo>
                      <a:pt x="1359" y="1463"/>
                    </a:lnTo>
                    <a:lnTo>
                      <a:pt x="1347" y="1453"/>
                    </a:lnTo>
                    <a:lnTo>
                      <a:pt x="1341" y="1452"/>
                    </a:lnTo>
                    <a:lnTo>
                      <a:pt x="1332" y="1454"/>
                    </a:lnTo>
                    <a:lnTo>
                      <a:pt x="1323" y="1457"/>
                    </a:lnTo>
                    <a:lnTo>
                      <a:pt x="1316" y="1455"/>
                    </a:lnTo>
                    <a:lnTo>
                      <a:pt x="1305" y="1450"/>
                    </a:lnTo>
                    <a:lnTo>
                      <a:pt x="1293" y="1447"/>
                    </a:lnTo>
                    <a:lnTo>
                      <a:pt x="1281" y="1445"/>
                    </a:lnTo>
                    <a:lnTo>
                      <a:pt x="1275" y="1443"/>
                    </a:lnTo>
                    <a:lnTo>
                      <a:pt x="1266" y="1442"/>
                    </a:lnTo>
                    <a:lnTo>
                      <a:pt x="1260" y="1439"/>
                    </a:lnTo>
                    <a:lnTo>
                      <a:pt x="1257" y="1434"/>
                    </a:lnTo>
                    <a:lnTo>
                      <a:pt x="1258" y="1432"/>
                    </a:lnTo>
                    <a:lnTo>
                      <a:pt x="1258" y="1429"/>
                    </a:lnTo>
                    <a:lnTo>
                      <a:pt x="1260" y="1427"/>
                    </a:lnTo>
                    <a:lnTo>
                      <a:pt x="1260" y="1424"/>
                    </a:lnTo>
                    <a:lnTo>
                      <a:pt x="1258" y="1422"/>
                    </a:lnTo>
                    <a:lnTo>
                      <a:pt x="1255" y="1419"/>
                    </a:lnTo>
                    <a:lnTo>
                      <a:pt x="1250" y="1414"/>
                    </a:lnTo>
                    <a:lnTo>
                      <a:pt x="1245" y="1411"/>
                    </a:lnTo>
                    <a:lnTo>
                      <a:pt x="1240" y="1408"/>
                    </a:lnTo>
                    <a:lnTo>
                      <a:pt x="1227" y="1407"/>
                    </a:lnTo>
                    <a:lnTo>
                      <a:pt x="1215" y="1408"/>
                    </a:lnTo>
                    <a:lnTo>
                      <a:pt x="1202" y="1408"/>
                    </a:lnTo>
                    <a:lnTo>
                      <a:pt x="1200" y="1408"/>
                    </a:lnTo>
                    <a:lnTo>
                      <a:pt x="1199" y="1409"/>
                    </a:lnTo>
                    <a:lnTo>
                      <a:pt x="1197" y="1411"/>
                    </a:lnTo>
                    <a:lnTo>
                      <a:pt x="1197" y="1412"/>
                    </a:lnTo>
                    <a:lnTo>
                      <a:pt x="1197" y="1414"/>
                    </a:lnTo>
                    <a:lnTo>
                      <a:pt x="1197" y="1415"/>
                    </a:lnTo>
                    <a:lnTo>
                      <a:pt x="1199" y="1417"/>
                    </a:lnTo>
                    <a:lnTo>
                      <a:pt x="1199" y="1419"/>
                    </a:lnTo>
                    <a:lnTo>
                      <a:pt x="1199" y="1419"/>
                    </a:lnTo>
                    <a:lnTo>
                      <a:pt x="1199" y="1420"/>
                    </a:lnTo>
                    <a:lnTo>
                      <a:pt x="1197" y="1420"/>
                    </a:lnTo>
                    <a:lnTo>
                      <a:pt x="1195" y="1420"/>
                    </a:lnTo>
                    <a:lnTo>
                      <a:pt x="1192" y="1419"/>
                    </a:lnTo>
                    <a:lnTo>
                      <a:pt x="1181" y="1412"/>
                    </a:lnTo>
                    <a:lnTo>
                      <a:pt x="1169" y="1404"/>
                    </a:lnTo>
                    <a:lnTo>
                      <a:pt x="1158" y="1398"/>
                    </a:lnTo>
                    <a:lnTo>
                      <a:pt x="1140" y="1389"/>
                    </a:lnTo>
                    <a:lnTo>
                      <a:pt x="1123" y="1384"/>
                    </a:lnTo>
                    <a:lnTo>
                      <a:pt x="1105" y="1379"/>
                    </a:lnTo>
                    <a:lnTo>
                      <a:pt x="1082" y="1372"/>
                    </a:lnTo>
                    <a:lnTo>
                      <a:pt x="1060" y="1361"/>
                    </a:lnTo>
                    <a:lnTo>
                      <a:pt x="1048" y="1353"/>
                    </a:lnTo>
                    <a:lnTo>
                      <a:pt x="1037" y="1346"/>
                    </a:lnTo>
                    <a:lnTo>
                      <a:pt x="1026" y="1340"/>
                    </a:lnTo>
                    <a:lnTo>
                      <a:pt x="1013" y="1335"/>
                    </a:lnTo>
                    <a:lnTo>
                      <a:pt x="996" y="1323"/>
                    </a:lnTo>
                    <a:lnTo>
                      <a:pt x="977" y="1311"/>
                    </a:lnTo>
                    <a:lnTo>
                      <a:pt x="974" y="1309"/>
                    </a:lnTo>
                    <a:lnTo>
                      <a:pt x="971" y="1306"/>
                    </a:lnTo>
                    <a:lnTo>
                      <a:pt x="968" y="1304"/>
                    </a:lnTo>
                    <a:lnTo>
                      <a:pt x="966" y="1302"/>
                    </a:lnTo>
                    <a:lnTo>
                      <a:pt x="965" y="1300"/>
                    </a:lnTo>
                    <a:lnTo>
                      <a:pt x="963" y="1299"/>
                    </a:lnTo>
                    <a:lnTo>
                      <a:pt x="965" y="1295"/>
                    </a:lnTo>
                    <a:lnTo>
                      <a:pt x="965" y="1292"/>
                    </a:lnTo>
                    <a:lnTo>
                      <a:pt x="966" y="1290"/>
                    </a:lnTo>
                    <a:lnTo>
                      <a:pt x="967" y="1287"/>
                    </a:lnTo>
                    <a:lnTo>
                      <a:pt x="968" y="1285"/>
                    </a:lnTo>
                    <a:lnTo>
                      <a:pt x="969" y="1282"/>
                    </a:lnTo>
                    <a:lnTo>
                      <a:pt x="965" y="1270"/>
                    </a:lnTo>
                    <a:lnTo>
                      <a:pt x="956" y="1259"/>
                    </a:lnTo>
                    <a:lnTo>
                      <a:pt x="946" y="1249"/>
                    </a:lnTo>
                    <a:lnTo>
                      <a:pt x="940" y="1241"/>
                    </a:lnTo>
                    <a:lnTo>
                      <a:pt x="935" y="1236"/>
                    </a:lnTo>
                    <a:lnTo>
                      <a:pt x="930" y="1230"/>
                    </a:lnTo>
                    <a:lnTo>
                      <a:pt x="920" y="1223"/>
                    </a:lnTo>
                    <a:lnTo>
                      <a:pt x="908" y="1215"/>
                    </a:lnTo>
                    <a:lnTo>
                      <a:pt x="897" y="1202"/>
                    </a:lnTo>
                    <a:lnTo>
                      <a:pt x="885" y="1192"/>
                    </a:lnTo>
                    <a:lnTo>
                      <a:pt x="877" y="1185"/>
                    </a:lnTo>
                    <a:lnTo>
                      <a:pt x="871" y="1178"/>
                    </a:lnTo>
                    <a:lnTo>
                      <a:pt x="867" y="1169"/>
                    </a:lnTo>
                    <a:lnTo>
                      <a:pt x="864" y="1163"/>
                    </a:lnTo>
                    <a:lnTo>
                      <a:pt x="854" y="1151"/>
                    </a:lnTo>
                    <a:lnTo>
                      <a:pt x="841" y="1141"/>
                    </a:lnTo>
                    <a:lnTo>
                      <a:pt x="830" y="1132"/>
                    </a:lnTo>
                    <a:lnTo>
                      <a:pt x="820" y="1121"/>
                    </a:lnTo>
                    <a:lnTo>
                      <a:pt x="809" y="1113"/>
                    </a:lnTo>
                    <a:lnTo>
                      <a:pt x="804" y="1108"/>
                    </a:lnTo>
                    <a:lnTo>
                      <a:pt x="801" y="1102"/>
                    </a:lnTo>
                    <a:lnTo>
                      <a:pt x="799" y="1095"/>
                    </a:lnTo>
                    <a:lnTo>
                      <a:pt x="789" y="1076"/>
                    </a:lnTo>
                    <a:lnTo>
                      <a:pt x="775" y="1059"/>
                    </a:lnTo>
                    <a:lnTo>
                      <a:pt x="773" y="1056"/>
                    </a:lnTo>
                    <a:lnTo>
                      <a:pt x="771" y="1054"/>
                    </a:lnTo>
                    <a:lnTo>
                      <a:pt x="769" y="1051"/>
                    </a:lnTo>
                    <a:lnTo>
                      <a:pt x="766" y="1049"/>
                    </a:lnTo>
                    <a:lnTo>
                      <a:pt x="764" y="1046"/>
                    </a:lnTo>
                    <a:lnTo>
                      <a:pt x="761" y="1045"/>
                    </a:lnTo>
                    <a:lnTo>
                      <a:pt x="759" y="1045"/>
                    </a:lnTo>
                    <a:lnTo>
                      <a:pt x="758" y="1045"/>
                    </a:lnTo>
                    <a:lnTo>
                      <a:pt x="756" y="1047"/>
                    </a:lnTo>
                    <a:lnTo>
                      <a:pt x="756" y="1050"/>
                    </a:lnTo>
                    <a:lnTo>
                      <a:pt x="760" y="1065"/>
                    </a:lnTo>
                    <a:lnTo>
                      <a:pt x="759" y="1076"/>
                    </a:lnTo>
                    <a:lnTo>
                      <a:pt x="759" y="1080"/>
                    </a:lnTo>
                    <a:lnTo>
                      <a:pt x="759" y="1082"/>
                    </a:lnTo>
                    <a:lnTo>
                      <a:pt x="760" y="1086"/>
                    </a:lnTo>
                    <a:lnTo>
                      <a:pt x="763" y="1090"/>
                    </a:lnTo>
                    <a:lnTo>
                      <a:pt x="766" y="1092"/>
                    </a:lnTo>
                    <a:lnTo>
                      <a:pt x="776" y="1098"/>
                    </a:lnTo>
                    <a:lnTo>
                      <a:pt x="785" y="1105"/>
                    </a:lnTo>
                    <a:lnTo>
                      <a:pt x="791" y="1112"/>
                    </a:lnTo>
                    <a:lnTo>
                      <a:pt x="793" y="1121"/>
                    </a:lnTo>
                    <a:lnTo>
                      <a:pt x="796" y="1126"/>
                    </a:lnTo>
                    <a:lnTo>
                      <a:pt x="801" y="1132"/>
                    </a:lnTo>
                    <a:lnTo>
                      <a:pt x="806" y="1137"/>
                    </a:lnTo>
                    <a:lnTo>
                      <a:pt x="814" y="1146"/>
                    </a:lnTo>
                    <a:lnTo>
                      <a:pt x="822" y="1158"/>
                    </a:lnTo>
                    <a:lnTo>
                      <a:pt x="827" y="1164"/>
                    </a:lnTo>
                    <a:lnTo>
                      <a:pt x="832" y="1170"/>
                    </a:lnTo>
                    <a:lnTo>
                      <a:pt x="837" y="1175"/>
                    </a:lnTo>
                    <a:lnTo>
                      <a:pt x="840" y="1179"/>
                    </a:lnTo>
                    <a:lnTo>
                      <a:pt x="841" y="1182"/>
                    </a:lnTo>
                    <a:lnTo>
                      <a:pt x="842" y="1184"/>
                    </a:lnTo>
                    <a:lnTo>
                      <a:pt x="845" y="1187"/>
                    </a:lnTo>
                    <a:lnTo>
                      <a:pt x="846" y="1189"/>
                    </a:lnTo>
                    <a:lnTo>
                      <a:pt x="849" y="1192"/>
                    </a:lnTo>
                    <a:lnTo>
                      <a:pt x="851" y="1195"/>
                    </a:lnTo>
                    <a:lnTo>
                      <a:pt x="855" y="1200"/>
                    </a:lnTo>
                    <a:lnTo>
                      <a:pt x="856" y="1205"/>
                    </a:lnTo>
                    <a:lnTo>
                      <a:pt x="859" y="1210"/>
                    </a:lnTo>
                    <a:lnTo>
                      <a:pt x="860" y="1212"/>
                    </a:lnTo>
                    <a:lnTo>
                      <a:pt x="862" y="1214"/>
                    </a:lnTo>
                    <a:lnTo>
                      <a:pt x="865" y="1215"/>
                    </a:lnTo>
                    <a:lnTo>
                      <a:pt x="867" y="1216"/>
                    </a:lnTo>
                    <a:lnTo>
                      <a:pt x="870" y="1218"/>
                    </a:lnTo>
                    <a:lnTo>
                      <a:pt x="872" y="1220"/>
                    </a:lnTo>
                    <a:lnTo>
                      <a:pt x="876" y="1224"/>
                    </a:lnTo>
                    <a:lnTo>
                      <a:pt x="880" y="1229"/>
                    </a:lnTo>
                    <a:lnTo>
                      <a:pt x="882" y="1234"/>
                    </a:lnTo>
                    <a:lnTo>
                      <a:pt x="885" y="1239"/>
                    </a:lnTo>
                    <a:lnTo>
                      <a:pt x="885" y="1240"/>
                    </a:lnTo>
                    <a:lnTo>
                      <a:pt x="884" y="1241"/>
                    </a:lnTo>
                    <a:lnTo>
                      <a:pt x="882" y="1241"/>
                    </a:lnTo>
                    <a:lnTo>
                      <a:pt x="880" y="1241"/>
                    </a:lnTo>
                    <a:lnTo>
                      <a:pt x="879" y="1241"/>
                    </a:lnTo>
                    <a:lnTo>
                      <a:pt x="877" y="1241"/>
                    </a:lnTo>
                    <a:lnTo>
                      <a:pt x="874" y="1239"/>
                    </a:lnTo>
                    <a:lnTo>
                      <a:pt x="871" y="1238"/>
                    </a:lnTo>
                    <a:lnTo>
                      <a:pt x="869" y="1234"/>
                    </a:lnTo>
                    <a:lnTo>
                      <a:pt x="867" y="1231"/>
                    </a:lnTo>
                    <a:lnTo>
                      <a:pt x="865" y="1230"/>
                    </a:lnTo>
                    <a:lnTo>
                      <a:pt x="864" y="1228"/>
                    </a:lnTo>
                    <a:lnTo>
                      <a:pt x="861" y="1225"/>
                    </a:lnTo>
                    <a:lnTo>
                      <a:pt x="857" y="1223"/>
                    </a:lnTo>
                    <a:lnTo>
                      <a:pt x="854" y="1220"/>
                    </a:lnTo>
                    <a:lnTo>
                      <a:pt x="850" y="1218"/>
                    </a:lnTo>
                    <a:lnTo>
                      <a:pt x="849" y="1215"/>
                    </a:lnTo>
                    <a:lnTo>
                      <a:pt x="846" y="1213"/>
                    </a:lnTo>
                    <a:lnTo>
                      <a:pt x="842" y="1209"/>
                    </a:lnTo>
                    <a:lnTo>
                      <a:pt x="840" y="1207"/>
                    </a:lnTo>
                    <a:lnTo>
                      <a:pt x="837" y="1204"/>
                    </a:lnTo>
                    <a:lnTo>
                      <a:pt x="834" y="1203"/>
                    </a:lnTo>
                    <a:lnTo>
                      <a:pt x="830" y="1202"/>
                    </a:lnTo>
                    <a:lnTo>
                      <a:pt x="826" y="1202"/>
                    </a:lnTo>
                    <a:lnTo>
                      <a:pt x="824" y="1200"/>
                    </a:lnTo>
                    <a:lnTo>
                      <a:pt x="821" y="1198"/>
                    </a:lnTo>
                    <a:lnTo>
                      <a:pt x="820" y="1194"/>
                    </a:lnTo>
                    <a:lnTo>
                      <a:pt x="819" y="1184"/>
                    </a:lnTo>
                    <a:lnTo>
                      <a:pt x="818" y="1177"/>
                    </a:lnTo>
                    <a:lnTo>
                      <a:pt x="815" y="1169"/>
                    </a:lnTo>
                    <a:lnTo>
                      <a:pt x="806" y="1163"/>
                    </a:lnTo>
                    <a:lnTo>
                      <a:pt x="799" y="1158"/>
                    </a:lnTo>
                    <a:lnTo>
                      <a:pt x="791" y="1154"/>
                    </a:lnTo>
                    <a:lnTo>
                      <a:pt x="783" y="1151"/>
                    </a:lnTo>
                    <a:lnTo>
                      <a:pt x="778" y="1144"/>
                    </a:lnTo>
                    <a:lnTo>
                      <a:pt x="775" y="1137"/>
                    </a:lnTo>
                    <a:lnTo>
                      <a:pt x="775" y="1128"/>
                    </a:lnTo>
                    <a:lnTo>
                      <a:pt x="776" y="1121"/>
                    </a:lnTo>
                    <a:lnTo>
                      <a:pt x="773" y="1113"/>
                    </a:lnTo>
                    <a:lnTo>
                      <a:pt x="760" y="1103"/>
                    </a:lnTo>
                    <a:lnTo>
                      <a:pt x="751" y="1095"/>
                    </a:lnTo>
                    <a:lnTo>
                      <a:pt x="748" y="1092"/>
                    </a:lnTo>
                    <a:lnTo>
                      <a:pt x="747" y="1090"/>
                    </a:lnTo>
                    <a:lnTo>
                      <a:pt x="744" y="1086"/>
                    </a:lnTo>
                    <a:lnTo>
                      <a:pt x="743" y="1082"/>
                    </a:lnTo>
                    <a:lnTo>
                      <a:pt x="740" y="1080"/>
                    </a:lnTo>
                    <a:lnTo>
                      <a:pt x="733" y="1067"/>
                    </a:lnTo>
                    <a:lnTo>
                      <a:pt x="724" y="1055"/>
                    </a:lnTo>
                    <a:lnTo>
                      <a:pt x="714" y="1042"/>
                    </a:lnTo>
                    <a:lnTo>
                      <a:pt x="698" y="1019"/>
                    </a:lnTo>
                    <a:lnTo>
                      <a:pt x="683" y="995"/>
                    </a:lnTo>
                    <a:lnTo>
                      <a:pt x="673" y="985"/>
                    </a:lnTo>
                    <a:lnTo>
                      <a:pt x="663" y="976"/>
                    </a:lnTo>
                    <a:lnTo>
                      <a:pt x="652" y="969"/>
                    </a:lnTo>
                    <a:lnTo>
                      <a:pt x="636" y="958"/>
                    </a:lnTo>
                    <a:lnTo>
                      <a:pt x="621" y="943"/>
                    </a:lnTo>
                    <a:lnTo>
                      <a:pt x="608" y="924"/>
                    </a:lnTo>
                    <a:lnTo>
                      <a:pt x="598" y="906"/>
                    </a:lnTo>
                    <a:lnTo>
                      <a:pt x="591" y="886"/>
                    </a:lnTo>
                    <a:lnTo>
                      <a:pt x="586" y="874"/>
                    </a:lnTo>
                    <a:lnTo>
                      <a:pt x="581" y="862"/>
                    </a:lnTo>
                    <a:lnTo>
                      <a:pt x="578" y="858"/>
                    </a:lnTo>
                    <a:lnTo>
                      <a:pt x="576" y="855"/>
                    </a:lnTo>
                    <a:lnTo>
                      <a:pt x="573" y="852"/>
                    </a:lnTo>
                    <a:lnTo>
                      <a:pt x="571" y="848"/>
                    </a:lnTo>
                    <a:lnTo>
                      <a:pt x="567" y="845"/>
                    </a:lnTo>
                    <a:lnTo>
                      <a:pt x="563" y="835"/>
                    </a:lnTo>
                    <a:lnTo>
                      <a:pt x="560" y="824"/>
                    </a:lnTo>
                    <a:lnTo>
                      <a:pt x="557" y="820"/>
                    </a:lnTo>
                    <a:lnTo>
                      <a:pt x="556" y="817"/>
                    </a:lnTo>
                    <a:lnTo>
                      <a:pt x="553" y="814"/>
                    </a:lnTo>
                    <a:lnTo>
                      <a:pt x="552" y="810"/>
                    </a:lnTo>
                    <a:lnTo>
                      <a:pt x="552" y="805"/>
                    </a:lnTo>
                    <a:lnTo>
                      <a:pt x="551" y="795"/>
                    </a:lnTo>
                    <a:lnTo>
                      <a:pt x="551" y="786"/>
                    </a:lnTo>
                    <a:lnTo>
                      <a:pt x="552" y="779"/>
                    </a:lnTo>
                    <a:lnTo>
                      <a:pt x="551" y="768"/>
                    </a:lnTo>
                    <a:lnTo>
                      <a:pt x="550" y="755"/>
                    </a:lnTo>
                    <a:lnTo>
                      <a:pt x="541" y="731"/>
                    </a:lnTo>
                    <a:lnTo>
                      <a:pt x="541" y="722"/>
                    </a:lnTo>
                    <a:lnTo>
                      <a:pt x="542" y="714"/>
                    </a:lnTo>
                    <a:lnTo>
                      <a:pt x="543" y="705"/>
                    </a:lnTo>
                    <a:lnTo>
                      <a:pt x="545" y="684"/>
                    </a:lnTo>
                    <a:lnTo>
                      <a:pt x="543" y="662"/>
                    </a:lnTo>
                    <a:lnTo>
                      <a:pt x="541" y="641"/>
                    </a:lnTo>
                    <a:lnTo>
                      <a:pt x="541" y="615"/>
                    </a:lnTo>
                    <a:lnTo>
                      <a:pt x="540" y="610"/>
                    </a:lnTo>
                    <a:lnTo>
                      <a:pt x="537" y="606"/>
                    </a:lnTo>
                    <a:lnTo>
                      <a:pt x="535" y="602"/>
                    </a:lnTo>
                    <a:lnTo>
                      <a:pt x="533" y="598"/>
                    </a:lnTo>
                    <a:lnTo>
                      <a:pt x="532" y="595"/>
                    </a:lnTo>
                    <a:lnTo>
                      <a:pt x="530" y="588"/>
                    </a:lnTo>
                    <a:lnTo>
                      <a:pt x="528" y="581"/>
                    </a:lnTo>
                    <a:lnTo>
                      <a:pt x="527" y="575"/>
                    </a:lnTo>
                    <a:lnTo>
                      <a:pt x="528" y="570"/>
                    </a:lnTo>
                    <a:lnTo>
                      <a:pt x="531" y="567"/>
                    </a:lnTo>
                    <a:lnTo>
                      <a:pt x="538" y="570"/>
                    </a:lnTo>
                    <a:lnTo>
                      <a:pt x="546" y="576"/>
                    </a:lnTo>
                    <a:lnTo>
                      <a:pt x="555" y="580"/>
                    </a:lnTo>
                    <a:lnTo>
                      <a:pt x="561" y="580"/>
                    </a:lnTo>
                    <a:lnTo>
                      <a:pt x="565" y="576"/>
                    </a:lnTo>
                    <a:lnTo>
                      <a:pt x="565" y="569"/>
                    </a:lnTo>
                    <a:lnTo>
                      <a:pt x="562" y="560"/>
                    </a:lnTo>
                    <a:lnTo>
                      <a:pt x="558" y="555"/>
                    </a:lnTo>
                    <a:lnTo>
                      <a:pt x="551" y="554"/>
                    </a:lnTo>
                    <a:lnTo>
                      <a:pt x="545" y="554"/>
                    </a:lnTo>
                    <a:lnTo>
                      <a:pt x="538" y="554"/>
                    </a:lnTo>
                    <a:lnTo>
                      <a:pt x="532" y="556"/>
                    </a:lnTo>
                    <a:lnTo>
                      <a:pt x="526" y="559"/>
                    </a:lnTo>
                    <a:lnTo>
                      <a:pt x="520" y="560"/>
                    </a:lnTo>
                    <a:lnTo>
                      <a:pt x="515" y="559"/>
                    </a:lnTo>
                    <a:lnTo>
                      <a:pt x="510" y="551"/>
                    </a:lnTo>
                    <a:lnTo>
                      <a:pt x="496" y="534"/>
                    </a:lnTo>
                    <a:lnTo>
                      <a:pt x="484" y="520"/>
                    </a:lnTo>
                    <a:lnTo>
                      <a:pt x="476" y="511"/>
                    </a:lnTo>
                    <a:lnTo>
                      <a:pt x="471" y="500"/>
                    </a:lnTo>
                    <a:lnTo>
                      <a:pt x="470" y="488"/>
                    </a:lnTo>
                    <a:lnTo>
                      <a:pt x="472" y="475"/>
                    </a:lnTo>
                    <a:lnTo>
                      <a:pt x="474" y="469"/>
                    </a:lnTo>
                    <a:lnTo>
                      <a:pt x="472" y="462"/>
                    </a:lnTo>
                    <a:lnTo>
                      <a:pt x="470" y="455"/>
                    </a:lnTo>
                    <a:lnTo>
                      <a:pt x="470" y="444"/>
                    </a:lnTo>
                    <a:lnTo>
                      <a:pt x="471" y="443"/>
                    </a:lnTo>
                    <a:lnTo>
                      <a:pt x="471" y="442"/>
                    </a:lnTo>
                    <a:lnTo>
                      <a:pt x="472" y="440"/>
                    </a:lnTo>
                    <a:lnTo>
                      <a:pt x="472" y="439"/>
                    </a:lnTo>
                    <a:lnTo>
                      <a:pt x="475" y="437"/>
                    </a:lnTo>
                    <a:lnTo>
                      <a:pt x="474" y="435"/>
                    </a:lnTo>
                    <a:lnTo>
                      <a:pt x="472" y="433"/>
                    </a:lnTo>
                    <a:lnTo>
                      <a:pt x="471" y="431"/>
                    </a:lnTo>
                    <a:lnTo>
                      <a:pt x="469" y="429"/>
                    </a:lnTo>
                    <a:lnTo>
                      <a:pt x="466" y="428"/>
                    </a:lnTo>
                    <a:lnTo>
                      <a:pt x="465" y="427"/>
                    </a:lnTo>
                    <a:lnTo>
                      <a:pt x="464" y="422"/>
                    </a:lnTo>
                    <a:lnTo>
                      <a:pt x="461" y="417"/>
                    </a:lnTo>
                    <a:lnTo>
                      <a:pt x="459" y="413"/>
                    </a:lnTo>
                    <a:lnTo>
                      <a:pt x="457" y="408"/>
                    </a:lnTo>
                    <a:lnTo>
                      <a:pt x="457" y="403"/>
                    </a:lnTo>
                    <a:lnTo>
                      <a:pt x="457" y="396"/>
                    </a:lnTo>
                    <a:lnTo>
                      <a:pt x="456" y="387"/>
                    </a:lnTo>
                    <a:lnTo>
                      <a:pt x="456" y="380"/>
                    </a:lnTo>
                    <a:lnTo>
                      <a:pt x="455" y="377"/>
                    </a:lnTo>
                    <a:lnTo>
                      <a:pt x="454" y="378"/>
                    </a:lnTo>
                    <a:lnTo>
                      <a:pt x="453" y="381"/>
                    </a:lnTo>
                    <a:lnTo>
                      <a:pt x="453" y="383"/>
                    </a:lnTo>
                    <a:lnTo>
                      <a:pt x="451" y="386"/>
                    </a:lnTo>
                    <a:lnTo>
                      <a:pt x="450" y="387"/>
                    </a:lnTo>
                    <a:lnTo>
                      <a:pt x="449" y="389"/>
                    </a:lnTo>
                    <a:lnTo>
                      <a:pt x="446" y="389"/>
                    </a:lnTo>
                    <a:lnTo>
                      <a:pt x="445" y="389"/>
                    </a:lnTo>
                    <a:lnTo>
                      <a:pt x="443" y="391"/>
                    </a:lnTo>
                    <a:lnTo>
                      <a:pt x="440" y="391"/>
                    </a:lnTo>
                    <a:lnTo>
                      <a:pt x="438" y="389"/>
                    </a:lnTo>
                    <a:lnTo>
                      <a:pt x="435" y="389"/>
                    </a:lnTo>
                    <a:lnTo>
                      <a:pt x="434" y="387"/>
                    </a:lnTo>
                    <a:lnTo>
                      <a:pt x="431" y="391"/>
                    </a:lnTo>
                    <a:lnTo>
                      <a:pt x="430" y="393"/>
                    </a:lnTo>
                    <a:lnTo>
                      <a:pt x="429" y="393"/>
                    </a:lnTo>
                    <a:lnTo>
                      <a:pt x="429" y="393"/>
                    </a:lnTo>
                    <a:lnTo>
                      <a:pt x="429" y="392"/>
                    </a:lnTo>
                    <a:lnTo>
                      <a:pt x="428" y="389"/>
                    </a:lnTo>
                    <a:lnTo>
                      <a:pt x="428" y="386"/>
                    </a:lnTo>
                    <a:lnTo>
                      <a:pt x="428" y="383"/>
                    </a:lnTo>
                    <a:lnTo>
                      <a:pt x="428" y="380"/>
                    </a:lnTo>
                    <a:lnTo>
                      <a:pt x="428" y="377"/>
                    </a:lnTo>
                    <a:lnTo>
                      <a:pt x="429" y="373"/>
                    </a:lnTo>
                    <a:lnTo>
                      <a:pt x="429" y="372"/>
                    </a:lnTo>
                    <a:lnTo>
                      <a:pt x="426" y="368"/>
                    </a:lnTo>
                    <a:lnTo>
                      <a:pt x="425" y="366"/>
                    </a:lnTo>
                    <a:lnTo>
                      <a:pt x="423" y="363"/>
                    </a:lnTo>
                    <a:lnTo>
                      <a:pt x="421" y="362"/>
                    </a:lnTo>
                    <a:lnTo>
                      <a:pt x="419" y="360"/>
                    </a:lnTo>
                    <a:lnTo>
                      <a:pt x="418" y="356"/>
                    </a:lnTo>
                    <a:lnTo>
                      <a:pt x="419" y="352"/>
                    </a:lnTo>
                    <a:lnTo>
                      <a:pt x="421" y="348"/>
                    </a:lnTo>
                    <a:lnTo>
                      <a:pt x="424" y="343"/>
                    </a:lnTo>
                    <a:lnTo>
                      <a:pt x="425" y="340"/>
                    </a:lnTo>
                    <a:lnTo>
                      <a:pt x="426" y="338"/>
                    </a:lnTo>
                    <a:lnTo>
                      <a:pt x="426" y="335"/>
                    </a:lnTo>
                    <a:lnTo>
                      <a:pt x="426" y="334"/>
                    </a:lnTo>
                    <a:lnTo>
                      <a:pt x="425" y="330"/>
                    </a:lnTo>
                    <a:lnTo>
                      <a:pt x="423" y="327"/>
                    </a:lnTo>
                    <a:lnTo>
                      <a:pt x="420" y="321"/>
                    </a:lnTo>
                    <a:lnTo>
                      <a:pt x="418" y="315"/>
                    </a:lnTo>
                    <a:lnTo>
                      <a:pt x="415" y="309"/>
                    </a:lnTo>
                    <a:lnTo>
                      <a:pt x="413" y="305"/>
                    </a:lnTo>
                    <a:lnTo>
                      <a:pt x="410" y="301"/>
                    </a:lnTo>
                    <a:lnTo>
                      <a:pt x="410" y="299"/>
                    </a:lnTo>
                    <a:lnTo>
                      <a:pt x="409" y="295"/>
                    </a:lnTo>
                    <a:lnTo>
                      <a:pt x="409" y="292"/>
                    </a:lnTo>
                    <a:lnTo>
                      <a:pt x="409" y="290"/>
                    </a:lnTo>
                    <a:lnTo>
                      <a:pt x="409" y="287"/>
                    </a:lnTo>
                    <a:lnTo>
                      <a:pt x="408" y="285"/>
                    </a:lnTo>
                    <a:lnTo>
                      <a:pt x="406" y="283"/>
                    </a:lnTo>
                    <a:lnTo>
                      <a:pt x="405" y="281"/>
                    </a:lnTo>
                    <a:lnTo>
                      <a:pt x="403" y="280"/>
                    </a:lnTo>
                    <a:lnTo>
                      <a:pt x="401" y="278"/>
                    </a:lnTo>
                    <a:lnTo>
                      <a:pt x="400" y="275"/>
                    </a:lnTo>
                    <a:lnTo>
                      <a:pt x="398" y="274"/>
                    </a:lnTo>
                    <a:lnTo>
                      <a:pt x="396" y="271"/>
                    </a:lnTo>
                    <a:lnTo>
                      <a:pt x="395" y="270"/>
                    </a:lnTo>
                    <a:lnTo>
                      <a:pt x="394" y="270"/>
                    </a:lnTo>
                    <a:lnTo>
                      <a:pt x="393" y="271"/>
                    </a:lnTo>
                    <a:lnTo>
                      <a:pt x="391" y="275"/>
                    </a:lnTo>
                    <a:lnTo>
                      <a:pt x="391" y="276"/>
                    </a:lnTo>
                    <a:lnTo>
                      <a:pt x="390" y="279"/>
                    </a:lnTo>
                    <a:lnTo>
                      <a:pt x="390" y="281"/>
                    </a:lnTo>
                    <a:lnTo>
                      <a:pt x="389" y="285"/>
                    </a:lnTo>
                    <a:lnTo>
                      <a:pt x="388" y="287"/>
                    </a:lnTo>
                    <a:lnTo>
                      <a:pt x="386" y="290"/>
                    </a:lnTo>
                    <a:lnTo>
                      <a:pt x="385" y="291"/>
                    </a:lnTo>
                    <a:lnTo>
                      <a:pt x="384" y="290"/>
                    </a:lnTo>
                    <a:lnTo>
                      <a:pt x="380" y="286"/>
                    </a:lnTo>
                    <a:lnTo>
                      <a:pt x="379" y="279"/>
                    </a:lnTo>
                    <a:lnTo>
                      <a:pt x="379" y="270"/>
                    </a:lnTo>
                    <a:lnTo>
                      <a:pt x="379" y="264"/>
                    </a:lnTo>
                    <a:lnTo>
                      <a:pt x="380" y="261"/>
                    </a:lnTo>
                    <a:lnTo>
                      <a:pt x="382" y="260"/>
                    </a:lnTo>
                    <a:lnTo>
                      <a:pt x="383" y="258"/>
                    </a:lnTo>
                    <a:lnTo>
                      <a:pt x="384" y="255"/>
                    </a:lnTo>
                    <a:lnTo>
                      <a:pt x="384" y="253"/>
                    </a:lnTo>
                    <a:lnTo>
                      <a:pt x="384" y="249"/>
                    </a:lnTo>
                    <a:lnTo>
                      <a:pt x="383" y="244"/>
                    </a:lnTo>
                    <a:lnTo>
                      <a:pt x="382" y="239"/>
                    </a:lnTo>
                    <a:lnTo>
                      <a:pt x="380" y="235"/>
                    </a:lnTo>
                    <a:lnTo>
                      <a:pt x="379" y="230"/>
                    </a:lnTo>
                    <a:lnTo>
                      <a:pt x="377" y="228"/>
                    </a:lnTo>
                    <a:lnTo>
                      <a:pt x="374" y="225"/>
                    </a:lnTo>
                    <a:lnTo>
                      <a:pt x="373" y="223"/>
                    </a:lnTo>
                    <a:lnTo>
                      <a:pt x="370" y="220"/>
                    </a:lnTo>
                    <a:lnTo>
                      <a:pt x="370" y="218"/>
                    </a:lnTo>
                    <a:lnTo>
                      <a:pt x="372" y="217"/>
                    </a:lnTo>
                    <a:lnTo>
                      <a:pt x="372" y="214"/>
                    </a:lnTo>
                    <a:lnTo>
                      <a:pt x="372" y="213"/>
                    </a:lnTo>
                    <a:lnTo>
                      <a:pt x="370" y="209"/>
                    </a:lnTo>
                    <a:lnTo>
                      <a:pt x="369" y="209"/>
                    </a:lnTo>
                    <a:lnTo>
                      <a:pt x="368" y="209"/>
                    </a:lnTo>
                    <a:lnTo>
                      <a:pt x="365" y="210"/>
                    </a:lnTo>
                    <a:lnTo>
                      <a:pt x="363" y="210"/>
                    </a:lnTo>
                    <a:lnTo>
                      <a:pt x="362" y="212"/>
                    </a:lnTo>
                    <a:lnTo>
                      <a:pt x="360" y="212"/>
                    </a:lnTo>
                    <a:lnTo>
                      <a:pt x="355" y="212"/>
                    </a:lnTo>
                    <a:lnTo>
                      <a:pt x="354" y="212"/>
                    </a:lnTo>
                    <a:lnTo>
                      <a:pt x="353" y="210"/>
                    </a:lnTo>
                    <a:lnTo>
                      <a:pt x="353" y="209"/>
                    </a:lnTo>
                    <a:lnTo>
                      <a:pt x="353" y="208"/>
                    </a:lnTo>
                    <a:lnTo>
                      <a:pt x="353" y="207"/>
                    </a:lnTo>
                    <a:lnTo>
                      <a:pt x="349" y="209"/>
                    </a:lnTo>
                    <a:lnTo>
                      <a:pt x="347" y="212"/>
                    </a:lnTo>
                    <a:lnTo>
                      <a:pt x="345" y="213"/>
                    </a:lnTo>
                    <a:lnTo>
                      <a:pt x="343" y="212"/>
                    </a:lnTo>
                    <a:lnTo>
                      <a:pt x="342" y="209"/>
                    </a:lnTo>
                    <a:lnTo>
                      <a:pt x="339" y="205"/>
                    </a:lnTo>
                    <a:lnTo>
                      <a:pt x="337" y="202"/>
                    </a:lnTo>
                    <a:lnTo>
                      <a:pt x="337" y="197"/>
                    </a:lnTo>
                    <a:lnTo>
                      <a:pt x="337" y="192"/>
                    </a:lnTo>
                    <a:lnTo>
                      <a:pt x="337" y="189"/>
                    </a:lnTo>
                    <a:lnTo>
                      <a:pt x="335" y="188"/>
                    </a:lnTo>
                    <a:lnTo>
                      <a:pt x="333" y="187"/>
                    </a:lnTo>
                    <a:lnTo>
                      <a:pt x="332" y="186"/>
                    </a:lnTo>
                    <a:lnTo>
                      <a:pt x="330" y="184"/>
                    </a:lnTo>
                    <a:lnTo>
                      <a:pt x="329" y="183"/>
                    </a:lnTo>
                    <a:lnTo>
                      <a:pt x="324" y="177"/>
                    </a:lnTo>
                    <a:lnTo>
                      <a:pt x="320" y="168"/>
                    </a:lnTo>
                    <a:lnTo>
                      <a:pt x="318" y="161"/>
                    </a:lnTo>
                    <a:lnTo>
                      <a:pt x="313" y="154"/>
                    </a:lnTo>
                    <a:lnTo>
                      <a:pt x="312" y="154"/>
                    </a:lnTo>
                    <a:lnTo>
                      <a:pt x="312" y="152"/>
                    </a:lnTo>
                    <a:lnTo>
                      <a:pt x="312" y="151"/>
                    </a:lnTo>
                    <a:lnTo>
                      <a:pt x="312" y="147"/>
                    </a:lnTo>
                    <a:lnTo>
                      <a:pt x="310" y="144"/>
                    </a:lnTo>
                    <a:lnTo>
                      <a:pt x="310" y="142"/>
                    </a:lnTo>
                    <a:lnTo>
                      <a:pt x="310" y="141"/>
                    </a:lnTo>
                    <a:lnTo>
                      <a:pt x="310" y="138"/>
                    </a:lnTo>
                    <a:lnTo>
                      <a:pt x="309" y="137"/>
                    </a:lnTo>
                    <a:lnTo>
                      <a:pt x="309" y="136"/>
                    </a:lnTo>
                    <a:lnTo>
                      <a:pt x="308" y="137"/>
                    </a:lnTo>
                    <a:lnTo>
                      <a:pt x="303" y="140"/>
                    </a:lnTo>
                    <a:lnTo>
                      <a:pt x="299" y="147"/>
                    </a:lnTo>
                    <a:lnTo>
                      <a:pt x="297" y="156"/>
                    </a:lnTo>
                    <a:lnTo>
                      <a:pt x="294" y="163"/>
                    </a:lnTo>
                    <a:lnTo>
                      <a:pt x="292" y="169"/>
                    </a:lnTo>
                    <a:lnTo>
                      <a:pt x="288" y="171"/>
                    </a:lnTo>
                    <a:lnTo>
                      <a:pt x="284" y="169"/>
                    </a:lnTo>
                    <a:lnTo>
                      <a:pt x="281" y="166"/>
                    </a:lnTo>
                    <a:lnTo>
                      <a:pt x="277" y="162"/>
                    </a:lnTo>
                    <a:lnTo>
                      <a:pt x="273" y="159"/>
                    </a:lnTo>
                    <a:lnTo>
                      <a:pt x="267" y="157"/>
                    </a:lnTo>
                    <a:lnTo>
                      <a:pt x="259" y="154"/>
                    </a:lnTo>
                    <a:lnTo>
                      <a:pt x="252" y="156"/>
                    </a:lnTo>
                    <a:lnTo>
                      <a:pt x="244" y="159"/>
                    </a:lnTo>
                    <a:lnTo>
                      <a:pt x="242" y="162"/>
                    </a:lnTo>
                    <a:lnTo>
                      <a:pt x="241" y="162"/>
                    </a:lnTo>
                    <a:lnTo>
                      <a:pt x="239" y="159"/>
                    </a:lnTo>
                    <a:lnTo>
                      <a:pt x="238" y="158"/>
                    </a:lnTo>
                    <a:lnTo>
                      <a:pt x="237" y="154"/>
                    </a:lnTo>
                    <a:lnTo>
                      <a:pt x="236" y="152"/>
                    </a:lnTo>
                    <a:lnTo>
                      <a:pt x="235" y="148"/>
                    </a:lnTo>
                    <a:lnTo>
                      <a:pt x="233" y="146"/>
                    </a:lnTo>
                    <a:lnTo>
                      <a:pt x="231" y="143"/>
                    </a:lnTo>
                    <a:lnTo>
                      <a:pt x="230" y="142"/>
                    </a:lnTo>
                    <a:lnTo>
                      <a:pt x="227" y="142"/>
                    </a:lnTo>
                    <a:lnTo>
                      <a:pt x="225" y="143"/>
                    </a:lnTo>
                    <a:lnTo>
                      <a:pt x="223" y="143"/>
                    </a:lnTo>
                    <a:lnTo>
                      <a:pt x="221" y="142"/>
                    </a:lnTo>
                    <a:lnTo>
                      <a:pt x="220" y="141"/>
                    </a:lnTo>
                    <a:lnTo>
                      <a:pt x="220" y="140"/>
                    </a:lnTo>
                    <a:lnTo>
                      <a:pt x="218" y="137"/>
                    </a:lnTo>
                    <a:lnTo>
                      <a:pt x="218" y="135"/>
                    </a:lnTo>
                    <a:lnTo>
                      <a:pt x="217" y="133"/>
                    </a:lnTo>
                    <a:lnTo>
                      <a:pt x="216" y="131"/>
                    </a:lnTo>
                    <a:lnTo>
                      <a:pt x="211" y="130"/>
                    </a:lnTo>
                    <a:lnTo>
                      <a:pt x="205" y="130"/>
                    </a:lnTo>
                    <a:lnTo>
                      <a:pt x="198" y="132"/>
                    </a:lnTo>
                    <a:lnTo>
                      <a:pt x="195" y="137"/>
                    </a:lnTo>
                    <a:lnTo>
                      <a:pt x="193" y="143"/>
                    </a:lnTo>
                    <a:lnTo>
                      <a:pt x="196" y="148"/>
                    </a:lnTo>
                    <a:lnTo>
                      <a:pt x="198" y="152"/>
                    </a:lnTo>
                    <a:lnTo>
                      <a:pt x="197" y="157"/>
                    </a:lnTo>
                    <a:lnTo>
                      <a:pt x="197" y="161"/>
                    </a:lnTo>
                    <a:lnTo>
                      <a:pt x="196" y="162"/>
                    </a:lnTo>
                    <a:lnTo>
                      <a:pt x="193" y="164"/>
                    </a:lnTo>
                    <a:lnTo>
                      <a:pt x="191" y="164"/>
                    </a:lnTo>
                    <a:lnTo>
                      <a:pt x="190" y="166"/>
                    </a:lnTo>
                    <a:lnTo>
                      <a:pt x="186" y="168"/>
                    </a:lnTo>
                    <a:lnTo>
                      <a:pt x="183" y="171"/>
                    </a:lnTo>
                    <a:lnTo>
                      <a:pt x="181" y="173"/>
                    </a:lnTo>
                    <a:lnTo>
                      <a:pt x="178" y="176"/>
                    </a:lnTo>
                    <a:lnTo>
                      <a:pt x="177" y="179"/>
                    </a:lnTo>
                    <a:lnTo>
                      <a:pt x="173" y="182"/>
                    </a:lnTo>
                    <a:lnTo>
                      <a:pt x="171" y="184"/>
                    </a:lnTo>
                    <a:lnTo>
                      <a:pt x="168" y="186"/>
                    </a:lnTo>
                    <a:lnTo>
                      <a:pt x="166" y="188"/>
                    </a:lnTo>
                    <a:lnTo>
                      <a:pt x="163" y="190"/>
                    </a:lnTo>
                    <a:lnTo>
                      <a:pt x="161" y="192"/>
                    </a:lnTo>
                    <a:lnTo>
                      <a:pt x="159" y="193"/>
                    </a:lnTo>
                    <a:lnTo>
                      <a:pt x="156" y="194"/>
                    </a:lnTo>
                    <a:lnTo>
                      <a:pt x="155" y="193"/>
                    </a:lnTo>
                    <a:lnTo>
                      <a:pt x="155" y="188"/>
                    </a:lnTo>
                    <a:lnTo>
                      <a:pt x="155" y="182"/>
                    </a:lnTo>
                    <a:lnTo>
                      <a:pt x="155" y="177"/>
                    </a:lnTo>
                    <a:lnTo>
                      <a:pt x="156" y="173"/>
                    </a:lnTo>
                    <a:lnTo>
                      <a:pt x="155" y="171"/>
                    </a:lnTo>
                    <a:lnTo>
                      <a:pt x="155" y="169"/>
                    </a:lnTo>
                    <a:lnTo>
                      <a:pt x="154" y="168"/>
                    </a:lnTo>
                    <a:lnTo>
                      <a:pt x="152" y="167"/>
                    </a:lnTo>
                    <a:lnTo>
                      <a:pt x="152" y="166"/>
                    </a:lnTo>
                    <a:lnTo>
                      <a:pt x="152" y="163"/>
                    </a:lnTo>
                    <a:lnTo>
                      <a:pt x="152" y="159"/>
                    </a:lnTo>
                    <a:lnTo>
                      <a:pt x="156" y="154"/>
                    </a:lnTo>
                    <a:lnTo>
                      <a:pt x="159" y="148"/>
                    </a:lnTo>
                    <a:lnTo>
                      <a:pt x="161" y="142"/>
                    </a:lnTo>
                    <a:lnTo>
                      <a:pt x="161" y="138"/>
                    </a:lnTo>
                    <a:lnTo>
                      <a:pt x="161" y="136"/>
                    </a:lnTo>
                    <a:lnTo>
                      <a:pt x="162" y="135"/>
                    </a:lnTo>
                    <a:lnTo>
                      <a:pt x="165" y="135"/>
                    </a:lnTo>
                    <a:lnTo>
                      <a:pt x="166" y="133"/>
                    </a:lnTo>
                    <a:lnTo>
                      <a:pt x="168" y="133"/>
                    </a:lnTo>
                    <a:lnTo>
                      <a:pt x="171" y="132"/>
                    </a:lnTo>
                    <a:lnTo>
                      <a:pt x="172" y="130"/>
                    </a:lnTo>
                    <a:lnTo>
                      <a:pt x="173" y="127"/>
                    </a:lnTo>
                    <a:lnTo>
                      <a:pt x="173" y="123"/>
                    </a:lnTo>
                    <a:lnTo>
                      <a:pt x="173" y="120"/>
                    </a:lnTo>
                    <a:lnTo>
                      <a:pt x="173" y="117"/>
                    </a:lnTo>
                    <a:lnTo>
                      <a:pt x="172" y="116"/>
                    </a:lnTo>
                    <a:lnTo>
                      <a:pt x="171" y="116"/>
                    </a:lnTo>
                    <a:lnTo>
                      <a:pt x="168" y="117"/>
                    </a:lnTo>
                    <a:lnTo>
                      <a:pt x="167" y="118"/>
                    </a:lnTo>
                    <a:lnTo>
                      <a:pt x="165" y="120"/>
                    </a:lnTo>
                    <a:lnTo>
                      <a:pt x="162" y="122"/>
                    </a:lnTo>
                    <a:lnTo>
                      <a:pt x="161" y="125"/>
                    </a:lnTo>
                    <a:lnTo>
                      <a:pt x="159" y="126"/>
                    </a:lnTo>
                    <a:lnTo>
                      <a:pt x="159" y="128"/>
                    </a:lnTo>
                    <a:lnTo>
                      <a:pt x="150" y="144"/>
                    </a:lnTo>
                    <a:lnTo>
                      <a:pt x="147" y="146"/>
                    </a:lnTo>
                    <a:lnTo>
                      <a:pt x="146" y="148"/>
                    </a:lnTo>
                    <a:lnTo>
                      <a:pt x="145" y="151"/>
                    </a:lnTo>
                    <a:lnTo>
                      <a:pt x="145" y="154"/>
                    </a:lnTo>
                    <a:lnTo>
                      <a:pt x="145" y="162"/>
                    </a:lnTo>
                    <a:lnTo>
                      <a:pt x="144" y="168"/>
                    </a:lnTo>
                    <a:lnTo>
                      <a:pt x="142" y="173"/>
                    </a:lnTo>
                    <a:lnTo>
                      <a:pt x="141" y="176"/>
                    </a:lnTo>
                    <a:lnTo>
                      <a:pt x="139" y="176"/>
                    </a:lnTo>
                    <a:lnTo>
                      <a:pt x="137" y="177"/>
                    </a:lnTo>
                    <a:lnTo>
                      <a:pt x="135" y="178"/>
                    </a:lnTo>
                    <a:lnTo>
                      <a:pt x="134" y="179"/>
                    </a:lnTo>
                    <a:lnTo>
                      <a:pt x="132" y="181"/>
                    </a:lnTo>
                    <a:lnTo>
                      <a:pt x="130" y="184"/>
                    </a:lnTo>
                    <a:lnTo>
                      <a:pt x="130" y="187"/>
                    </a:lnTo>
                    <a:lnTo>
                      <a:pt x="130" y="189"/>
                    </a:lnTo>
                    <a:lnTo>
                      <a:pt x="130" y="190"/>
                    </a:lnTo>
                    <a:lnTo>
                      <a:pt x="130" y="192"/>
                    </a:lnTo>
                    <a:lnTo>
                      <a:pt x="131" y="193"/>
                    </a:lnTo>
                    <a:lnTo>
                      <a:pt x="131" y="194"/>
                    </a:lnTo>
                    <a:lnTo>
                      <a:pt x="132" y="197"/>
                    </a:lnTo>
                    <a:lnTo>
                      <a:pt x="131" y="200"/>
                    </a:lnTo>
                    <a:lnTo>
                      <a:pt x="130" y="203"/>
                    </a:lnTo>
                    <a:lnTo>
                      <a:pt x="129" y="204"/>
                    </a:lnTo>
                    <a:lnTo>
                      <a:pt x="126" y="204"/>
                    </a:lnTo>
                    <a:lnTo>
                      <a:pt x="124" y="204"/>
                    </a:lnTo>
                    <a:lnTo>
                      <a:pt x="121" y="203"/>
                    </a:lnTo>
                    <a:lnTo>
                      <a:pt x="119" y="202"/>
                    </a:lnTo>
                    <a:lnTo>
                      <a:pt x="117" y="203"/>
                    </a:lnTo>
                    <a:lnTo>
                      <a:pt x="117" y="205"/>
                    </a:lnTo>
                    <a:lnTo>
                      <a:pt x="117" y="208"/>
                    </a:lnTo>
                    <a:lnTo>
                      <a:pt x="119" y="210"/>
                    </a:lnTo>
                    <a:lnTo>
                      <a:pt x="120" y="212"/>
                    </a:lnTo>
                    <a:lnTo>
                      <a:pt x="121" y="212"/>
                    </a:lnTo>
                    <a:lnTo>
                      <a:pt x="125" y="215"/>
                    </a:lnTo>
                    <a:lnTo>
                      <a:pt x="127" y="219"/>
                    </a:lnTo>
                    <a:lnTo>
                      <a:pt x="127" y="225"/>
                    </a:lnTo>
                    <a:lnTo>
                      <a:pt x="124" y="233"/>
                    </a:lnTo>
                    <a:lnTo>
                      <a:pt x="121" y="241"/>
                    </a:lnTo>
                    <a:lnTo>
                      <a:pt x="116" y="246"/>
                    </a:lnTo>
                    <a:lnTo>
                      <a:pt x="110" y="250"/>
                    </a:lnTo>
                    <a:lnTo>
                      <a:pt x="105" y="254"/>
                    </a:lnTo>
                    <a:lnTo>
                      <a:pt x="99" y="261"/>
                    </a:lnTo>
                    <a:lnTo>
                      <a:pt x="92" y="271"/>
                    </a:lnTo>
                    <a:lnTo>
                      <a:pt x="88" y="283"/>
                    </a:lnTo>
                    <a:lnTo>
                      <a:pt x="86" y="286"/>
                    </a:lnTo>
                    <a:lnTo>
                      <a:pt x="85" y="289"/>
                    </a:lnTo>
                    <a:lnTo>
                      <a:pt x="85" y="291"/>
                    </a:lnTo>
                    <a:lnTo>
                      <a:pt x="85" y="292"/>
                    </a:lnTo>
                    <a:lnTo>
                      <a:pt x="81" y="295"/>
                    </a:lnTo>
                    <a:lnTo>
                      <a:pt x="79" y="296"/>
                    </a:lnTo>
                    <a:lnTo>
                      <a:pt x="76" y="297"/>
                    </a:lnTo>
                    <a:lnTo>
                      <a:pt x="74" y="301"/>
                    </a:lnTo>
                    <a:lnTo>
                      <a:pt x="69" y="315"/>
                    </a:lnTo>
                    <a:lnTo>
                      <a:pt x="61" y="322"/>
                    </a:lnTo>
                    <a:lnTo>
                      <a:pt x="59" y="324"/>
                    </a:lnTo>
                    <a:lnTo>
                      <a:pt x="56" y="325"/>
                    </a:lnTo>
                    <a:lnTo>
                      <a:pt x="54" y="324"/>
                    </a:lnTo>
                    <a:lnTo>
                      <a:pt x="51" y="322"/>
                    </a:lnTo>
                    <a:lnTo>
                      <a:pt x="51" y="319"/>
                    </a:lnTo>
                    <a:lnTo>
                      <a:pt x="50" y="314"/>
                    </a:lnTo>
                    <a:lnTo>
                      <a:pt x="50" y="310"/>
                    </a:lnTo>
                    <a:lnTo>
                      <a:pt x="50" y="306"/>
                    </a:lnTo>
                    <a:lnTo>
                      <a:pt x="51" y="304"/>
                    </a:lnTo>
                    <a:lnTo>
                      <a:pt x="53" y="301"/>
                    </a:lnTo>
                    <a:lnTo>
                      <a:pt x="55" y="300"/>
                    </a:lnTo>
                    <a:lnTo>
                      <a:pt x="56" y="300"/>
                    </a:lnTo>
                    <a:lnTo>
                      <a:pt x="58" y="299"/>
                    </a:lnTo>
                    <a:lnTo>
                      <a:pt x="59" y="297"/>
                    </a:lnTo>
                    <a:lnTo>
                      <a:pt x="61" y="296"/>
                    </a:lnTo>
                    <a:lnTo>
                      <a:pt x="63" y="294"/>
                    </a:lnTo>
                    <a:lnTo>
                      <a:pt x="63" y="291"/>
                    </a:lnTo>
                    <a:lnTo>
                      <a:pt x="64" y="290"/>
                    </a:lnTo>
                    <a:lnTo>
                      <a:pt x="65" y="287"/>
                    </a:lnTo>
                    <a:lnTo>
                      <a:pt x="66" y="285"/>
                    </a:lnTo>
                    <a:lnTo>
                      <a:pt x="69" y="284"/>
                    </a:lnTo>
                    <a:lnTo>
                      <a:pt x="69" y="281"/>
                    </a:lnTo>
                    <a:lnTo>
                      <a:pt x="70" y="280"/>
                    </a:lnTo>
                    <a:lnTo>
                      <a:pt x="70" y="278"/>
                    </a:lnTo>
                    <a:lnTo>
                      <a:pt x="70" y="275"/>
                    </a:lnTo>
                    <a:lnTo>
                      <a:pt x="71" y="273"/>
                    </a:lnTo>
                    <a:lnTo>
                      <a:pt x="71" y="270"/>
                    </a:lnTo>
                    <a:lnTo>
                      <a:pt x="73" y="269"/>
                    </a:lnTo>
                    <a:lnTo>
                      <a:pt x="74" y="268"/>
                    </a:lnTo>
                    <a:lnTo>
                      <a:pt x="76" y="266"/>
                    </a:lnTo>
                    <a:lnTo>
                      <a:pt x="78" y="265"/>
                    </a:lnTo>
                    <a:lnTo>
                      <a:pt x="79" y="264"/>
                    </a:lnTo>
                    <a:lnTo>
                      <a:pt x="80" y="260"/>
                    </a:lnTo>
                    <a:lnTo>
                      <a:pt x="80" y="256"/>
                    </a:lnTo>
                    <a:lnTo>
                      <a:pt x="81" y="254"/>
                    </a:lnTo>
                    <a:lnTo>
                      <a:pt x="83" y="251"/>
                    </a:lnTo>
                    <a:lnTo>
                      <a:pt x="83" y="243"/>
                    </a:lnTo>
                    <a:lnTo>
                      <a:pt x="85" y="235"/>
                    </a:lnTo>
                    <a:lnTo>
                      <a:pt x="88" y="228"/>
                    </a:lnTo>
                    <a:lnTo>
                      <a:pt x="88" y="225"/>
                    </a:lnTo>
                    <a:lnTo>
                      <a:pt x="88" y="223"/>
                    </a:lnTo>
                    <a:lnTo>
                      <a:pt x="89" y="220"/>
                    </a:lnTo>
                    <a:lnTo>
                      <a:pt x="90" y="217"/>
                    </a:lnTo>
                    <a:lnTo>
                      <a:pt x="90" y="215"/>
                    </a:lnTo>
                    <a:lnTo>
                      <a:pt x="88" y="214"/>
                    </a:lnTo>
                    <a:lnTo>
                      <a:pt x="86" y="214"/>
                    </a:lnTo>
                    <a:lnTo>
                      <a:pt x="85" y="214"/>
                    </a:lnTo>
                    <a:lnTo>
                      <a:pt x="85" y="215"/>
                    </a:lnTo>
                    <a:lnTo>
                      <a:pt x="84" y="217"/>
                    </a:lnTo>
                    <a:lnTo>
                      <a:pt x="83" y="219"/>
                    </a:lnTo>
                    <a:lnTo>
                      <a:pt x="81" y="222"/>
                    </a:lnTo>
                    <a:lnTo>
                      <a:pt x="80" y="223"/>
                    </a:lnTo>
                    <a:lnTo>
                      <a:pt x="79" y="223"/>
                    </a:lnTo>
                    <a:lnTo>
                      <a:pt x="78" y="223"/>
                    </a:lnTo>
                    <a:lnTo>
                      <a:pt x="76" y="220"/>
                    </a:lnTo>
                    <a:lnTo>
                      <a:pt x="76" y="219"/>
                    </a:lnTo>
                    <a:lnTo>
                      <a:pt x="76" y="218"/>
                    </a:lnTo>
                    <a:lnTo>
                      <a:pt x="76" y="217"/>
                    </a:lnTo>
                    <a:lnTo>
                      <a:pt x="76" y="214"/>
                    </a:lnTo>
                    <a:lnTo>
                      <a:pt x="76" y="213"/>
                    </a:lnTo>
                    <a:lnTo>
                      <a:pt x="75" y="212"/>
                    </a:lnTo>
                    <a:lnTo>
                      <a:pt x="74" y="212"/>
                    </a:lnTo>
                    <a:lnTo>
                      <a:pt x="74" y="214"/>
                    </a:lnTo>
                    <a:lnTo>
                      <a:pt x="73" y="215"/>
                    </a:lnTo>
                    <a:lnTo>
                      <a:pt x="70" y="218"/>
                    </a:lnTo>
                    <a:lnTo>
                      <a:pt x="69" y="220"/>
                    </a:lnTo>
                    <a:lnTo>
                      <a:pt x="69" y="223"/>
                    </a:lnTo>
                    <a:lnTo>
                      <a:pt x="68" y="224"/>
                    </a:lnTo>
                    <a:lnTo>
                      <a:pt x="68" y="227"/>
                    </a:lnTo>
                    <a:lnTo>
                      <a:pt x="68" y="229"/>
                    </a:lnTo>
                    <a:lnTo>
                      <a:pt x="68" y="232"/>
                    </a:lnTo>
                    <a:lnTo>
                      <a:pt x="66" y="233"/>
                    </a:lnTo>
                    <a:lnTo>
                      <a:pt x="66" y="234"/>
                    </a:lnTo>
                    <a:lnTo>
                      <a:pt x="65" y="235"/>
                    </a:lnTo>
                    <a:lnTo>
                      <a:pt x="64" y="234"/>
                    </a:lnTo>
                    <a:lnTo>
                      <a:pt x="63" y="233"/>
                    </a:lnTo>
                    <a:lnTo>
                      <a:pt x="63" y="232"/>
                    </a:lnTo>
                    <a:lnTo>
                      <a:pt x="61" y="229"/>
                    </a:lnTo>
                    <a:lnTo>
                      <a:pt x="61" y="228"/>
                    </a:lnTo>
                    <a:lnTo>
                      <a:pt x="60" y="225"/>
                    </a:lnTo>
                    <a:lnTo>
                      <a:pt x="58" y="222"/>
                    </a:lnTo>
                    <a:lnTo>
                      <a:pt x="56" y="219"/>
                    </a:lnTo>
                    <a:lnTo>
                      <a:pt x="54" y="218"/>
                    </a:lnTo>
                    <a:lnTo>
                      <a:pt x="51" y="217"/>
                    </a:lnTo>
                    <a:lnTo>
                      <a:pt x="49" y="217"/>
                    </a:lnTo>
                    <a:lnTo>
                      <a:pt x="48" y="219"/>
                    </a:lnTo>
                    <a:lnTo>
                      <a:pt x="45" y="223"/>
                    </a:lnTo>
                    <a:lnTo>
                      <a:pt x="43" y="227"/>
                    </a:lnTo>
                    <a:lnTo>
                      <a:pt x="41" y="229"/>
                    </a:lnTo>
                    <a:lnTo>
                      <a:pt x="40" y="230"/>
                    </a:lnTo>
                    <a:lnTo>
                      <a:pt x="40" y="230"/>
                    </a:lnTo>
                    <a:lnTo>
                      <a:pt x="38" y="232"/>
                    </a:lnTo>
                    <a:lnTo>
                      <a:pt x="38" y="230"/>
                    </a:lnTo>
                    <a:lnTo>
                      <a:pt x="36" y="229"/>
                    </a:lnTo>
                    <a:lnTo>
                      <a:pt x="36" y="228"/>
                    </a:lnTo>
                    <a:lnTo>
                      <a:pt x="36" y="225"/>
                    </a:lnTo>
                    <a:lnTo>
                      <a:pt x="38" y="224"/>
                    </a:lnTo>
                    <a:lnTo>
                      <a:pt x="38" y="223"/>
                    </a:lnTo>
                    <a:lnTo>
                      <a:pt x="38" y="219"/>
                    </a:lnTo>
                    <a:lnTo>
                      <a:pt x="38" y="217"/>
                    </a:lnTo>
                    <a:lnTo>
                      <a:pt x="38" y="213"/>
                    </a:lnTo>
                    <a:lnTo>
                      <a:pt x="36" y="210"/>
                    </a:lnTo>
                    <a:lnTo>
                      <a:pt x="36" y="208"/>
                    </a:lnTo>
                    <a:lnTo>
                      <a:pt x="38" y="204"/>
                    </a:lnTo>
                    <a:lnTo>
                      <a:pt x="39" y="200"/>
                    </a:lnTo>
                    <a:lnTo>
                      <a:pt x="39" y="197"/>
                    </a:lnTo>
                    <a:lnTo>
                      <a:pt x="39" y="194"/>
                    </a:lnTo>
                    <a:lnTo>
                      <a:pt x="39" y="192"/>
                    </a:lnTo>
                    <a:lnTo>
                      <a:pt x="38" y="189"/>
                    </a:lnTo>
                    <a:lnTo>
                      <a:pt x="38" y="186"/>
                    </a:lnTo>
                    <a:lnTo>
                      <a:pt x="36" y="183"/>
                    </a:lnTo>
                    <a:lnTo>
                      <a:pt x="35" y="181"/>
                    </a:lnTo>
                    <a:lnTo>
                      <a:pt x="35" y="179"/>
                    </a:lnTo>
                    <a:lnTo>
                      <a:pt x="34" y="179"/>
                    </a:lnTo>
                    <a:lnTo>
                      <a:pt x="31" y="181"/>
                    </a:lnTo>
                    <a:lnTo>
                      <a:pt x="31" y="183"/>
                    </a:lnTo>
                    <a:lnTo>
                      <a:pt x="30" y="184"/>
                    </a:lnTo>
                    <a:lnTo>
                      <a:pt x="29" y="187"/>
                    </a:lnTo>
                    <a:lnTo>
                      <a:pt x="29" y="189"/>
                    </a:lnTo>
                    <a:lnTo>
                      <a:pt x="28" y="190"/>
                    </a:lnTo>
                    <a:lnTo>
                      <a:pt x="26" y="192"/>
                    </a:lnTo>
                    <a:lnTo>
                      <a:pt x="24" y="190"/>
                    </a:lnTo>
                    <a:lnTo>
                      <a:pt x="21" y="188"/>
                    </a:lnTo>
                    <a:lnTo>
                      <a:pt x="19" y="183"/>
                    </a:lnTo>
                    <a:lnTo>
                      <a:pt x="17" y="181"/>
                    </a:lnTo>
                    <a:lnTo>
                      <a:pt x="14" y="177"/>
                    </a:lnTo>
                    <a:lnTo>
                      <a:pt x="12" y="173"/>
                    </a:lnTo>
                    <a:lnTo>
                      <a:pt x="10" y="172"/>
                    </a:lnTo>
                    <a:lnTo>
                      <a:pt x="9" y="171"/>
                    </a:lnTo>
                    <a:lnTo>
                      <a:pt x="8" y="168"/>
                    </a:lnTo>
                    <a:lnTo>
                      <a:pt x="7" y="167"/>
                    </a:lnTo>
                    <a:lnTo>
                      <a:pt x="5" y="164"/>
                    </a:lnTo>
                    <a:lnTo>
                      <a:pt x="5" y="163"/>
                    </a:lnTo>
                    <a:lnTo>
                      <a:pt x="5" y="162"/>
                    </a:lnTo>
                    <a:lnTo>
                      <a:pt x="7" y="162"/>
                    </a:lnTo>
                    <a:lnTo>
                      <a:pt x="9" y="163"/>
                    </a:lnTo>
                    <a:lnTo>
                      <a:pt x="14" y="164"/>
                    </a:lnTo>
                    <a:lnTo>
                      <a:pt x="19" y="164"/>
                    </a:lnTo>
                    <a:lnTo>
                      <a:pt x="24" y="163"/>
                    </a:lnTo>
                    <a:lnTo>
                      <a:pt x="26" y="161"/>
                    </a:lnTo>
                    <a:lnTo>
                      <a:pt x="26" y="159"/>
                    </a:lnTo>
                    <a:lnTo>
                      <a:pt x="26" y="158"/>
                    </a:lnTo>
                    <a:lnTo>
                      <a:pt x="25" y="157"/>
                    </a:lnTo>
                    <a:lnTo>
                      <a:pt x="23" y="157"/>
                    </a:lnTo>
                    <a:lnTo>
                      <a:pt x="21" y="157"/>
                    </a:lnTo>
                    <a:lnTo>
                      <a:pt x="19" y="157"/>
                    </a:lnTo>
                    <a:lnTo>
                      <a:pt x="18" y="157"/>
                    </a:lnTo>
                    <a:lnTo>
                      <a:pt x="17" y="157"/>
                    </a:lnTo>
                    <a:lnTo>
                      <a:pt x="17" y="157"/>
                    </a:lnTo>
                    <a:lnTo>
                      <a:pt x="14" y="157"/>
                    </a:lnTo>
                    <a:lnTo>
                      <a:pt x="13" y="154"/>
                    </a:lnTo>
                    <a:lnTo>
                      <a:pt x="10" y="152"/>
                    </a:lnTo>
                    <a:lnTo>
                      <a:pt x="9" y="149"/>
                    </a:lnTo>
                    <a:lnTo>
                      <a:pt x="8" y="148"/>
                    </a:lnTo>
                    <a:lnTo>
                      <a:pt x="7" y="148"/>
                    </a:lnTo>
                    <a:lnTo>
                      <a:pt x="5" y="148"/>
                    </a:lnTo>
                    <a:lnTo>
                      <a:pt x="5" y="147"/>
                    </a:lnTo>
                    <a:lnTo>
                      <a:pt x="4" y="146"/>
                    </a:lnTo>
                    <a:lnTo>
                      <a:pt x="3" y="144"/>
                    </a:lnTo>
                    <a:lnTo>
                      <a:pt x="3" y="143"/>
                    </a:lnTo>
                    <a:lnTo>
                      <a:pt x="3" y="140"/>
                    </a:lnTo>
                    <a:lnTo>
                      <a:pt x="3" y="137"/>
                    </a:lnTo>
                    <a:lnTo>
                      <a:pt x="3" y="133"/>
                    </a:lnTo>
                    <a:lnTo>
                      <a:pt x="3" y="130"/>
                    </a:lnTo>
                    <a:lnTo>
                      <a:pt x="2" y="127"/>
                    </a:lnTo>
                    <a:lnTo>
                      <a:pt x="2" y="126"/>
                    </a:lnTo>
                    <a:lnTo>
                      <a:pt x="0" y="126"/>
                    </a:lnTo>
                    <a:lnTo>
                      <a:pt x="5" y="117"/>
                    </a:lnTo>
                    <a:lnTo>
                      <a:pt x="12" y="105"/>
                    </a:lnTo>
                    <a:lnTo>
                      <a:pt x="12" y="103"/>
                    </a:lnTo>
                    <a:lnTo>
                      <a:pt x="12" y="101"/>
                    </a:lnTo>
                    <a:lnTo>
                      <a:pt x="12" y="100"/>
                    </a:lnTo>
                    <a:lnTo>
                      <a:pt x="13" y="97"/>
                    </a:lnTo>
                    <a:lnTo>
                      <a:pt x="14" y="97"/>
                    </a:lnTo>
                    <a:lnTo>
                      <a:pt x="17" y="96"/>
                    </a:lnTo>
                    <a:lnTo>
                      <a:pt x="18" y="93"/>
                    </a:lnTo>
                    <a:lnTo>
                      <a:pt x="19" y="90"/>
                    </a:lnTo>
                    <a:lnTo>
                      <a:pt x="19" y="87"/>
                    </a:lnTo>
                    <a:lnTo>
                      <a:pt x="19" y="85"/>
                    </a:lnTo>
                    <a:lnTo>
                      <a:pt x="19" y="79"/>
                    </a:lnTo>
                    <a:lnTo>
                      <a:pt x="20" y="74"/>
                    </a:lnTo>
                    <a:lnTo>
                      <a:pt x="21" y="69"/>
                    </a:lnTo>
                    <a:lnTo>
                      <a:pt x="24" y="66"/>
                    </a:lnTo>
                    <a:lnTo>
                      <a:pt x="25" y="65"/>
                    </a:lnTo>
                    <a:lnTo>
                      <a:pt x="26" y="65"/>
                    </a:lnTo>
                    <a:lnTo>
                      <a:pt x="26" y="65"/>
                    </a:lnTo>
                    <a:lnTo>
                      <a:pt x="28" y="67"/>
                    </a:lnTo>
                    <a:lnTo>
                      <a:pt x="28" y="69"/>
                    </a:lnTo>
                    <a:lnTo>
                      <a:pt x="29" y="71"/>
                    </a:lnTo>
                    <a:lnTo>
                      <a:pt x="29" y="72"/>
                    </a:lnTo>
                    <a:lnTo>
                      <a:pt x="30" y="72"/>
                    </a:lnTo>
                    <a:lnTo>
                      <a:pt x="30" y="72"/>
                    </a:lnTo>
                    <a:lnTo>
                      <a:pt x="31" y="71"/>
                    </a:lnTo>
                    <a:lnTo>
                      <a:pt x="34" y="70"/>
                    </a:lnTo>
                    <a:lnTo>
                      <a:pt x="36" y="66"/>
                    </a:lnTo>
                    <a:lnTo>
                      <a:pt x="39" y="64"/>
                    </a:lnTo>
                    <a:lnTo>
                      <a:pt x="40" y="61"/>
                    </a:lnTo>
                    <a:lnTo>
                      <a:pt x="41" y="59"/>
                    </a:lnTo>
                    <a:lnTo>
                      <a:pt x="43" y="59"/>
                    </a:lnTo>
                    <a:lnTo>
                      <a:pt x="44" y="59"/>
                    </a:lnTo>
                    <a:lnTo>
                      <a:pt x="46" y="59"/>
                    </a:lnTo>
                    <a:lnTo>
                      <a:pt x="49" y="59"/>
                    </a:lnTo>
                    <a:lnTo>
                      <a:pt x="51" y="59"/>
                    </a:lnTo>
                    <a:lnTo>
                      <a:pt x="53" y="59"/>
                    </a:lnTo>
                    <a:lnTo>
                      <a:pt x="56" y="52"/>
                    </a:lnTo>
                    <a:lnTo>
                      <a:pt x="60" y="44"/>
                    </a:lnTo>
                    <a:lnTo>
                      <a:pt x="61" y="38"/>
                    </a:lnTo>
                    <a:lnTo>
                      <a:pt x="61" y="21"/>
                    </a:lnTo>
                    <a:lnTo>
                      <a:pt x="61" y="20"/>
                    </a:lnTo>
                    <a:lnTo>
                      <a:pt x="63" y="16"/>
                    </a:lnTo>
                    <a:lnTo>
                      <a:pt x="64" y="14"/>
                    </a:lnTo>
                    <a:lnTo>
                      <a:pt x="65" y="10"/>
                    </a:lnTo>
                    <a:lnTo>
                      <a:pt x="66" y="5"/>
                    </a:lnTo>
                    <a:lnTo>
                      <a:pt x="65" y="5"/>
                    </a:lnTo>
                    <a:lnTo>
                      <a:pt x="66" y="3"/>
                    </a:lnTo>
                    <a:lnTo>
                      <a:pt x="66" y="3"/>
                    </a:lnTo>
                    <a:lnTo>
                      <a:pt x="66" y="3"/>
                    </a:lnTo>
                    <a:lnTo>
                      <a:pt x="68" y="1"/>
                    </a:lnTo>
                    <a:lnTo>
                      <a:pt x="69"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95" name="Freeform 7"/>
              <p:cNvSpPr>
                <a:spLocks noEditPoints="1"/>
              </p:cNvSpPr>
              <p:nvPr/>
            </p:nvSpPr>
            <p:spPr bwMode="auto">
              <a:xfrm>
                <a:off x="5211" y="392"/>
                <a:ext cx="1012" cy="308"/>
              </a:xfrm>
              <a:custGeom>
                <a:avLst/>
                <a:gdLst>
                  <a:gd name="T0" fmla="*/ 150 w 3036"/>
                  <a:gd name="T1" fmla="*/ 332 h 923"/>
                  <a:gd name="T2" fmla="*/ 226 w 3036"/>
                  <a:gd name="T3" fmla="*/ 296 h 923"/>
                  <a:gd name="T4" fmla="*/ 2110 w 3036"/>
                  <a:gd name="T5" fmla="*/ 176 h 923"/>
                  <a:gd name="T6" fmla="*/ 2158 w 3036"/>
                  <a:gd name="T7" fmla="*/ 163 h 923"/>
                  <a:gd name="T8" fmla="*/ 2208 w 3036"/>
                  <a:gd name="T9" fmla="*/ 220 h 923"/>
                  <a:gd name="T10" fmla="*/ 2104 w 3036"/>
                  <a:gd name="T11" fmla="*/ 263 h 923"/>
                  <a:gd name="T12" fmla="*/ 2091 w 3036"/>
                  <a:gd name="T13" fmla="*/ 199 h 923"/>
                  <a:gd name="T14" fmla="*/ 2073 w 3036"/>
                  <a:gd name="T15" fmla="*/ 151 h 923"/>
                  <a:gd name="T16" fmla="*/ 929 w 3036"/>
                  <a:gd name="T17" fmla="*/ 155 h 923"/>
                  <a:gd name="T18" fmla="*/ 814 w 3036"/>
                  <a:gd name="T19" fmla="*/ 205 h 923"/>
                  <a:gd name="T20" fmla="*/ 805 w 3036"/>
                  <a:gd name="T21" fmla="*/ 94 h 923"/>
                  <a:gd name="T22" fmla="*/ 44 w 3036"/>
                  <a:gd name="T23" fmla="*/ 102 h 923"/>
                  <a:gd name="T24" fmla="*/ 86 w 3036"/>
                  <a:gd name="T25" fmla="*/ 145 h 923"/>
                  <a:gd name="T26" fmla="*/ 90 w 3036"/>
                  <a:gd name="T27" fmla="*/ 80 h 923"/>
                  <a:gd name="T28" fmla="*/ 2678 w 3036"/>
                  <a:gd name="T29" fmla="*/ 792 h 923"/>
                  <a:gd name="T30" fmla="*/ 2528 w 3036"/>
                  <a:gd name="T31" fmla="*/ 906 h 923"/>
                  <a:gd name="T32" fmla="*/ 2489 w 3036"/>
                  <a:gd name="T33" fmla="*/ 878 h 923"/>
                  <a:gd name="T34" fmla="*/ 2363 w 3036"/>
                  <a:gd name="T35" fmla="*/ 840 h 923"/>
                  <a:gd name="T36" fmla="*/ 2367 w 3036"/>
                  <a:gd name="T37" fmla="*/ 770 h 923"/>
                  <a:gd name="T38" fmla="*/ 2407 w 3036"/>
                  <a:gd name="T39" fmla="*/ 718 h 923"/>
                  <a:gd name="T40" fmla="*/ 2451 w 3036"/>
                  <a:gd name="T41" fmla="*/ 652 h 923"/>
                  <a:gd name="T42" fmla="*/ 2475 w 3036"/>
                  <a:gd name="T43" fmla="*/ 530 h 923"/>
                  <a:gd name="T44" fmla="*/ 2503 w 3036"/>
                  <a:gd name="T45" fmla="*/ 625 h 923"/>
                  <a:gd name="T46" fmla="*/ 2534 w 3036"/>
                  <a:gd name="T47" fmla="*/ 618 h 923"/>
                  <a:gd name="T48" fmla="*/ 2569 w 3036"/>
                  <a:gd name="T49" fmla="*/ 536 h 923"/>
                  <a:gd name="T50" fmla="*/ 2574 w 3036"/>
                  <a:gd name="T51" fmla="*/ 489 h 923"/>
                  <a:gd name="T52" fmla="*/ 2626 w 3036"/>
                  <a:gd name="T53" fmla="*/ 468 h 923"/>
                  <a:gd name="T54" fmla="*/ 2578 w 3036"/>
                  <a:gd name="T55" fmla="*/ 467 h 923"/>
                  <a:gd name="T56" fmla="*/ 2565 w 3036"/>
                  <a:gd name="T57" fmla="*/ 347 h 923"/>
                  <a:gd name="T58" fmla="*/ 2550 w 3036"/>
                  <a:gd name="T59" fmla="*/ 296 h 923"/>
                  <a:gd name="T60" fmla="*/ 2543 w 3036"/>
                  <a:gd name="T61" fmla="*/ 462 h 923"/>
                  <a:gd name="T62" fmla="*/ 2505 w 3036"/>
                  <a:gd name="T63" fmla="*/ 591 h 923"/>
                  <a:gd name="T64" fmla="*/ 2492 w 3036"/>
                  <a:gd name="T65" fmla="*/ 515 h 923"/>
                  <a:gd name="T66" fmla="*/ 2478 w 3036"/>
                  <a:gd name="T67" fmla="*/ 477 h 923"/>
                  <a:gd name="T68" fmla="*/ 2422 w 3036"/>
                  <a:gd name="T69" fmla="*/ 433 h 923"/>
                  <a:gd name="T70" fmla="*/ 2454 w 3036"/>
                  <a:gd name="T71" fmla="*/ 316 h 923"/>
                  <a:gd name="T72" fmla="*/ 2482 w 3036"/>
                  <a:gd name="T73" fmla="*/ 196 h 923"/>
                  <a:gd name="T74" fmla="*/ 2494 w 3036"/>
                  <a:gd name="T75" fmla="*/ 136 h 923"/>
                  <a:gd name="T76" fmla="*/ 2502 w 3036"/>
                  <a:gd name="T77" fmla="*/ 95 h 923"/>
                  <a:gd name="T78" fmla="*/ 2527 w 3036"/>
                  <a:gd name="T79" fmla="*/ 92 h 923"/>
                  <a:gd name="T80" fmla="*/ 2548 w 3036"/>
                  <a:gd name="T81" fmla="*/ 65 h 923"/>
                  <a:gd name="T82" fmla="*/ 2584 w 3036"/>
                  <a:gd name="T83" fmla="*/ 91 h 923"/>
                  <a:gd name="T84" fmla="*/ 2612 w 3036"/>
                  <a:gd name="T85" fmla="*/ 145 h 923"/>
                  <a:gd name="T86" fmla="*/ 2677 w 3036"/>
                  <a:gd name="T87" fmla="*/ 275 h 923"/>
                  <a:gd name="T88" fmla="*/ 2637 w 3036"/>
                  <a:gd name="T89" fmla="*/ 264 h 923"/>
                  <a:gd name="T90" fmla="*/ 2659 w 3036"/>
                  <a:gd name="T91" fmla="*/ 316 h 923"/>
                  <a:gd name="T92" fmla="*/ 2690 w 3036"/>
                  <a:gd name="T93" fmla="*/ 274 h 923"/>
                  <a:gd name="T94" fmla="*/ 2703 w 3036"/>
                  <a:gd name="T95" fmla="*/ 207 h 923"/>
                  <a:gd name="T96" fmla="*/ 2745 w 3036"/>
                  <a:gd name="T97" fmla="*/ 214 h 923"/>
                  <a:gd name="T98" fmla="*/ 2782 w 3036"/>
                  <a:gd name="T99" fmla="*/ 204 h 923"/>
                  <a:gd name="T100" fmla="*/ 2777 w 3036"/>
                  <a:gd name="T101" fmla="*/ 167 h 923"/>
                  <a:gd name="T102" fmla="*/ 2842 w 3036"/>
                  <a:gd name="T103" fmla="*/ 229 h 923"/>
                  <a:gd name="T104" fmla="*/ 2819 w 3036"/>
                  <a:gd name="T105" fmla="*/ 135 h 923"/>
                  <a:gd name="T106" fmla="*/ 2857 w 3036"/>
                  <a:gd name="T107" fmla="*/ 169 h 923"/>
                  <a:gd name="T108" fmla="*/ 2863 w 3036"/>
                  <a:gd name="T109" fmla="*/ 312 h 923"/>
                  <a:gd name="T110" fmla="*/ 2900 w 3036"/>
                  <a:gd name="T111" fmla="*/ 281 h 923"/>
                  <a:gd name="T112" fmla="*/ 2864 w 3036"/>
                  <a:gd name="T113" fmla="*/ 176 h 923"/>
                  <a:gd name="T114" fmla="*/ 2864 w 3036"/>
                  <a:gd name="T115" fmla="*/ 133 h 923"/>
                  <a:gd name="T116" fmla="*/ 2878 w 3036"/>
                  <a:gd name="T117" fmla="*/ 138 h 923"/>
                  <a:gd name="T118" fmla="*/ 2910 w 3036"/>
                  <a:gd name="T119" fmla="*/ 157 h 923"/>
                  <a:gd name="T120" fmla="*/ 2892 w 3036"/>
                  <a:gd name="T121" fmla="*/ 111 h 923"/>
                  <a:gd name="T122" fmla="*/ 2923 w 3036"/>
                  <a:gd name="T123" fmla="*/ 14 h 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6" h="923">
                    <a:moveTo>
                      <a:pt x="283" y="248"/>
                    </a:moveTo>
                    <a:lnTo>
                      <a:pt x="277" y="248"/>
                    </a:lnTo>
                    <a:lnTo>
                      <a:pt x="269" y="249"/>
                    </a:lnTo>
                    <a:lnTo>
                      <a:pt x="262" y="253"/>
                    </a:lnTo>
                    <a:lnTo>
                      <a:pt x="254" y="255"/>
                    </a:lnTo>
                    <a:lnTo>
                      <a:pt x="252" y="258"/>
                    </a:lnTo>
                    <a:lnTo>
                      <a:pt x="242" y="261"/>
                    </a:lnTo>
                    <a:lnTo>
                      <a:pt x="234" y="266"/>
                    </a:lnTo>
                    <a:lnTo>
                      <a:pt x="228" y="275"/>
                    </a:lnTo>
                    <a:lnTo>
                      <a:pt x="223" y="281"/>
                    </a:lnTo>
                    <a:lnTo>
                      <a:pt x="216" y="288"/>
                    </a:lnTo>
                    <a:lnTo>
                      <a:pt x="208" y="293"/>
                    </a:lnTo>
                    <a:lnTo>
                      <a:pt x="202" y="294"/>
                    </a:lnTo>
                    <a:lnTo>
                      <a:pt x="198" y="293"/>
                    </a:lnTo>
                    <a:lnTo>
                      <a:pt x="196" y="289"/>
                    </a:lnTo>
                    <a:lnTo>
                      <a:pt x="193" y="286"/>
                    </a:lnTo>
                    <a:lnTo>
                      <a:pt x="191" y="283"/>
                    </a:lnTo>
                    <a:lnTo>
                      <a:pt x="188" y="279"/>
                    </a:lnTo>
                    <a:lnTo>
                      <a:pt x="186" y="275"/>
                    </a:lnTo>
                    <a:lnTo>
                      <a:pt x="183" y="274"/>
                    </a:lnTo>
                    <a:lnTo>
                      <a:pt x="182" y="274"/>
                    </a:lnTo>
                    <a:lnTo>
                      <a:pt x="180" y="274"/>
                    </a:lnTo>
                    <a:lnTo>
                      <a:pt x="177" y="275"/>
                    </a:lnTo>
                    <a:lnTo>
                      <a:pt x="176" y="276"/>
                    </a:lnTo>
                    <a:lnTo>
                      <a:pt x="175" y="279"/>
                    </a:lnTo>
                    <a:lnTo>
                      <a:pt x="175" y="283"/>
                    </a:lnTo>
                    <a:lnTo>
                      <a:pt x="176" y="286"/>
                    </a:lnTo>
                    <a:lnTo>
                      <a:pt x="177" y="290"/>
                    </a:lnTo>
                    <a:lnTo>
                      <a:pt x="178" y="293"/>
                    </a:lnTo>
                    <a:lnTo>
                      <a:pt x="178" y="295"/>
                    </a:lnTo>
                    <a:lnTo>
                      <a:pt x="176" y="298"/>
                    </a:lnTo>
                    <a:lnTo>
                      <a:pt x="173" y="301"/>
                    </a:lnTo>
                    <a:lnTo>
                      <a:pt x="171" y="305"/>
                    </a:lnTo>
                    <a:lnTo>
                      <a:pt x="167" y="310"/>
                    </a:lnTo>
                    <a:lnTo>
                      <a:pt x="162" y="315"/>
                    </a:lnTo>
                    <a:lnTo>
                      <a:pt x="157" y="320"/>
                    </a:lnTo>
                    <a:lnTo>
                      <a:pt x="155" y="324"/>
                    </a:lnTo>
                    <a:lnTo>
                      <a:pt x="152" y="329"/>
                    </a:lnTo>
                    <a:lnTo>
                      <a:pt x="150" y="332"/>
                    </a:lnTo>
                    <a:lnTo>
                      <a:pt x="147" y="336"/>
                    </a:lnTo>
                    <a:lnTo>
                      <a:pt x="137" y="339"/>
                    </a:lnTo>
                    <a:lnTo>
                      <a:pt x="127" y="336"/>
                    </a:lnTo>
                    <a:lnTo>
                      <a:pt x="119" y="331"/>
                    </a:lnTo>
                    <a:lnTo>
                      <a:pt x="110" y="329"/>
                    </a:lnTo>
                    <a:lnTo>
                      <a:pt x="109" y="329"/>
                    </a:lnTo>
                    <a:lnTo>
                      <a:pt x="107" y="329"/>
                    </a:lnTo>
                    <a:lnTo>
                      <a:pt x="105" y="327"/>
                    </a:lnTo>
                    <a:lnTo>
                      <a:pt x="101" y="327"/>
                    </a:lnTo>
                    <a:lnTo>
                      <a:pt x="99" y="327"/>
                    </a:lnTo>
                    <a:lnTo>
                      <a:pt x="96" y="327"/>
                    </a:lnTo>
                    <a:lnTo>
                      <a:pt x="94" y="329"/>
                    </a:lnTo>
                    <a:lnTo>
                      <a:pt x="92" y="329"/>
                    </a:lnTo>
                    <a:lnTo>
                      <a:pt x="92" y="330"/>
                    </a:lnTo>
                    <a:lnTo>
                      <a:pt x="92" y="331"/>
                    </a:lnTo>
                    <a:lnTo>
                      <a:pt x="95" y="334"/>
                    </a:lnTo>
                    <a:lnTo>
                      <a:pt x="97" y="335"/>
                    </a:lnTo>
                    <a:lnTo>
                      <a:pt x="100" y="336"/>
                    </a:lnTo>
                    <a:lnTo>
                      <a:pt x="102" y="335"/>
                    </a:lnTo>
                    <a:lnTo>
                      <a:pt x="105" y="335"/>
                    </a:lnTo>
                    <a:lnTo>
                      <a:pt x="107" y="334"/>
                    </a:lnTo>
                    <a:lnTo>
                      <a:pt x="110" y="334"/>
                    </a:lnTo>
                    <a:lnTo>
                      <a:pt x="114" y="334"/>
                    </a:lnTo>
                    <a:lnTo>
                      <a:pt x="117" y="334"/>
                    </a:lnTo>
                    <a:lnTo>
                      <a:pt x="120" y="335"/>
                    </a:lnTo>
                    <a:lnTo>
                      <a:pt x="123" y="336"/>
                    </a:lnTo>
                    <a:lnTo>
                      <a:pt x="133" y="342"/>
                    </a:lnTo>
                    <a:lnTo>
                      <a:pt x="143" y="346"/>
                    </a:lnTo>
                    <a:lnTo>
                      <a:pt x="155" y="346"/>
                    </a:lnTo>
                    <a:lnTo>
                      <a:pt x="166" y="345"/>
                    </a:lnTo>
                    <a:lnTo>
                      <a:pt x="176" y="339"/>
                    </a:lnTo>
                    <a:lnTo>
                      <a:pt x="186" y="334"/>
                    </a:lnTo>
                    <a:lnTo>
                      <a:pt x="202" y="322"/>
                    </a:lnTo>
                    <a:lnTo>
                      <a:pt x="217" y="310"/>
                    </a:lnTo>
                    <a:lnTo>
                      <a:pt x="221" y="309"/>
                    </a:lnTo>
                    <a:lnTo>
                      <a:pt x="222" y="306"/>
                    </a:lnTo>
                    <a:lnTo>
                      <a:pt x="224" y="304"/>
                    </a:lnTo>
                    <a:lnTo>
                      <a:pt x="224" y="301"/>
                    </a:lnTo>
                    <a:lnTo>
                      <a:pt x="226" y="296"/>
                    </a:lnTo>
                    <a:lnTo>
                      <a:pt x="226" y="295"/>
                    </a:lnTo>
                    <a:lnTo>
                      <a:pt x="227" y="293"/>
                    </a:lnTo>
                    <a:lnTo>
                      <a:pt x="229" y="291"/>
                    </a:lnTo>
                    <a:lnTo>
                      <a:pt x="232" y="291"/>
                    </a:lnTo>
                    <a:lnTo>
                      <a:pt x="234" y="290"/>
                    </a:lnTo>
                    <a:lnTo>
                      <a:pt x="236" y="289"/>
                    </a:lnTo>
                    <a:lnTo>
                      <a:pt x="241" y="284"/>
                    </a:lnTo>
                    <a:lnTo>
                      <a:pt x="244" y="279"/>
                    </a:lnTo>
                    <a:lnTo>
                      <a:pt x="249" y="273"/>
                    </a:lnTo>
                    <a:lnTo>
                      <a:pt x="264" y="265"/>
                    </a:lnTo>
                    <a:lnTo>
                      <a:pt x="273" y="263"/>
                    </a:lnTo>
                    <a:lnTo>
                      <a:pt x="282" y="258"/>
                    </a:lnTo>
                    <a:lnTo>
                      <a:pt x="285" y="249"/>
                    </a:lnTo>
                    <a:lnTo>
                      <a:pt x="283" y="248"/>
                    </a:lnTo>
                    <a:close/>
                    <a:moveTo>
                      <a:pt x="2079" y="137"/>
                    </a:moveTo>
                    <a:lnTo>
                      <a:pt x="2081" y="138"/>
                    </a:lnTo>
                    <a:lnTo>
                      <a:pt x="2083" y="140"/>
                    </a:lnTo>
                    <a:lnTo>
                      <a:pt x="2086" y="141"/>
                    </a:lnTo>
                    <a:lnTo>
                      <a:pt x="2089" y="143"/>
                    </a:lnTo>
                    <a:lnTo>
                      <a:pt x="2092" y="146"/>
                    </a:lnTo>
                    <a:lnTo>
                      <a:pt x="2094" y="148"/>
                    </a:lnTo>
                    <a:lnTo>
                      <a:pt x="2097" y="151"/>
                    </a:lnTo>
                    <a:lnTo>
                      <a:pt x="2098" y="153"/>
                    </a:lnTo>
                    <a:lnTo>
                      <a:pt x="2099" y="158"/>
                    </a:lnTo>
                    <a:lnTo>
                      <a:pt x="2100" y="161"/>
                    </a:lnTo>
                    <a:lnTo>
                      <a:pt x="2102" y="162"/>
                    </a:lnTo>
                    <a:lnTo>
                      <a:pt x="2104" y="164"/>
                    </a:lnTo>
                    <a:lnTo>
                      <a:pt x="2105" y="167"/>
                    </a:lnTo>
                    <a:lnTo>
                      <a:pt x="2105" y="168"/>
                    </a:lnTo>
                    <a:lnTo>
                      <a:pt x="2104" y="171"/>
                    </a:lnTo>
                    <a:lnTo>
                      <a:pt x="2104" y="173"/>
                    </a:lnTo>
                    <a:lnTo>
                      <a:pt x="2103" y="174"/>
                    </a:lnTo>
                    <a:lnTo>
                      <a:pt x="2103" y="174"/>
                    </a:lnTo>
                    <a:lnTo>
                      <a:pt x="2104" y="177"/>
                    </a:lnTo>
                    <a:lnTo>
                      <a:pt x="2105" y="178"/>
                    </a:lnTo>
                    <a:lnTo>
                      <a:pt x="2107" y="179"/>
                    </a:lnTo>
                    <a:lnTo>
                      <a:pt x="2109" y="178"/>
                    </a:lnTo>
                    <a:lnTo>
                      <a:pt x="2110" y="177"/>
                    </a:lnTo>
                    <a:lnTo>
                      <a:pt x="2110" y="176"/>
                    </a:lnTo>
                    <a:lnTo>
                      <a:pt x="2110" y="174"/>
                    </a:lnTo>
                    <a:lnTo>
                      <a:pt x="2110" y="173"/>
                    </a:lnTo>
                    <a:lnTo>
                      <a:pt x="2112" y="169"/>
                    </a:lnTo>
                    <a:lnTo>
                      <a:pt x="2112" y="167"/>
                    </a:lnTo>
                    <a:lnTo>
                      <a:pt x="2112" y="163"/>
                    </a:lnTo>
                    <a:lnTo>
                      <a:pt x="2113" y="161"/>
                    </a:lnTo>
                    <a:lnTo>
                      <a:pt x="2114" y="159"/>
                    </a:lnTo>
                    <a:lnTo>
                      <a:pt x="2114" y="159"/>
                    </a:lnTo>
                    <a:lnTo>
                      <a:pt x="2115" y="161"/>
                    </a:lnTo>
                    <a:lnTo>
                      <a:pt x="2117" y="163"/>
                    </a:lnTo>
                    <a:lnTo>
                      <a:pt x="2119" y="166"/>
                    </a:lnTo>
                    <a:lnTo>
                      <a:pt x="2120" y="168"/>
                    </a:lnTo>
                    <a:lnTo>
                      <a:pt x="2122" y="171"/>
                    </a:lnTo>
                    <a:lnTo>
                      <a:pt x="2123" y="172"/>
                    </a:lnTo>
                    <a:lnTo>
                      <a:pt x="2124" y="172"/>
                    </a:lnTo>
                    <a:lnTo>
                      <a:pt x="2124" y="172"/>
                    </a:lnTo>
                    <a:lnTo>
                      <a:pt x="2124" y="169"/>
                    </a:lnTo>
                    <a:lnTo>
                      <a:pt x="2124" y="167"/>
                    </a:lnTo>
                    <a:lnTo>
                      <a:pt x="2124" y="164"/>
                    </a:lnTo>
                    <a:lnTo>
                      <a:pt x="2124" y="162"/>
                    </a:lnTo>
                    <a:lnTo>
                      <a:pt x="2124" y="159"/>
                    </a:lnTo>
                    <a:lnTo>
                      <a:pt x="2124" y="158"/>
                    </a:lnTo>
                    <a:lnTo>
                      <a:pt x="2125" y="157"/>
                    </a:lnTo>
                    <a:lnTo>
                      <a:pt x="2128" y="156"/>
                    </a:lnTo>
                    <a:lnTo>
                      <a:pt x="2129" y="156"/>
                    </a:lnTo>
                    <a:lnTo>
                      <a:pt x="2132" y="157"/>
                    </a:lnTo>
                    <a:lnTo>
                      <a:pt x="2133" y="158"/>
                    </a:lnTo>
                    <a:lnTo>
                      <a:pt x="2134" y="161"/>
                    </a:lnTo>
                    <a:lnTo>
                      <a:pt x="2135" y="163"/>
                    </a:lnTo>
                    <a:lnTo>
                      <a:pt x="2137" y="166"/>
                    </a:lnTo>
                    <a:lnTo>
                      <a:pt x="2138" y="167"/>
                    </a:lnTo>
                    <a:lnTo>
                      <a:pt x="2142" y="166"/>
                    </a:lnTo>
                    <a:lnTo>
                      <a:pt x="2144" y="164"/>
                    </a:lnTo>
                    <a:lnTo>
                      <a:pt x="2145" y="163"/>
                    </a:lnTo>
                    <a:lnTo>
                      <a:pt x="2148" y="162"/>
                    </a:lnTo>
                    <a:lnTo>
                      <a:pt x="2149" y="162"/>
                    </a:lnTo>
                    <a:lnTo>
                      <a:pt x="2152" y="162"/>
                    </a:lnTo>
                    <a:lnTo>
                      <a:pt x="2154" y="163"/>
                    </a:lnTo>
                    <a:lnTo>
                      <a:pt x="2158" y="163"/>
                    </a:lnTo>
                    <a:lnTo>
                      <a:pt x="2160" y="164"/>
                    </a:lnTo>
                    <a:lnTo>
                      <a:pt x="2162" y="162"/>
                    </a:lnTo>
                    <a:lnTo>
                      <a:pt x="2162" y="159"/>
                    </a:lnTo>
                    <a:lnTo>
                      <a:pt x="2163" y="156"/>
                    </a:lnTo>
                    <a:lnTo>
                      <a:pt x="2164" y="153"/>
                    </a:lnTo>
                    <a:lnTo>
                      <a:pt x="2165" y="151"/>
                    </a:lnTo>
                    <a:lnTo>
                      <a:pt x="2168" y="152"/>
                    </a:lnTo>
                    <a:lnTo>
                      <a:pt x="2170" y="153"/>
                    </a:lnTo>
                    <a:lnTo>
                      <a:pt x="2173" y="156"/>
                    </a:lnTo>
                    <a:lnTo>
                      <a:pt x="2175" y="159"/>
                    </a:lnTo>
                    <a:lnTo>
                      <a:pt x="2176" y="162"/>
                    </a:lnTo>
                    <a:lnTo>
                      <a:pt x="2178" y="163"/>
                    </a:lnTo>
                    <a:lnTo>
                      <a:pt x="2179" y="164"/>
                    </a:lnTo>
                    <a:lnTo>
                      <a:pt x="2180" y="163"/>
                    </a:lnTo>
                    <a:lnTo>
                      <a:pt x="2183" y="163"/>
                    </a:lnTo>
                    <a:lnTo>
                      <a:pt x="2184" y="162"/>
                    </a:lnTo>
                    <a:lnTo>
                      <a:pt x="2186" y="161"/>
                    </a:lnTo>
                    <a:lnTo>
                      <a:pt x="2186" y="161"/>
                    </a:lnTo>
                    <a:lnTo>
                      <a:pt x="2188" y="161"/>
                    </a:lnTo>
                    <a:lnTo>
                      <a:pt x="2188" y="162"/>
                    </a:lnTo>
                    <a:lnTo>
                      <a:pt x="2188" y="164"/>
                    </a:lnTo>
                    <a:lnTo>
                      <a:pt x="2188" y="167"/>
                    </a:lnTo>
                    <a:lnTo>
                      <a:pt x="2186" y="168"/>
                    </a:lnTo>
                    <a:lnTo>
                      <a:pt x="2186" y="169"/>
                    </a:lnTo>
                    <a:lnTo>
                      <a:pt x="2185" y="169"/>
                    </a:lnTo>
                    <a:lnTo>
                      <a:pt x="2185" y="172"/>
                    </a:lnTo>
                    <a:lnTo>
                      <a:pt x="2185" y="174"/>
                    </a:lnTo>
                    <a:lnTo>
                      <a:pt x="2185" y="177"/>
                    </a:lnTo>
                    <a:lnTo>
                      <a:pt x="2186" y="179"/>
                    </a:lnTo>
                    <a:lnTo>
                      <a:pt x="2191" y="187"/>
                    </a:lnTo>
                    <a:lnTo>
                      <a:pt x="2196" y="193"/>
                    </a:lnTo>
                    <a:lnTo>
                      <a:pt x="2200" y="201"/>
                    </a:lnTo>
                    <a:lnTo>
                      <a:pt x="2203" y="203"/>
                    </a:lnTo>
                    <a:lnTo>
                      <a:pt x="2204" y="205"/>
                    </a:lnTo>
                    <a:lnTo>
                      <a:pt x="2205" y="208"/>
                    </a:lnTo>
                    <a:lnTo>
                      <a:pt x="2208" y="210"/>
                    </a:lnTo>
                    <a:lnTo>
                      <a:pt x="2208" y="213"/>
                    </a:lnTo>
                    <a:lnTo>
                      <a:pt x="2209" y="217"/>
                    </a:lnTo>
                    <a:lnTo>
                      <a:pt x="2208" y="220"/>
                    </a:lnTo>
                    <a:lnTo>
                      <a:pt x="2206" y="223"/>
                    </a:lnTo>
                    <a:lnTo>
                      <a:pt x="2205" y="227"/>
                    </a:lnTo>
                    <a:lnTo>
                      <a:pt x="2203" y="229"/>
                    </a:lnTo>
                    <a:lnTo>
                      <a:pt x="2203" y="232"/>
                    </a:lnTo>
                    <a:lnTo>
                      <a:pt x="2203" y="234"/>
                    </a:lnTo>
                    <a:lnTo>
                      <a:pt x="2203" y="238"/>
                    </a:lnTo>
                    <a:lnTo>
                      <a:pt x="2201" y="240"/>
                    </a:lnTo>
                    <a:lnTo>
                      <a:pt x="2200" y="243"/>
                    </a:lnTo>
                    <a:lnTo>
                      <a:pt x="2199" y="245"/>
                    </a:lnTo>
                    <a:lnTo>
                      <a:pt x="2196" y="247"/>
                    </a:lnTo>
                    <a:lnTo>
                      <a:pt x="2193" y="248"/>
                    </a:lnTo>
                    <a:lnTo>
                      <a:pt x="2190" y="248"/>
                    </a:lnTo>
                    <a:lnTo>
                      <a:pt x="2186" y="248"/>
                    </a:lnTo>
                    <a:lnTo>
                      <a:pt x="2185" y="250"/>
                    </a:lnTo>
                    <a:lnTo>
                      <a:pt x="2184" y="253"/>
                    </a:lnTo>
                    <a:lnTo>
                      <a:pt x="2181" y="255"/>
                    </a:lnTo>
                    <a:lnTo>
                      <a:pt x="2179" y="256"/>
                    </a:lnTo>
                    <a:lnTo>
                      <a:pt x="2176" y="259"/>
                    </a:lnTo>
                    <a:lnTo>
                      <a:pt x="2173" y="261"/>
                    </a:lnTo>
                    <a:lnTo>
                      <a:pt x="2170" y="263"/>
                    </a:lnTo>
                    <a:lnTo>
                      <a:pt x="2168" y="263"/>
                    </a:lnTo>
                    <a:lnTo>
                      <a:pt x="2164" y="264"/>
                    </a:lnTo>
                    <a:lnTo>
                      <a:pt x="2162" y="265"/>
                    </a:lnTo>
                    <a:lnTo>
                      <a:pt x="2159" y="268"/>
                    </a:lnTo>
                    <a:lnTo>
                      <a:pt x="2157" y="271"/>
                    </a:lnTo>
                    <a:lnTo>
                      <a:pt x="2155" y="279"/>
                    </a:lnTo>
                    <a:lnTo>
                      <a:pt x="2152" y="283"/>
                    </a:lnTo>
                    <a:lnTo>
                      <a:pt x="2147" y="284"/>
                    </a:lnTo>
                    <a:lnTo>
                      <a:pt x="2139" y="280"/>
                    </a:lnTo>
                    <a:lnTo>
                      <a:pt x="2133" y="274"/>
                    </a:lnTo>
                    <a:lnTo>
                      <a:pt x="2130" y="271"/>
                    </a:lnTo>
                    <a:lnTo>
                      <a:pt x="2128" y="268"/>
                    </a:lnTo>
                    <a:lnTo>
                      <a:pt x="2125" y="265"/>
                    </a:lnTo>
                    <a:lnTo>
                      <a:pt x="2123" y="263"/>
                    </a:lnTo>
                    <a:lnTo>
                      <a:pt x="2120" y="260"/>
                    </a:lnTo>
                    <a:lnTo>
                      <a:pt x="2117" y="258"/>
                    </a:lnTo>
                    <a:lnTo>
                      <a:pt x="2113" y="259"/>
                    </a:lnTo>
                    <a:lnTo>
                      <a:pt x="2108" y="261"/>
                    </a:lnTo>
                    <a:lnTo>
                      <a:pt x="2104" y="263"/>
                    </a:lnTo>
                    <a:lnTo>
                      <a:pt x="2100" y="264"/>
                    </a:lnTo>
                    <a:lnTo>
                      <a:pt x="2098" y="261"/>
                    </a:lnTo>
                    <a:lnTo>
                      <a:pt x="2095" y="260"/>
                    </a:lnTo>
                    <a:lnTo>
                      <a:pt x="2092" y="258"/>
                    </a:lnTo>
                    <a:lnTo>
                      <a:pt x="2089" y="255"/>
                    </a:lnTo>
                    <a:lnTo>
                      <a:pt x="2088" y="252"/>
                    </a:lnTo>
                    <a:lnTo>
                      <a:pt x="2087" y="248"/>
                    </a:lnTo>
                    <a:lnTo>
                      <a:pt x="2086" y="244"/>
                    </a:lnTo>
                    <a:lnTo>
                      <a:pt x="2086" y="240"/>
                    </a:lnTo>
                    <a:lnTo>
                      <a:pt x="2087" y="238"/>
                    </a:lnTo>
                    <a:lnTo>
                      <a:pt x="2089" y="238"/>
                    </a:lnTo>
                    <a:lnTo>
                      <a:pt x="2092" y="237"/>
                    </a:lnTo>
                    <a:lnTo>
                      <a:pt x="2093" y="237"/>
                    </a:lnTo>
                    <a:lnTo>
                      <a:pt x="2095" y="238"/>
                    </a:lnTo>
                    <a:lnTo>
                      <a:pt x="2097" y="238"/>
                    </a:lnTo>
                    <a:lnTo>
                      <a:pt x="2098" y="238"/>
                    </a:lnTo>
                    <a:lnTo>
                      <a:pt x="2099" y="238"/>
                    </a:lnTo>
                    <a:lnTo>
                      <a:pt x="2100" y="237"/>
                    </a:lnTo>
                    <a:lnTo>
                      <a:pt x="2100" y="235"/>
                    </a:lnTo>
                    <a:lnTo>
                      <a:pt x="2099" y="230"/>
                    </a:lnTo>
                    <a:lnTo>
                      <a:pt x="2098" y="227"/>
                    </a:lnTo>
                    <a:lnTo>
                      <a:pt x="2095" y="223"/>
                    </a:lnTo>
                    <a:lnTo>
                      <a:pt x="2093" y="220"/>
                    </a:lnTo>
                    <a:lnTo>
                      <a:pt x="2089" y="219"/>
                    </a:lnTo>
                    <a:lnTo>
                      <a:pt x="2084" y="217"/>
                    </a:lnTo>
                    <a:lnTo>
                      <a:pt x="2078" y="217"/>
                    </a:lnTo>
                    <a:lnTo>
                      <a:pt x="2073" y="217"/>
                    </a:lnTo>
                    <a:lnTo>
                      <a:pt x="2069" y="214"/>
                    </a:lnTo>
                    <a:lnTo>
                      <a:pt x="2067" y="210"/>
                    </a:lnTo>
                    <a:lnTo>
                      <a:pt x="2067" y="207"/>
                    </a:lnTo>
                    <a:lnTo>
                      <a:pt x="2068" y="203"/>
                    </a:lnTo>
                    <a:lnTo>
                      <a:pt x="2071" y="202"/>
                    </a:lnTo>
                    <a:lnTo>
                      <a:pt x="2072" y="201"/>
                    </a:lnTo>
                    <a:lnTo>
                      <a:pt x="2074" y="201"/>
                    </a:lnTo>
                    <a:lnTo>
                      <a:pt x="2077" y="201"/>
                    </a:lnTo>
                    <a:lnTo>
                      <a:pt x="2081" y="201"/>
                    </a:lnTo>
                    <a:lnTo>
                      <a:pt x="2084" y="201"/>
                    </a:lnTo>
                    <a:lnTo>
                      <a:pt x="2087" y="201"/>
                    </a:lnTo>
                    <a:lnTo>
                      <a:pt x="2091" y="199"/>
                    </a:lnTo>
                    <a:lnTo>
                      <a:pt x="2093" y="198"/>
                    </a:lnTo>
                    <a:lnTo>
                      <a:pt x="2094" y="196"/>
                    </a:lnTo>
                    <a:lnTo>
                      <a:pt x="2094" y="193"/>
                    </a:lnTo>
                    <a:lnTo>
                      <a:pt x="2094" y="189"/>
                    </a:lnTo>
                    <a:lnTo>
                      <a:pt x="2093" y="186"/>
                    </a:lnTo>
                    <a:lnTo>
                      <a:pt x="2092" y="183"/>
                    </a:lnTo>
                    <a:lnTo>
                      <a:pt x="2088" y="179"/>
                    </a:lnTo>
                    <a:lnTo>
                      <a:pt x="2084" y="178"/>
                    </a:lnTo>
                    <a:lnTo>
                      <a:pt x="2082" y="176"/>
                    </a:lnTo>
                    <a:lnTo>
                      <a:pt x="2078" y="174"/>
                    </a:lnTo>
                    <a:lnTo>
                      <a:pt x="2076" y="174"/>
                    </a:lnTo>
                    <a:lnTo>
                      <a:pt x="2074" y="176"/>
                    </a:lnTo>
                    <a:lnTo>
                      <a:pt x="2072" y="176"/>
                    </a:lnTo>
                    <a:lnTo>
                      <a:pt x="2071" y="178"/>
                    </a:lnTo>
                    <a:lnTo>
                      <a:pt x="2068" y="179"/>
                    </a:lnTo>
                    <a:lnTo>
                      <a:pt x="2067" y="181"/>
                    </a:lnTo>
                    <a:lnTo>
                      <a:pt x="2064" y="182"/>
                    </a:lnTo>
                    <a:lnTo>
                      <a:pt x="2062" y="182"/>
                    </a:lnTo>
                    <a:lnTo>
                      <a:pt x="2061" y="181"/>
                    </a:lnTo>
                    <a:lnTo>
                      <a:pt x="2058" y="178"/>
                    </a:lnTo>
                    <a:lnTo>
                      <a:pt x="2057" y="174"/>
                    </a:lnTo>
                    <a:lnTo>
                      <a:pt x="2056" y="173"/>
                    </a:lnTo>
                    <a:lnTo>
                      <a:pt x="2057" y="171"/>
                    </a:lnTo>
                    <a:lnTo>
                      <a:pt x="2058" y="171"/>
                    </a:lnTo>
                    <a:lnTo>
                      <a:pt x="2059" y="169"/>
                    </a:lnTo>
                    <a:lnTo>
                      <a:pt x="2061" y="168"/>
                    </a:lnTo>
                    <a:lnTo>
                      <a:pt x="2062" y="168"/>
                    </a:lnTo>
                    <a:lnTo>
                      <a:pt x="2062" y="167"/>
                    </a:lnTo>
                    <a:lnTo>
                      <a:pt x="2063" y="164"/>
                    </a:lnTo>
                    <a:lnTo>
                      <a:pt x="2064" y="162"/>
                    </a:lnTo>
                    <a:lnTo>
                      <a:pt x="2064" y="158"/>
                    </a:lnTo>
                    <a:lnTo>
                      <a:pt x="2064" y="155"/>
                    </a:lnTo>
                    <a:lnTo>
                      <a:pt x="2064" y="151"/>
                    </a:lnTo>
                    <a:lnTo>
                      <a:pt x="2066" y="148"/>
                    </a:lnTo>
                    <a:lnTo>
                      <a:pt x="2067" y="147"/>
                    </a:lnTo>
                    <a:lnTo>
                      <a:pt x="2068" y="146"/>
                    </a:lnTo>
                    <a:lnTo>
                      <a:pt x="2069" y="147"/>
                    </a:lnTo>
                    <a:lnTo>
                      <a:pt x="2072" y="148"/>
                    </a:lnTo>
                    <a:lnTo>
                      <a:pt x="2073" y="151"/>
                    </a:lnTo>
                    <a:lnTo>
                      <a:pt x="2074" y="152"/>
                    </a:lnTo>
                    <a:lnTo>
                      <a:pt x="2076" y="153"/>
                    </a:lnTo>
                    <a:lnTo>
                      <a:pt x="2077" y="155"/>
                    </a:lnTo>
                    <a:lnTo>
                      <a:pt x="2078" y="156"/>
                    </a:lnTo>
                    <a:lnTo>
                      <a:pt x="2079" y="156"/>
                    </a:lnTo>
                    <a:lnTo>
                      <a:pt x="2079" y="156"/>
                    </a:lnTo>
                    <a:lnTo>
                      <a:pt x="2078" y="153"/>
                    </a:lnTo>
                    <a:lnTo>
                      <a:pt x="2078" y="152"/>
                    </a:lnTo>
                    <a:lnTo>
                      <a:pt x="2078" y="150"/>
                    </a:lnTo>
                    <a:lnTo>
                      <a:pt x="2078" y="147"/>
                    </a:lnTo>
                    <a:lnTo>
                      <a:pt x="2077" y="145"/>
                    </a:lnTo>
                    <a:lnTo>
                      <a:pt x="2077" y="142"/>
                    </a:lnTo>
                    <a:lnTo>
                      <a:pt x="2077" y="140"/>
                    </a:lnTo>
                    <a:lnTo>
                      <a:pt x="2077" y="138"/>
                    </a:lnTo>
                    <a:lnTo>
                      <a:pt x="2078" y="137"/>
                    </a:lnTo>
                    <a:lnTo>
                      <a:pt x="2079" y="137"/>
                    </a:lnTo>
                    <a:close/>
                    <a:moveTo>
                      <a:pt x="825" y="69"/>
                    </a:moveTo>
                    <a:lnTo>
                      <a:pt x="829" y="72"/>
                    </a:lnTo>
                    <a:lnTo>
                      <a:pt x="831" y="77"/>
                    </a:lnTo>
                    <a:lnTo>
                      <a:pt x="832" y="82"/>
                    </a:lnTo>
                    <a:lnTo>
                      <a:pt x="834" y="89"/>
                    </a:lnTo>
                    <a:lnTo>
                      <a:pt x="837" y="92"/>
                    </a:lnTo>
                    <a:lnTo>
                      <a:pt x="842" y="95"/>
                    </a:lnTo>
                    <a:lnTo>
                      <a:pt x="852" y="95"/>
                    </a:lnTo>
                    <a:lnTo>
                      <a:pt x="857" y="97"/>
                    </a:lnTo>
                    <a:lnTo>
                      <a:pt x="860" y="100"/>
                    </a:lnTo>
                    <a:lnTo>
                      <a:pt x="861" y="102"/>
                    </a:lnTo>
                    <a:lnTo>
                      <a:pt x="862" y="105"/>
                    </a:lnTo>
                    <a:lnTo>
                      <a:pt x="862" y="107"/>
                    </a:lnTo>
                    <a:lnTo>
                      <a:pt x="865" y="113"/>
                    </a:lnTo>
                    <a:lnTo>
                      <a:pt x="870" y="116"/>
                    </a:lnTo>
                    <a:lnTo>
                      <a:pt x="877" y="118"/>
                    </a:lnTo>
                    <a:lnTo>
                      <a:pt x="885" y="120"/>
                    </a:lnTo>
                    <a:lnTo>
                      <a:pt x="891" y="121"/>
                    </a:lnTo>
                    <a:lnTo>
                      <a:pt x="898" y="123"/>
                    </a:lnTo>
                    <a:lnTo>
                      <a:pt x="906" y="130"/>
                    </a:lnTo>
                    <a:lnTo>
                      <a:pt x="912" y="137"/>
                    </a:lnTo>
                    <a:lnTo>
                      <a:pt x="918" y="143"/>
                    </a:lnTo>
                    <a:lnTo>
                      <a:pt x="929" y="155"/>
                    </a:lnTo>
                    <a:lnTo>
                      <a:pt x="936" y="167"/>
                    </a:lnTo>
                    <a:lnTo>
                      <a:pt x="937" y="182"/>
                    </a:lnTo>
                    <a:lnTo>
                      <a:pt x="933" y="187"/>
                    </a:lnTo>
                    <a:lnTo>
                      <a:pt x="928" y="188"/>
                    </a:lnTo>
                    <a:lnTo>
                      <a:pt x="921" y="187"/>
                    </a:lnTo>
                    <a:lnTo>
                      <a:pt x="916" y="184"/>
                    </a:lnTo>
                    <a:lnTo>
                      <a:pt x="911" y="182"/>
                    </a:lnTo>
                    <a:lnTo>
                      <a:pt x="910" y="181"/>
                    </a:lnTo>
                    <a:lnTo>
                      <a:pt x="906" y="177"/>
                    </a:lnTo>
                    <a:lnTo>
                      <a:pt x="903" y="177"/>
                    </a:lnTo>
                    <a:lnTo>
                      <a:pt x="900" y="177"/>
                    </a:lnTo>
                    <a:lnTo>
                      <a:pt x="897" y="178"/>
                    </a:lnTo>
                    <a:lnTo>
                      <a:pt x="895" y="178"/>
                    </a:lnTo>
                    <a:lnTo>
                      <a:pt x="893" y="177"/>
                    </a:lnTo>
                    <a:lnTo>
                      <a:pt x="891" y="173"/>
                    </a:lnTo>
                    <a:lnTo>
                      <a:pt x="888" y="169"/>
                    </a:lnTo>
                    <a:lnTo>
                      <a:pt x="887" y="167"/>
                    </a:lnTo>
                    <a:lnTo>
                      <a:pt x="886" y="163"/>
                    </a:lnTo>
                    <a:lnTo>
                      <a:pt x="883" y="162"/>
                    </a:lnTo>
                    <a:lnTo>
                      <a:pt x="881" y="158"/>
                    </a:lnTo>
                    <a:lnTo>
                      <a:pt x="877" y="158"/>
                    </a:lnTo>
                    <a:lnTo>
                      <a:pt x="875" y="158"/>
                    </a:lnTo>
                    <a:lnTo>
                      <a:pt x="872" y="159"/>
                    </a:lnTo>
                    <a:lnTo>
                      <a:pt x="871" y="162"/>
                    </a:lnTo>
                    <a:lnTo>
                      <a:pt x="868" y="166"/>
                    </a:lnTo>
                    <a:lnTo>
                      <a:pt x="867" y="168"/>
                    </a:lnTo>
                    <a:lnTo>
                      <a:pt x="867" y="172"/>
                    </a:lnTo>
                    <a:lnTo>
                      <a:pt x="867" y="174"/>
                    </a:lnTo>
                    <a:lnTo>
                      <a:pt x="867" y="179"/>
                    </a:lnTo>
                    <a:lnTo>
                      <a:pt x="863" y="183"/>
                    </a:lnTo>
                    <a:lnTo>
                      <a:pt x="857" y="184"/>
                    </a:lnTo>
                    <a:lnTo>
                      <a:pt x="851" y="184"/>
                    </a:lnTo>
                    <a:lnTo>
                      <a:pt x="847" y="187"/>
                    </a:lnTo>
                    <a:lnTo>
                      <a:pt x="842" y="193"/>
                    </a:lnTo>
                    <a:lnTo>
                      <a:pt x="837" y="199"/>
                    </a:lnTo>
                    <a:lnTo>
                      <a:pt x="832" y="204"/>
                    </a:lnTo>
                    <a:lnTo>
                      <a:pt x="826" y="207"/>
                    </a:lnTo>
                    <a:lnTo>
                      <a:pt x="816" y="208"/>
                    </a:lnTo>
                    <a:lnTo>
                      <a:pt x="814" y="205"/>
                    </a:lnTo>
                    <a:lnTo>
                      <a:pt x="812" y="203"/>
                    </a:lnTo>
                    <a:lnTo>
                      <a:pt x="812" y="201"/>
                    </a:lnTo>
                    <a:lnTo>
                      <a:pt x="811" y="198"/>
                    </a:lnTo>
                    <a:lnTo>
                      <a:pt x="811" y="194"/>
                    </a:lnTo>
                    <a:lnTo>
                      <a:pt x="811" y="192"/>
                    </a:lnTo>
                    <a:lnTo>
                      <a:pt x="810" y="189"/>
                    </a:lnTo>
                    <a:lnTo>
                      <a:pt x="807" y="188"/>
                    </a:lnTo>
                    <a:lnTo>
                      <a:pt x="805" y="187"/>
                    </a:lnTo>
                    <a:lnTo>
                      <a:pt x="801" y="187"/>
                    </a:lnTo>
                    <a:lnTo>
                      <a:pt x="796" y="186"/>
                    </a:lnTo>
                    <a:lnTo>
                      <a:pt x="789" y="184"/>
                    </a:lnTo>
                    <a:lnTo>
                      <a:pt x="782" y="182"/>
                    </a:lnTo>
                    <a:lnTo>
                      <a:pt x="780" y="178"/>
                    </a:lnTo>
                    <a:lnTo>
                      <a:pt x="781" y="172"/>
                    </a:lnTo>
                    <a:lnTo>
                      <a:pt x="782" y="169"/>
                    </a:lnTo>
                    <a:lnTo>
                      <a:pt x="785" y="168"/>
                    </a:lnTo>
                    <a:lnTo>
                      <a:pt x="789" y="167"/>
                    </a:lnTo>
                    <a:lnTo>
                      <a:pt x="791" y="166"/>
                    </a:lnTo>
                    <a:lnTo>
                      <a:pt x="795" y="163"/>
                    </a:lnTo>
                    <a:lnTo>
                      <a:pt x="796" y="162"/>
                    </a:lnTo>
                    <a:lnTo>
                      <a:pt x="801" y="156"/>
                    </a:lnTo>
                    <a:lnTo>
                      <a:pt x="805" y="151"/>
                    </a:lnTo>
                    <a:lnTo>
                      <a:pt x="809" y="146"/>
                    </a:lnTo>
                    <a:lnTo>
                      <a:pt x="816" y="141"/>
                    </a:lnTo>
                    <a:lnTo>
                      <a:pt x="820" y="136"/>
                    </a:lnTo>
                    <a:lnTo>
                      <a:pt x="819" y="131"/>
                    </a:lnTo>
                    <a:lnTo>
                      <a:pt x="811" y="126"/>
                    </a:lnTo>
                    <a:lnTo>
                      <a:pt x="810" y="125"/>
                    </a:lnTo>
                    <a:lnTo>
                      <a:pt x="807" y="123"/>
                    </a:lnTo>
                    <a:lnTo>
                      <a:pt x="805" y="123"/>
                    </a:lnTo>
                    <a:lnTo>
                      <a:pt x="802" y="122"/>
                    </a:lnTo>
                    <a:lnTo>
                      <a:pt x="801" y="120"/>
                    </a:lnTo>
                    <a:lnTo>
                      <a:pt x="801" y="118"/>
                    </a:lnTo>
                    <a:lnTo>
                      <a:pt x="801" y="115"/>
                    </a:lnTo>
                    <a:lnTo>
                      <a:pt x="801" y="112"/>
                    </a:lnTo>
                    <a:lnTo>
                      <a:pt x="801" y="108"/>
                    </a:lnTo>
                    <a:lnTo>
                      <a:pt x="802" y="104"/>
                    </a:lnTo>
                    <a:lnTo>
                      <a:pt x="804" y="100"/>
                    </a:lnTo>
                    <a:lnTo>
                      <a:pt x="805" y="94"/>
                    </a:lnTo>
                    <a:lnTo>
                      <a:pt x="806" y="87"/>
                    </a:lnTo>
                    <a:lnTo>
                      <a:pt x="809" y="80"/>
                    </a:lnTo>
                    <a:lnTo>
                      <a:pt x="811" y="74"/>
                    </a:lnTo>
                    <a:lnTo>
                      <a:pt x="817" y="70"/>
                    </a:lnTo>
                    <a:lnTo>
                      <a:pt x="825" y="69"/>
                    </a:lnTo>
                    <a:close/>
                    <a:moveTo>
                      <a:pt x="104" y="60"/>
                    </a:moveTo>
                    <a:lnTo>
                      <a:pt x="101" y="60"/>
                    </a:lnTo>
                    <a:lnTo>
                      <a:pt x="99" y="61"/>
                    </a:lnTo>
                    <a:lnTo>
                      <a:pt x="95" y="62"/>
                    </a:lnTo>
                    <a:lnTo>
                      <a:pt x="92" y="64"/>
                    </a:lnTo>
                    <a:lnTo>
                      <a:pt x="89" y="66"/>
                    </a:lnTo>
                    <a:lnTo>
                      <a:pt x="85" y="69"/>
                    </a:lnTo>
                    <a:lnTo>
                      <a:pt x="81" y="71"/>
                    </a:lnTo>
                    <a:lnTo>
                      <a:pt x="77" y="75"/>
                    </a:lnTo>
                    <a:lnTo>
                      <a:pt x="74" y="76"/>
                    </a:lnTo>
                    <a:lnTo>
                      <a:pt x="69" y="80"/>
                    </a:lnTo>
                    <a:lnTo>
                      <a:pt x="65" y="84"/>
                    </a:lnTo>
                    <a:lnTo>
                      <a:pt x="60" y="86"/>
                    </a:lnTo>
                    <a:lnTo>
                      <a:pt x="55" y="90"/>
                    </a:lnTo>
                    <a:lnTo>
                      <a:pt x="40" y="94"/>
                    </a:lnTo>
                    <a:lnTo>
                      <a:pt x="26" y="100"/>
                    </a:lnTo>
                    <a:lnTo>
                      <a:pt x="21" y="104"/>
                    </a:lnTo>
                    <a:lnTo>
                      <a:pt x="15" y="106"/>
                    </a:lnTo>
                    <a:lnTo>
                      <a:pt x="8" y="107"/>
                    </a:lnTo>
                    <a:lnTo>
                      <a:pt x="3" y="110"/>
                    </a:lnTo>
                    <a:lnTo>
                      <a:pt x="0" y="116"/>
                    </a:lnTo>
                    <a:lnTo>
                      <a:pt x="1" y="117"/>
                    </a:lnTo>
                    <a:lnTo>
                      <a:pt x="1" y="118"/>
                    </a:lnTo>
                    <a:lnTo>
                      <a:pt x="4" y="118"/>
                    </a:lnTo>
                    <a:lnTo>
                      <a:pt x="5" y="118"/>
                    </a:lnTo>
                    <a:lnTo>
                      <a:pt x="8" y="118"/>
                    </a:lnTo>
                    <a:lnTo>
                      <a:pt x="9" y="117"/>
                    </a:lnTo>
                    <a:lnTo>
                      <a:pt x="11" y="116"/>
                    </a:lnTo>
                    <a:lnTo>
                      <a:pt x="15" y="112"/>
                    </a:lnTo>
                    <a:lnTo>
                      <a:pt x="20" y="110"/>
                    </a:lnTo>
                    <a:lnTo>
                      <a:pt x="25" y="108"/>
                    </a:lnTo>
                    <a:lnTo>
                      <a:pt x="29" y="108"/>
                    </a:lnTo>
                    <a:lnTo>
                      <a:pt x="36" y="105"/>
                    </a:lnTo>
                    <a:lnTo>
                      <a:pt x="44" y="102"/>
                    </a:lnTo>
                    <a:lnTo>
                      <a:pt x="50" y="100"/>
                    </a:lnTo>
                    <a:lnTo>
                      <a:pt x="51" y="101"/>
                    </a:lnTo>
                    <a:lnTo>
                      <a:pt x="54" y="101"/>
                    </a:lnTo>
                    <a:lnTo>
                      <a:pt x="56" y="102"/>
                    </a:lnTo>
                    <a:lnTo>
                      <a:pt x="59" y="104"/>
                    </a:lnTo>
                    <a:lnTo>
                      <a:pt x="60" y="106"/>
                    </a:lnTo>
                    <a:lnTo>
                      <a:pt x="60" y="108"/>
                    </a:lnTo>
                    <a:lnTo>
                      <a:pt x="61" y="116"/>
                    </a:lnTo>
                    <a:lnTo>
                      <a:pt x="57" y="123"/>
                    </a:lnTo>
                    <a:lnTo>
                      <a:pt x="54" y="127"/>
                    </a:lnTo>
                    <a:lnTo>
                      <a:pt x="48" y="132"/>
                    </a:lnTo>
                    <a:lnTo>
                      <a:pt x="40" y="138"/>
                    </a:lnTo>
                    <a:lnTo>
                      <a:pt x="33" y="145"/>
                    </a:lnTo>
                    <a:lnTo>
                      <a:pt x="30" y="153"/>
                    </a:lnTo>
                    <a:lnTo>
                      <a:pt x="34" y="161"/>
                    </a:lnTo>
                    <a:lnTo>
                      <a:pt x="39" y="163"/>
                    </a:lnTo>
                    <a:lnTo>
                      <a:pt x="44" y="162"/>
                    </a:lnTo>
                    <a:lnTo>
                      <a:pt x="50" y="158"/>
                    </a:lnTo>
                    <a:lnTo>
                      <a:pt x="56" y="152"/>
                    </a:lnTo>
                    <a:lnTo>
                      <a:pt x="60" y="147"/>
                    </a:lnTo>
                    <a:lnTo>
                      <a:pt x="62" y="145"/>
                    </a:lnTo>
                    <a:lnTo>
                      <a:pt x="64" y="141"/>
                    </a:lnTo>
                    <a:lnTo>
                      <a:pt x="66" y="137"/>
                    </a:lnTo>
                    <a:lnTo>
                      <a:pt x="69" y="133"/>
                    </a:lnTo>
                    <a:lnTo>
                      <a:pt x="71" y="132"/>
                    </a:lnTo>
                    <a:lnTo>
                      <a:pt x="72" y="132"/>
                    </a:lnTo>
                    <a:lnTo>
                      <a:pt x="74" y="133"/>
                    </a:lnTo>
                    <a:lnTo>
                      <a:pt x="75" y="135"/>
                    </a:lnTo>
                    <a:lnTo>
                      <a:pt x="74" y="137"/>
                    </a:lnTo>
                    <a:lnTo>
                      <a:pt x="72" y="141"/>
                    </a:lnTo>
                    <a:lnTo>
                      <a:pt x="71" y="145"/>
                    </a:lnTo>
                    <a:lnTo>
                      <a:pt x="70" y="148"/>
                    </a:lnTo>
                    <a:lnTo>
                      <a:pt x="67" y="152"/>
                    </a:lnTo>
                    <a:lnTo>
                      <a:pt x="66" y="156"/>
                    </a:lnTo>
                    <a:lnTo>
                      <a:pt x="67" y="158"/>
                    </a:lnTo>
                    <a:lnTo>
                      <a:pt x="71" y="157"/>
                    </a:lnTo>
                    <a:lnTo>
                      <a:pt x="76" y="153"/>
                    </a:lnTo>
                    <a:lnTo>
                      <a:pt x="82" y="150"/>
                    </a:lnTo>
                    <a:lnTo>
                      <a:pt x="86" y="145"/>
                    </a:lnTo>
                    <a:lnTo>
                      <a:pt x="90" y="142"/>
                    </a:lnTo>
                    <a:lnTo>
                      <a:pt x="95" y="132"/>
                    </a:lnTo>
                    <a:lnTo>
                      <a:pt x="97" y="121"/>
                    </a:lnTo>
                    <a:lnTo>
                      <a:pt x="99" y="120"/>
                    </a:lnTo>
                    <a:lnTo>
                      <a:pt x="99" y="118"/>
                    </a:lnTo>
                    <a:lnTo>
                      <a:pt x="100" y="116"/>
                    </a:lnTo>
                    <a:lnTo>
                      <a:pt x="101" y="115"/>
                    </a:lnTo>
                    <a:lnTo>
                      <a:pt x="101" y="115"/>
                    </a:lnTo>
                    <a:lnTo>
                      <a:pt x="104" y="115"/>
                    </a:lnTo>
                    <a:lnTo>
                      <a:pt x="105" y="116"/>
                    </a:lnTo>
                    <a:lnTo>
                      <a:pt x="112" y="116"/>
                    </a:lnTo>
                    <a:lnTo>
                      <a:pt x="119" y="111"/>
                    </a:lnTo>
                    <a:lnTo>
                      <a:pt x="123" y="104"/>
                    </a:lnTo>
                    <a:lnTo>
                      <a:pt x="126" y="95"/>
                    </a:lnTo>
                    <a:lnTo>
                      <a:pt x="127" y="92"/>
                    </a:lnTo>
                    <a:lnTo>
                      <a:pt x="130" y="90"/>
                    </a:lnTo>
                    <a:lnTo>
                      <a:pt x="131" y="87"/>
                    </a:lnTo>
                    <a:lnTo>
                      <a:pt x="133" y="86"/>
                    </a:lnTo>
                    <a:lnTo>
                      <a:pt x="135" y="85"/>
                    </a:lnTo>
                    <a:lnTo>
                      <a:pt x="136" y="82"/>
                    </a:lnTo>
                    <a:lnTo>
                      <a:pt x="136" y="80"/>
                    </a:lnTo>
                    <a:lnTo>
                      <a:pt x="136" y="77"/>
                    </a:lnTo>
                    <a:lnTo>
                      <a:pt x="135" y="76"/>
                    </a:lnTo>
                    <a:lnTo>
                      <a:pt x="132" y="75"/>
                    </a:lnTo>
                    <a:lnTo>
                      <a:pt x="130" y="75"/>
                    </a:lnTo>
                    <a:lnTo>
                      <a:pt x="127" y="76"/>
                    </a:lnTo>
                    <a:lnTo>
                      <a:pt x="126" y="76"/>
                    </a:lnTo>
                    <a:lnTo>
                      <a:pt x="122" y="79"/>
                    </a:lnTo>
                    <a:lnTo>
                      <a:pt x="120" y="82"/>
                    </a:lnTo>
                    <a:lnTo>
                      <a:pt x="117" y="85"/>
                    </a:lnTo>
                    <a:lnTo>
                      <a:pt x="116" y="87"/>
                    </a:lnTo>
                    <a:lnTo>
                      <a:pt x="112" y="90"/>
                    </a:lnTo>
                    <a:lnTo>
                      <a:pt x="109" y="91"/>
                    </a:lnTo>
                    <a:lnTo>
                      <a:pt x="106" y="91"/>
                    </a:lnTo>
                    <a:lnTo>
                      <a:pt x="102" y="91"/>
                    </a:lnTo>
                    <a:lnTo>
                      <a:pt x="100" y="92"/>
                    </a:lnTo>
                    <a:lnTo>
                      <a:pt x="94" y="91"/>
                    </a:lnTo>
                    <a:lnTo>
                      <a:pt x="90" y="86"/>
                    </a:lnTo>
                    <a:lnTo>
                      <a:pt x="90" y="80"/>
                    </a:lnTo>
                    <a:lnTo>
                      <a:pt x="92" y="74"/>
                    </a:lnTo>
                    <a:lnTo>
                      <a:pt x="97" y="69"/>
                    </a:lnTo>
                    <a:lnTo>
                      <a:pt x="99" y="67"/>
                    </a:lnTo>
                    <a:lnTo>
                      <a:pt x="100" y="66"/>
                    </a:lnTo>
                    <a:lnTo>
                      <a:pt x="102" y="65"/>
                    </a:lnTo>
                    <a:lnTo>
                      <a:pt x="104" y="64"/>
                    </a:lnTo>
                    <a:lnTo>
                      <a:pt x="106" y="62"/>
                    </a:lnTo>
                    <a:lnTo>
                      <a:pt x="106" y="61"/>
                    </a:lnTo>
                    <a:lnTo>
                      <a:pt x="106" y="61"/>
                    </a:lnTo>
                    <a:lnTo>
                      <a:pt x="105" y="61"/>
                    </a:lnTo>
                    <a:lnTo>
                      <a:pt x="104" y="60"/>
                    </a:lnTo>
                    <a:close/>
                    <a:moveTo>
                      <a:pt x="2940" y="0"/>
                    </a:moveTo>
                    <a:lnTo>
                      <a:pt x="2970" y="101"/>
                    </a:lnTo>
                    <a:lnTo>
                      <a:pt x="2995" y="204"/>
                    </a:lnTo>
                    <a:lnTo>
                      <a:pt x="3015" y="310"/>
                    </a:lnTo>
                    <a:lnTo>
                      <a:pt x="3029" y="417"/>
                    </a:lnTo>
                    <a:lnTo>
                      <a:pt x="3036" y="526"/>
                    </a:lnTo>
                    <a:lnTo>
                      <a:pt x="3021" y="536"/>
                    </a:lnTo>
                    <a:lnTo>
                      <a:pt x="3005" y="545"/>
                    </a:lnTo>
                    <a:lnTo>
                      <a:pt x="2944" y="587"/>
                    </a:lnTo>
                    <a:lnTo>
                      <a:pt x="2882" y="636"/>
                    </a:lnTo>
                    <a:lnTo>
                      <a:pt x="2817" y="689"/>
                    </a:lnTo>
                    <a:lnTo>
                      <a:pt x="2749" y="745"/>
                    </a:lnTo>
                    <a:lnTo>
                      <a:pt x="2678" y="804"/>
                    </a:lnTo>
                    <a:lnTo>
                      <a:pt x="2680" y="801"/>
                    </a:lnTo>
                    <a:lnTo>
                      <a:pt x="2680" y="801"/>
                    </a:lnTo>
                    <a:lnTo>
                      <a:pt x="2681" y="800"/>
                    </a:lnTo>
                    <a:lnTo>
                      <a:pt x="2681" y="797"/>
                    </a:lnTo>
                    <a:lnTo>
                      <a:pt x="2682" y="797"/>
                    </a:lnTo>
                    <a:lnTo>
                      <a:pt x="2682" y="796"/>
                    </a:lnTo>
                    <a:lnTo>
                      <a:pt x="2683" y="795"/>
                    </a:lnTo>
                    <a:lnTo>
                      <a:pt x="2685" y="792"/>
                    </a:lnTo>
                    <a:lnTo>
                      <a:pt x="2683" y="791"/>
                    </a:lnTo>
                    <a:lnTo>
                      <a:pt x="2683" y="790"/>
                    </a:lnTo>
                    <a:lnTo>
                      <a:pt x="2682" y="790"/>
                    </a:lnTo>
                    <a:lnTo>
                      <a:pt x="2681" y="791"/>
                    </a:lnTo>
                    <a:lnTo>
                      <a:pt x="2680" y="792"/>
                    </a:lnTo>
                    <a:lnTo>
                      <a:pt x="2680" y="792"/>
                    </a:lnTo>
                    <a:lnTo>
                      <a:pt x="2678" y="792"/>
                    </a:lnTo>
                    <a:lnTo>
                      <a:pt x="2674" y="800"/>
                    </a:lnTo>
                    <a:lnTo>
                      <a:pt x="2669" y="806"/>
                    </a:lnTo>
                    <a:lnTo>
                      <a:pt x="2664" y="811"/>
                    </a:lnTo>
                    <a:lnTo>
                      <a:pt x="2664" y="811"/>
                    </a:lnTo>
                    <a:lnTo>
                      <a:pt x="2662" y="814"/>
                    </a:lnTo>
                    <a:lnTo>
                      <a:pt x="2661" y="815"/>
                    </a:lnTo>
                    <a:lnTo>
                      <a:pt x="2661" y="817"/>
                    </a:lnTo>
                    <a:lnTo>
                      <a:pt x="2661" y="819"/>
                    </a:lnTo>
                    <a:lnTo>
                      <a:pt x="2656" y="821"/>
                    </a:lnTo>
                    <a:lnTo>
                      <a:pt x="2652" y="824"/>
                    </a:lnTo>
                    <a:lnTo>
                      <a:pt x="2647" y="827"/>
                    </a:lnTo>
                    <a:lnTo>
                      <a:pt x="2647" y="827"/>
                    </a:lnTo>
                    <a:lnTo>
                      <a:pt x="2645" y="829"/>
                    </a:lnTo>
                    <a:lnTo>
                      <a:pt x="2642" y="830"/>
                    </a:lnTo>
                    <a:lnTo>
                      <a:pt x="2642" y="830"/>
                    </a:lnTo>
                    <a:lnTo>
                      <a:pt x="2644" y="827"/>
                    </a:lnTo>
                    <a:lnTo>
                      <a:pt x="2644" y="825"/>
                    </a:lnTo>
                    <a:lnTo>
                      <a:pt x="2642" y="824"/>
                    </a:lnTo>
                    <a:lnTo>
                      <a:pt x="2642" y="821"/>
                    </a:lnTo>
                    <a:lnTo>
                      <a:pt x="2641" y="819"/>
                    </a:lnTo>
                    <a:lnTo>
                      <a:pt x="2641" y="816"/>
                    </a:lnTo>
                    <a:lnTo>
                      <a:pt x="2640" y="815"/>
                    </a:lnTo>
                    <a:lnTo>
                      <a:pt x="2639" y="812"/>
                    </a:lnTo>
                    <a:lnTo>
                      <a:pt x="2637" y="811"/>
                    </a:lnTo>
                    <a:lnTo>
                      <a:pt x="2636" y="810"/>
                    </a:lnTo>
                    <a:lnTo>
                      <a:pt x="2635" y="811"/>
                    </a:lnTo>
                    <a:lnTo>
                      <a:pt x="2629" y="821"/>
                    </a:lnTo>
                    <a:lnTo>
                      <a:pt x="2624" y="832"/>
                    </a:lnTo>
                    <a:lnTo>
                      <a:pt x="2622" y="836"/>
                    </a:lnTo>
                    <a:lnTo>
                      <a:pt x="2621" y="841"/>
                    </a:lnTo>
                    <a:lnTo>
                      <a:pt x="2620" y="846"/>
                    </a:lnTo>
                    <a:lnTo>
                      <a:pt x="2619" y="850"/>
                    </a:lnTo>
                    <a:lnTo>
                      <a:pt x="2602" y="862"/>
                    </a:lnTo>
                    <a:lnTo>
                      <a:pt x="2604" y="860"/>
                    </a:lnTo>
                    <a:lnTo>
                      <a:pt x="2604" y="857"/>
                    </a:lnTo>
                    <a:lnTo>
                      <a:pt x="2605" y="855"/>
                    </a:lnTo>
                    <a:lnTo>
                      <a:pt x="2606" y="851"/>
                    </a:lnTo>
                    <a:lnTo>
                      <a:pt x="2606" y="850"/>
                    </a:lnTo>
                    <a:lnTo>
                      <a:pt x="2528" y="906"/>
                    </a:lnTo>
                    <a:lnTo>
                      <a:pt x="2528" y="904"/>
                    </a:lnTo>
                    <a:lnTo>
                      <a:pt x="2528" y="902"/>
                    </a:lnTo>
                    <a:lnTo>
                      <a:pt x="2528" y="899"/>
                    </a:lnTo>
                    <a:lnTo>
                      <a:pt x="2527" y="897"/>
                    </a:lnTo>
                    <a:lnTo>
                      <a:pt x="2525" y="894"/>
                    </a:lnTo>
                    <a:lnTo>
                      <a:pt x="2523" y="894"/>
                    </a:lnTo>
                    <a:lnTo>
                      <a:pt x="2522" y="894"/>
                    </a:lnTo>
                    <a:lnTo>
                      <a:pt x="2520" y="893"/>
                    </a:lnTo>
                    <a:lnTo>
                      <a:pt x="2519" y="892"/>
                    </a:lnTo>
                    <a:lnTo>
                      <a:pt x="2518" y="889"/>
                    </a:lnTo>
                    <a:lnTo>
                      <a:pt x="2517" y="887"/>
                    </a:lnTo>
                    <a:lnTo>
                      <a:pt x="2515" y="885"/>
                    </a:lnTo>
                    <a:lnTo>
                      <a:pt x="2515" y="881"/>
                    </a:lnTo>
                    <a:lnTo>
                      <a:pt x="2514" y="877"/>
                    </a:lnTo>
                    <a:lnTo>
                      <a:pt x="2514" y="873"/>
                    </a:lnTo>
                    <a:lnTo>
                      <a:pt x="2513" y="871"/>
                    </a:lnTo>
                    <a:lnTo>
                      <a:pt x="2512" y="868"/>
                    </a:lnTo>
                    <a:lnTo>
                      <a:pt x="2510" y="868"/>
                    </a:lnTo>
                    <a:lnTo>
                      <a:pt x="2509" y="868"/>
                    </a:lnTo>
                    <a:lnTo>
                      <a:pt x="2507" y="870"/>
                    </a:lnTo>
                    <a:lnTo>
                      <a:pt x="2505" y="870"/>
                    </a:lnTo>
                    <a:lnTo>
                      <a:pt x="2503" y="871"/>
                    </a:lnTo>
                    <a:lnTo>
                      <a:pt x="2502" y="871"/>
                    </a:lnTo>
                    <a:lnTo>
                      <a:pt x="2499" y="872"/>
                    </a:lnTo>
                    <a:lnTo>
                      <a:pt x="2498" y="872"/>
                    </a:lnTo>
                    <a:lnTo>
                      <a:pt x="2495" y="871"/>
                    </a:lnTo>
                    <a:lnTo>
                      <a:pt x="2494" y="868"/>
                    </a:lnTo>
                    <a:lnTo>
                      <a:pt x="2492" y="866"/>
                    </a:lnTo>
                    <a:lnTo>
                      <a:pt x="2490" y="865"/>
                    </a:lnTo>
                    <a:lnTo>
                      <a:pt x="2490" y="863"/>
                    </a:lnTo>
                    <a:lnTo>
                      <a:pt x="2488" y="863"/>
                    </a:lnTo>
                    <a:lnTo>
                      <a:pt x="2487" y="863"/>
                    </a:lnTo>
                    <a:lnTo>
                      <a:pt x="2487" y="866"/>
                    </a:lnTo>
                    <a:lnTo>
                      <a:pt x="2487" y="867"/>
                    </a:lnTo>
                    <a:lnTo>
                      <a:pt x="2485" y="870"/>
                    </a:lnTo>
                    <a:lnTo>
                      <a:pt x="2485" y="872"/>
                    </a:lnTo>
                    <a:lnTo>
                      <a:pt x="2485" y="873"/>
                    </a:lnTo>
                    <a:lnTo>
                      <a:pt x="2488" y="876"/>
                    </a:lnTo>
                    <a:lnTo>
                      <a:pt x="2489" y="878"/>
                    </a:lnTo>
                    <a:lnTo>
                      <a:pt x="2490" y="882"/>
                    </a:lnTo>
                    <a:lnTo>
                      <a:pt x="2495" y="897"/>
                    </a:lnTo>
                    <a:lnTo>
                      <a:pt x="2499" y="913"/>
                    </a:lnTo>
                    <a:lnTo>
                      <a:pt x="2499" y="917"/>
                    </a:lnTo>
                    <a:lnTo>
                      <a:pt x="2499" y="921"/>
                    </a:lnTo>
                    <a:lnTo>
                      <a:pt x="2500" y="923"/>
                    </a:lnTo>
                    <a:lnTo>
                      <a:pt x="2472" y="916"/>
                    </a:lnTo>
                    <a:lnTo>
                      <a:pt x="2472" y="902"/>
                    </a:lnTo>
                    <a:lnTo>
                      <a:pt x="2470" y="889"/>
                    </a:lnTo>
                    <a:lnTo>
                      <a:pt x="2468" y="887"/>
                    </a:lnTo>
                    <a:lnTo>
                      <a:pt x="2467" y="886"/>
                    </a:lnTo>
                    <a:lnTo>
                      <a:pt x="2464" y="885"/>
                    </a:lnTo>
                    <a:lnTo>
                      <a:pt x="2460" y="883"/>
                    </a:lnTo>
                    <a:lnTo>
                      <a:pt x="2458" y="885"/>
                    </a:lnTo>
                    <a:lnTo>
                      <a:pt x="2456" y="885"/>
                    </a:lnTo>
                    <a:lnTo>
                      <a:pt x="2454" y="887"/>
                    </a:lnTo>
                    <a:lnTo>
                      <a:pt x="2452" y="891"/>
                    </a:lnTo>
                    <a:lnTo>
                      <a:pt x="2449" y="896"/>
                    </a:lnTo>
                    <a:lnTo>
                      <a:pt x="2447" y="899"/>
                    </a:lnTo>
                    <a:lnTo>
                      <a:pt x="2444" y="903"/>
                    </a:lnTo>
                    <a:lnTo>
                      <a:pt x="2441" y="908"/>
                    </a:lnTo>
                    <a:lnTo>
                      <a:pt x="2368" y="891"/>
                    </a:lnTo>
                    <a:lnTo>
                      <a:pt x="2368" y="891"/>
                    </a:lnTo>
                    <a:lnTo>
                      <a:pt x="2368" y="889"/>
                    </a:lnTo>
                    <a:lnTo>
                      <a:pt x="2370" y="882"/>
                    </a:lnTo>
                    <a:lnTo>
                      <a:pt x="2371" y="877"/>
                    </a:lnTo>
                    <a:lnTo>
                      <a:pt x="2372" y="871"/>
                    </a:lnTo>
                    <a:lnTo>
                      <a:pt x="2371" y="863"/>
                    </a:lnTo>
                    <a:lnTo>
                      <a:pt x="2371" y="861"/>
                    </a:lnTo>
                    <a:lnTo>
                      <a:pt x="2371" y="857"/>
                    </a:lnTo>
                    <a:lnTo>
                      <a:pt x="2370" y="855"/>
                    </a:lnTo>
                    <a:lnTo>
                      <a:pt x="2370" y="852"/>
                    </a:lnTo>
                    <a:lnTo>
                      <a:pt x="2368" y="850"/>
                    </a:lnTo>
                    <a:lnTo>
                      <a:pt x="2366" y="847"/>
                    </a:lnTo>
                    <a:lnTo>
                      <a:pt x="2366" y="847"/>
                    </a:lnTo>
                    <a:lnTo>
                      <a:pt x="2365" y="846"/>
                    </a:lnTo>
                    <a:lnTo>
                      <a:pt x="2363" y="843"/>
                    </a:lnTo>
                    <a:lnTo>
                      <a:pt x="2363" y="841"/>
                    </a:lnTo>
                    <a:lnTo>
                      <a:pt x="2363" y="840"/>
                    </a:lnTo>
                    <a:lnTo>
                      <a:pt x="2363" y="837"/>
                    </a:lnTo>
                    <a:lnTo>
                      <a:pt x="2363" y="835"/>
                    </a:lnTo>
                    <a:lnTo>
                      <a:pt x="2365" y="832"/>
                    </a:lnTo>
                    <a:lnTo>
                      <a:pt x="2365" y="830"/>
                    </a:lnTo>
                    <a:lnTo>
                      <a:pt x="2363" y="827"/>
                    </a:lnTo>
                    <a:lnTo>
                      <a:pt x="2360" y="824"/>
                    </a:lnTo>
                    <a:lnTo>
                      <a:pt x="2356" y="821"/>
                    </a:lnTo>
                    <a:lnTo>
                      <a:pt x="2352" y="819"/>
                    </a:lnTo>
                    <a:lnTo>
                      <a:pt x="2351" y="817"/>
                    </a:lnTo>
                    <a:lnTo>
                      <a:pt x="2348" y="817"/>
                    </a:lnTo>
                    <a:lnTo>
                      <a:pt x="2346" y="816"/>
                    </a:lnTo>
                    <a:lnTo>
                      <a:pt x="2345" y="815"/>
                    </a:lnTo>
                    <a:lnTo>
                      <a:pt x="2342" y="814"/>
                    </a:lnTo>
                    <a:lnTo>
                      <a:pt x="2341" y="811"/>
                    </a:lnTo>
                    <a:lnTo>
                      <a:pt x="2340" y="807"/>
                    </a:lnTo>
                    <a:lnTo>
                      <a:pt x="2340" y="804"/>
                    </a:lnTo>
                    <a:lnTo>
                      <a:pt x="2338" y="800"/>
                    </a:lnTo>
                    <a:lnTo>
                      <a:pt x="2338" y="797"/>
                    </a:lnTo>
                    <a:lnTo>
                      <a:pt x="2340" y="796"/>
                    </a:lnTo>
                    <a:lnTo>
                      <a:pt x="2341" y="795"/>
                    </a:lnTo>
                    <a:lnTo>
                      <a:pt x="2342" y="792"/>
                    </a:lnTo>
                    <a:lnTo>
                      <a:pt x="2343" y="791"/>
                    </a:lnTo>
                    <a:lnTo>
                      <a:pt x="2345" y="790"/>
                    </a:lnTo>
                    <a:lnTo>
                      <a:pt x="2346" y="789"/>
                    </a:lnTo>
                    <a:lnTo>
                      <a:pt x="2348" y="788"/>
                    </a:lnTo>
                    <a:lnTo>
                      <a:pt x="2350" y="788"/>
                    </a:lnTo>
                    <a:lnTo>
                      <a:pt x="2352" y="788"/>
                    </a:lnTo>
                    <a:lnTo>
                      <a:pt x="2353" y="789"/>
                    </a:lnTo>
                    <a:lnTo>
                      <a:pt x="2356" y="790"/>
                    </a:lnTo>
                    <a:lnTo>
                      <a:pt x="2357" y="791"/>
                    </a:lnTo>
                    <a:lnTo>
                      <a:pt x="2360" y="792"/>
                    </a:lnTo>
                    <a:lnTo>
                      <a:pt x="2362" y="792"/>
                    </a:lnTo>
                    <a:lnTo>
                      <a:pt x="2365" y="792"/>
                    </a:lnTo>
                    <a:lnTo>
                      <a:pt x="2366" y="792"/>
                    </a:lnTo>
                    <a:lnTo>
                      <a:pt x="2368" y="790"/>
                    </a:lnTo>
                    <a:lnTo>
                      <a:pt x="2370" y="788"/>
                    </a:lnTo>
                    <a:lnTo>
                      <a:pt x="2371" y="783"/>
                    </a:lnTo>
                    <a:lnTo>
                      <a:pt x="2370" y="776"/>
                    </a:lnTo>
                    <a:lnTo>
                      <a:pt x="2367" y="770"/>
                    </a:lnTo>
                    <a:lnTo>
                      <a:pt x="2366" y="765"/>
                    </a:lnTo>
                    <a:lnTo>
                      <a:pt x="2368" y="759"/>
                    </a:lnTo>
                    <a:lnTo>
                      <a:pt x="2370" y="758"/>
                    </a:lnTo>
                    <a:lnTo>
                      <a:pt x="2371" y="759"/>
                    </a:lnTo>
                    <a:lnTo>
                      <a:pt x="2373" y="760"/>
                    </a:lnTo>
                    <a:lnTo>
                      <a:pt x="2375" y="761"/>
                    </a:lnTo>
                    <a:lnTo>
                      <a:pt x="2376" y="761"/>
                    </a:lnTo>
                    <a:lnTo>
                      <a:pt x="2378" y="761"/>
                    </a:lnTo>
                    <a:lnTo>
                      <a:pt x="2380" y="761"/>
                    </a:lnTo>
                    <a:lnTo>
                      <a:pt x="2381" y="763"/>
                    </a:lnTo>
                    <a:lnTo>
                      <a:pt x="2381" y="764"/>
                    </a:lnTo>
                    <a:lnTo>
                      <a:pt x="2382" y="766"/>
                    </a:lnTo>
                    <a:lnTo>
                      <a:pt x="2383" y="768"/>
                    </a:lnTo>
                    <a:lnTo>
                      <a:pt x="2384" y="769"/>
                    </a:lnTo>
                    <a:lnTo>
                      <a:pt x="2386" y="770"/>
                    </a:lnTo>
                    <a:lnTo>
                      <a:pt x="2387" y="769"/>
                    </a:lnTo>
                    <a:lnTo>
                      <a:pt x="2389" y="766"/>
                    </a:lnTo>
                    <a:lnTo>
                      <a:pt x="2389" y="764"/>
                    </a:lnTo>
                    <a:lnTo>
                      <a:pt x="2389" y="761"/>
                    </a:lnTo>
                    <a:lnTo>
                      <a:pt x="2391" y="761"/>
                    </a:lnTo>
                    <a:lnTo>
                      <a:pt x="2392" y="760"/>
                    </a:lnTo>
                    <a:lnTo>
                      <a:pt x="2393" y="760"/>
                    </a:lnTo>
                    <a:lnTo>
                      <a:pt x="2394" y="759"/>
                    </a:lnTo>
                    <a:lnTo>
                      <a:pt x="2396" y="756"/>
                    </a:lnTo>
                    <a:lnTo>
                      <a:pt x="2397" y="754"/>
                    </a:lnTo>
                    <a:lnTo>
                      <a:pt x="2398" y="751"/>
                    </a:lnTo>
                    <a:lnTo>
                      <a:pt x="2399" y="748"/>
                    </a:lnTo>
                    <a:lnTo>
                      <a:pt x="2399" y="746"/>
                    </a:lnTo>
                    <a:lnTo>
                      <a:pt x="2401" y="743"/>
                    </a:lnTo>
                    <a:lnTo>
                      <a:pt x="2401" y="740"/>
                    </a:lnTo>
                    <a:lnTo>
                      <a:pt x="2401" y="737"/>
                    </a:lnTo>
                    <a:lnTo>
                      <a:pt x="2401" y="735"/>
                    </a:lnTo>
                    <a:lnTo>
                      <a:pt x="2402" y="733"/>
                    </a:lnTo>
                    <a:lnTo>
                      <a:pt x="2403" y="729"/>
                    </a:lnTo>
                    <a:lnTo>
                      <a:pt x="2404" y="727"/>
                    </a:lnTo>
                    <a:lnTo>
                      <a:pt x="2404" y="723"/>
                    </a:lnTo>
                    <a:lnTo>
                      <a:pt x="2404" y="720"/>
                    </a:lnTo>
                    <a:lnTo>
                      <a:pt x="2406" y="718"/>
                    </a:lnTo>
                    <a:lnTo>
                      <a:pt x="2407" y="718"/>
                    </a:lnTo>
                    <a:lnTo>
                      <a:pt x="2407" y="719"/>
                    </a:lnTo>
                    <a:lnTo>
                      <a:pt x="2408" y="720"/>
                    </a:lnTo>
                    <a:lnTo>
                      <a:pt x="2408" y="720"/>
                    </a:lnTo>
                    <a:lnTo>
                      <a:pt x="2409" y="722"/>
                    </a:lnTo>
                    <a:lnTo>
                      <a:pt x="2409" y="723"/>
                    </a:lnTo>
                    <a:lnTo>
                      <a:pt x="2411" y="722"/>
                    </a:lnTo>
                    <a:lnTo>
                      <a:pt x="2411" y="720"/>
                    </a:lnTo>
                    <a:lnTo>
                      <a:pt x="2412" y="719"/>
                    </a:lnTo>
                    <a:lnTo>
                      <a:pt x="2413" y="718"/>
                    </a:lnTo>
                    <a:lnTo>
                      <a:pt x="2416" y="717"/>
                    </a:lnTo>
                    <a:lnTo>
                      <a:pt x="2416" y="717"/>
                    </a:lnTo>
                    <a:lnTo>
                      <a:pt x="2417" y="715"/>
                    </a:lnTo>
                    <a:lnTo>
                      <a:pt x="2418" y="715"/>
                    </a:lnTo>
                    <a:lnTo>
                      <a:pt x="2421" y="714"/>
                    </a:lnTo>
                    <a:lnTo>
                      <a:pt x="2421" y="710"/>
                    </a:lnTo>
                    <a:lnTo>
                      <a:pt x="2421" y="707"/>
                    </a:lnTo>
                    <a:lnTo>
                      <a:pt x="2423" y="704"/>
                    </a:lnTo>
                    <a:lnTo>
                      <a:pt x="2426" y="703"/>
                    </a:lnTo>
                    <a:lnTo>
                      <a:pt x="2426" y="700"/>
                    </a:lnTo>
                    <a:lnTo>
                      <a:pt x="2427" y="699"/>
                    </a:lnTo>
                    <a:lnTo>
                      <a:pt x="2426" y="697"/>
                    </a:lnTo>
                    <a:lnTo>
                      <a:pt x="2426" y="694"/>
                    </a:lnTo>
                    <a:lnTo>
                      <a:pt x="2426" y="692"/>
                    </a:lnTo>
                    <a:lnTo>
                      <a:pt x="2427" y="689"/>
                    </a:lnTo>
                    <a:lnTo>
                      <a:pt x="2428" y="686"/>
                    </a:lnTo>
                    <a:lnTo>
                      <a:pt x="2428" y="683"/>
                    </a:lnTo>
                    <a:lnTo>
                      <a:pt x="2429" y="679"/>
                    </a:lnTo>
                    <a:lnTo>
                      <a:pt x="2431" y="676"/>
                    </a:lnTo>
                    <a:lnTo>
                      <a:pt x="2432" y="671"/>
                    </a:lnTo>
                    <a:lnTo>
                      <a:pt x="2433" y="666"/>
                    </a:lnTo>
                    <a:lnTo>
                      <a:pt x="2433" y="659"/>
                    </a:lnTo>
                    <a:lnTo>
                      <a:pt x="2436" y="658"/>
                    </a:lnTo>
                    <a:lnTo>
                      <a:pt x="2439" y="657"/>
                    </a:lnTo>
                    <a:lnTo>
                      <a:pt x="2442" y="656"/>
                    </a:lnTo>
                    <a:lnTo>
                      <a:pt x="2444" y="654"/>
                    </a:lnTo>
                    <a:lnTo>
                      <a:pt x="2446" y="653"/>
                    </a:lnTo>
                    <a:lnTo>
                      <a:pt x="2447" y="653"/>
                    </a:lnTo>
                    <a:lnTo>
                      <a:pt x="2449" y="653"/>
                    </a:lnTo>
                    <a:lnTo>
                      <a:pt x="2451" y="652"/>
                    </a:lnTo>
                    <a:lnTo>
                      <a:pt x="2452" y="649"/>
                    </a:lnTo>
                    <a:lnTo>
                      <a:pt x="2453" y="647"/>
                    </a:lnTo>
                    <a:lnTo>
                      <a:pt x="2454" y="646"/>
                    </a:lnTo>
                    <a:lnTo>
                      <a:pt x="2456" y="645"/>
                    </a:lnTo>
                    <a:lnTo>
                      <a:pt x="2457" y="645"/>
                    </a:lnTo>
                    <a:lnTo>
                      <a:pt x="2459" y="645"/>
                    </a:lnTo>
                    <a:lnTo>
                      <a:pt x="2462" y="645"/>
                    </a:lnTo>
                    <a:lnTo>
                      <a:pt x="2463" y="645"/>
                    </a:lnTo>
                    <a:lnTo>
                      <a:pt x="2464" y="645"/>
                    </a:lnTo>
                    <a:lnTo>
                      <a:pt x="2464" y="645"/>
                    </a:lnTo>
                    <a:lnTo>
                      <a:pt x="2464" y="642"/>
                    </a:lnTo>
                    <a:lnTo>
                      <a:pt x="2467" y="637"/>
                    </a:lnTo>
                    <a:lnTo>
                      <a:pt x="2468" y="631"/>
                    </a:lnTo>
                    <a:lnTo>
                      <a:pt x="2468" y="626"/>
                    </a:lnTo>
                    <a:lnTo>
                      <a:pt x="2468" y="611"/>
                    </a:lnTo>
                    <a:lnTo>
                      <a:pt x="2467" y="608"/>
                    </a:lnTo>
                    <a:lnTo>
                      <a:pt x="2467" y="606"/>
                    </a:lnTo>
                    <a:lnTo>
                      <a:pt x="2465" y="602"/>
                    </a:lnTo>
                    <a:lnTo>
                      <a:pt x="2465" y="600"/>
                    </a:lnTo>
                    <a:lnTo>
                      <a:pt x="2464" y="597"/>
                    </a:lnTo>
                    <a:lnTo>
                      <a:pt x="2463" y="595"/>
                    </a:lnTo>
                    <a:lnTo>
                      <a:pt x="2463" y="592"/>
                    </a:lnTo>
                    <a:lnTo>
                      <a:pt x="2462" y="589"/>
                    </a:lnTo>
                    <a:lnTo>
                      <a:pt x="2462" y="585"/>
                    </a:lnTo>
                    <a:lnTo>
                      <a:pt x="2462" y="576"/>
                    </a:lnTo>
                    <a:lnTo>
                      <a:pt x="2460" y="574"/>
                    </a:lnTo>
                    <a:lnTo>
                      <a:pt x="2460" y="571"/>
                    </a:lnTo>
                    <a:lnTo>
                      <a:pt x="2459" y="567"/>
                    </a:lnTo>
                    <a:lnTo>
                      <a:pt x="2459" y="564"/>
                    </a:lnTo>
                    <a:lnTo>
                      <a:pt x="2459" y="555"/>
                    </a:lnTo>
                    <a:lnTo>
                      <a:pt x="2462" y="546"/>
                    </a:lnTo>
                    <a:lnTo>
                      <a:pt x="2464" y="538"/>
                    </a:lnTo>
                    <a:lnTo>
                      <a:pt x="2467" y="535"/>
                    </a:lnTo>
                    <a:lnTo>
                      <a:pt x="2468" y="534"/>
                    </a:lnTo>
                    <a:lnTo>
                      <a:pt x="2469" y="534"/>
                    </a:lnTo>
                    <a:lnTo>
                      <a:pt x="2470" y="535"/>
                    </a:lnTo>
                    <a:lnTo>
                      <a:pt x="2473" y="535"/>
                    </a:lnTo>
                    <a:lnTo>
                      <a:pt x="2474" y="533"/>
                    </a:lnTo>
                    <a:lnTo>
                      <a:pt x="2475" y="530"/>
                    </a:lnTo>
                    <a:lnTo>
                      <a:pt x="2478" y="526"/>
                    </a:lnTo>
                    <a:lnTo>
                      <a:pt x="2479" y="526"/>
                    </a:lnTo>
                    <a:lnTo>
                      <a:pt x="2479" y="528"/>
                    </a:lnTo>
                    <a:lnTo>
                      <a:pt x="2480" y="529"/>
                    </a:lnTo>
                    <a:lnTo>
                      <a:pt x="2480" y="531"/>
                    </a:lnTo>
                    <a:lnTo>
                      <a:pt x="2480" y="534"/>
                    </a:lnTo>
                    <a:lnTo>
                      <a:pt x="2480" y="536"/>
                    </a:lnTo>
                    <a:lnTo>
                      <a:pt x="2480" y="538"/>
                    </a:lnTo>
                    <a:lnTo>
                      <a:pt x="2480" y="569"/>
                    </a:lnTo>
                    <a:lnTo>
                      <a:pt x="2480" y="569"/>
                    </a:lnTo>
                    <a:lnTo>
                      <a:pt x="2479" y="570"/>
                    </a:lnTo>
                    <a:lnTo>
                      <a:pt x="2478" y="572"/>
                    </a:lnTo>
                    <a:lnTo>
                      <a:pt x="2478" y="574"/>
                    </a:lnTo>
                    <a:lnTo>
                      <a:pt x="2478" y="592"/>
                    </a:lnTo>
                    <a:lnTo>
                      <a:pt x="2478" y="596"/>
                    </a:lnTo>
                    <a:lnTo>
                      <a:pt x="2477" y="600"/>
                    </a:lnTo>
                    <a:lnTo>
                      <a:pt x="2477" y="603"/>
                    </a:lnTo>
                    <a:lnTo>
                      <a:pt x="2478" y="607"/>
                    </a:lnTo>
                    <a:lnTo>
                      <a:pt x="2478" y="613"/>
                    </a:lnTo>
                    <a:lnTo>
                      <a:pt x="2479" y="618"/>
                    </a:lnTo>
                    <a:lnTo>
                      <a:pt x="2480" y="623"/>
                    </a:lnTo>
                    <a:lnTo>
                      <a:pt x="2482" y="627"/>
                    </a:lnTo>
                    <a:lnTo>
                      <a:pt x="2483" y="632"/>
                    </a:lnTo>
                    <a:lnTo>
                      <a:pt x="2484" y="635"/>
                    </a:lnTo>
                    <a:lnTo>
                      <a:pt x="2485" y="637"/>
                    </a:lnTo>
                    <a:lnTo>
                      <a:pt x="2487" y="638"/>
                    </a:lnTo>
                    <a:lnTo>
                      <a:pt x="2489" y="638"/>
                    </a:lnTo>
                    <a:lnTo>
                      <a:pt x="2490" y="637"/>
                    </a:lnTo>
                    <a:lnTo>
                      <a:pt x="2493" y="636"/>
                    </a:lnTo>
                    <a:lnTo>
                      <a:pt x="2494" y="635"/>
                    </a:lnTo>
                    <a:lnTo>
                      <a:pt x="2495" y="633"/>
                    </a:lnTo>
                    <a:lnTo>
                      <a:pt x="2498" y="632"/>
                    </a:lnTo>
                    <a:lnTo>
                      <a:pt x="2498" y="631"/>
                    </a:lnTo>
                    <a:lnTo>
                      <a:pt x="2499" y="628"/>
                    </a:lnTo>
                    <a:lnTo>
                      <a:pt x="2499" y="627"/>
                    </a:lnTo>
                    <a:lnTo>
                      <a:pt x="2499" y="626"/>
                    </a:lnTo>
                    <a:lnTo>
                      <a:pt x="2500" y="625"/>
                    </a:lnTo>
                    <a:lnTo>
                      <a:pt x="2502" y="625"/>
                    </a:lnTo>
                    <a:lnTo>
                      <a:pt x="2503" y="625"/>
                    </a:lnTo>
                    <a:lnTo>
                      <a:pt x="2504" y="623"/>
                    </a:lnTo>
                    <a:lnTo>
                      <a:pt x="2504" y="622"/>
                    </a:lnTo>
                    <a:lnTo>
                      <a:pt x="2504" y="621"/>
                    </a:lnTo>
                    <a:lnTo>
                      <a:pt x="2505" y="620"/>
                    </a:lnTo>
                    <a:lnTo>
                      <a:pt x="2505" y="618"/>
                    </a:lnTo>
                    <a:lnTo>
                      <a:pt x="2507" y="618"/>
                    </a:lnTo>
                    <a:lnTo>
                      <a:pt x="2507" y="621"/>
                    </a:lnTo>
                    <a:lnTo>
                      <a:pt x="2507" y="623"/>
                    </a:lnTo>
                    <a:lnTo>
                      <a:pt x="2508" y="626"/>
                    </a:lnTo>
                    <a:lnTo>
                      <a:pt x="2509" y="628"/>
                    </a:lnTo>
                    <a:lnTo>
                      <a:pt x="2509" y="632"/>
                    </a:lnTo>
                    <a:lnTo>
                      <a:pt x="2509" y="636"/>
                    </a:lnTo>
                    <a:lnTo>
                      <a:pt x="2510" y="638"/>
                    </a:lnTo>
                    <a:lnTo>
                      <a:pt x="2512" y="642"/>
                    </a:lnTo>
                    <a:lnTo>
                      <a:pt x="2513" y="645"/>
                    </a:lnTo>
                    <a:lnTo>
                      <a:pt x="2514" y="645"/>
                    </a:lnTo>
                    <a:lnTo>
                      <a:pt x="2515" y="645"/>
                    </a:lnTo>
                    <a:lnTo>
                      <a:pt x="2515" y="645"/>
                    </a:lnTo>
                    <a:lnTo>
                      <a:pt x="2515" y="643"/>
                    </a:lnTo>
                    <a:lnTo>
                      <a:pt x="2515" y="641"/>
                    </a:lnTo>
                    <a:lnTo>
                      <a:pt x="2515" y="638"/>
                    </a:lnTo>
                    <a:lnTo>
                      <a:pt x="2517" y="637"/>
                    </a:lnTo>
                    <a:lnTo>
                      <a:pt x="2517" y="635"/>
                    </a:lnTo>
                    <a:lnTo>
                      <a:pt x="2517" y="633"/>
                    </a:lnTo>
                    <a:lnTo>
                      <a:pt x="2518" y="635"/>
                    </a:lnTo>
                    <a:lnTo>
                      <a:pt x="2519" y="635"/>
                    </a:lnTo>
                    <a:lnTo>
                      <a:pt x="2522" y="636"/>
                    </a:lnTo>
                    <a:lnTo>
                      <a:pt x="2523" y="636"/>
                    </a:lnTo>
                    <a:lnTo>
                      <a:pt x="2524" y="636"/>
                    </a:lnTo>
                    <a:lnTo>
                      <a:pt x="2525" y="633"/>
                    </a:lnTo>
                    <a:lnTo>
                      <a:pt x="2527" y="631"/>
                    </a:lnTo>
                    <a:lnTo>
                      <a:pt x="2527" y="630"/>
                    </a:lnTo>
                    <a:lnTo>
                      <a:pt x="2528" y="628"/>
                    </a:lnTo>
                    <a:lnTo>
                      <a:pt x="2529" y="627"/>
                    </a:lnTo>
                    <a:lnTo>
                      <a:pt x="2530" y="626"/>
                    </a:lnTo>
                    <a:lnTo>
                      <a:pt x="2531" y="623"/>
                    </a:lnTo>
                    <a:lnTo>
                      <a:pt x="2533" y="622"/>
                    </a:lnTo>
                    <a:lnTo>
                      <a:pt x="2533" y="620"/>
                    </a:lnTo>
                    <a:lnTo>
                      <a:pt x="2534" y="618"/>
                    </a:lnTo>
                    <a:lnTo>
                      <a:pt x="2535" y="616"/>
                    </a:lnTo>
                    <a:lnTo>
                      <a:pt x="2538" y="613"/>
                    </a:lnTo>
                    <a:lnTo>
                      <a:pt x="2539" y="611"/>
                    </a:lnTo>
                    <a:lnTo>
                      <a:pt x="2541" y="608"/>
                    </a:lnTo>
                    <a:lnTo>
                      <a:pt x="2543" y="607"/>
                    </a:lnTo>
                    <a:lnTo>
                      <a:pt x="2544" y="608"/>
                    </a:lnTo>
                    <a:lnTo>
                      <a:pt x="2544" y="608"/>
                    </a:lnTo>
                    <a:lnTo>
                      <a:pt x="2545" y="608"/>
                    </a:lnTo>
                    <a:lnTo>
                      <a:pt x="2545" y="611"/>
                    </a:lnTo>
                    <a:lnTo>
                      <a:pt x="2546" y="611"/>
                    </a:lnTo>
                    <a:lnTo>
                      <a:pt x="2548" y="612"/>
                    </a:lnTo>
                    <a:lnTo>
                      <a:pt x="2548" y="613"/>
                    </a:lnTo>
                    <a:lnTo>
                      <a:pt x="2549" y="616"/>
                    </a:lnTo>
                    <a:lnTo>
                      <a:pt x="2550" y="617"/>
                    </a:lnTo>
                    <a:lnTo>
                      <a:pt x="2550" y="620"/>
                    </a:lnTo>
                    <a:lnTo>
                      <a:pt x="2551" y="621"/>
                    </a:lnTo>
                    <a:lnTo>
                      <a:pt x="2553" y="623"/>
                    </a:lnTo>
                    <a:lnTo>
                      <a:pt x="2554" y="623"/>
                    </a:lnTo>
                    <a:lnTo>
                      <a:pt x="2555" y="623"/>
                    </a:lnTo>
                    <a:lnTo>
                      <a:pt x="2556" y="621"/>
                    </a:lnTo>
                    <a:lnTo>
                      <a:pt x="2556" y="620"/>
                    </a:lnTo>
                    <a:lnTo>
                      <a:pt x="2558" y="617"/>
                    </a:lnTo>
                    <a:lnTo>
                      <a:pt x="2558" y="615"/>
                    </a:lnTo>
                    <a:lnTo>
                      <a:pt x="2559" y="612"/>
                    </a:lnTo>
                    <a:lnTo>
                      <a:pt x="2560" y="611"/>
                    </a:lnTo>
                    <a:lnTo>
                      <a:pt x="2561" y="611"/>
                    </a:lnTo>
                    <a:lnTo>
                      <a:pt x="2565" y="606"/>
                    </a:lnTo>
                    <a:lnTo>
                      <a:pt x="2568" y="597"/>
                    </a:lnTo>
                    <a:lnTo>
                      <a:pt x="2566" y="590"/>
                    </a:lnTo>
                    <a:lnTo>
                      <a:pt x="2565" y="586"/>
                    </a:lnTo>
                    <a:lnTo>
                      <a:pt x="2565" y="582"/>
                    </a:lnTo>
                    <a:lnTo>
                      <a:pt x="2566" y="577"/>
                    </a:lnTo>
                    <a:lnTo>
                      <a:pt x="2566" y="574"/>
                    </a:lnTo>
                    <a:lnTo>
                      <a:pt x="2566" y="559"/>
                    </a:lnTo>
                    <a:lnTo>
                      <a:pt x="2568" y="552"/>
                    </a:lnTo>
                    <a:lnTo>
                      <a:pt x="2569" y="547"/>
                    </a:lnTo>
                    <a:lnTo>
                      <a:pt x="2569" y="543"/>
                    </a:lnTo>
                    <a:lnTo>
                      <a:pt x="2569" y="539"/>
                    </a:lnTo>
                    <a:lnTo>
                      <a:pt x="2569" y="536"/>
                    </a:lnTo>
                    <a:lnTo>
                      <a:pt x="2570" y="535"/>
                    </a:lnTo>
                    <a:lnTo>
                      <a:pt x="2570" y="534"/>
                    </a:lnTo>
                    <a:lnTo>
                      <a:pt x="2571" y="533"/>
                    </a:lnTo>
                    <a:lnTo>
                      <a:pt x="2574" y="531"/>
                    </a:lnTo>
                    <a:lnTo>
                      <a:pt x="2575" y="530"/>
                    </a:lnTo>
                    <a:lnTo>
                      <a:pt x="2576" y="531"/>
                    </a:lnTo>
                    <a:lnTo>
                      <a:pt x="2578" y="534"/>
                    </a:lnTo>
                    <a:lnTo>
                      <a:pt x="2579" y="536"/>
                    </a:lnTo>
                    <a:lnTo>
                      <a:pt x="2580" y="539"/>
                    </a:lnTo>
                    <a:lnTo>
                      <a:pt x="2583" y="543"/>
                    </a:lnTo>
                    <a:lnTo>
                      <a:pt x="2584" y="545"/>
                    </a:lnTo>
                    <a:lnTo>
                      <a:pt x="2585" y="547"/>
                    </a:lnTo>
                    <a:lnTo>
                      <a:pt x="2586" y="550"/>
                    </a:lnTo>
                    <a:lnTo>
                      <a:pt x="2588" y="550"/>
                    </a:lnTo>
                    <a:lnTo>
                      <a:pt x="2589" y="550"/>
                    </a:lnTo>
                    <a:lnTo>
                      <a:pt x="2589" y="549"/>
                    </a:lnTo>
                    <a:lnTo>
                      <a:pt x="2590" y="546"/>
                    </a:lnTo>
                    <a:lnTo>
                      <a:pt x="2590" y="543"/>
                    </a:lnTo>
                    <a:lnTo>
                      <a:pt x="2591" y="535"/>
                    </a:lnTo>
                    <a:lnTo>
                      <a:pt x="2591" y="526"/>
                    </a:lnTo>
                    <a:lnTo>
                      <a:pt x="2590" y="516"/>
                    </a:lnTo>
                    <a:lnTo>
                      <a:pt x="2589" y="515"/>
                    </a:lnTo>
                    <a:lnTo>
                      <a:pt x="2589" y="514"/>
                    </a:lnTo>
                    <a:lnTo>
                      <a:pt x="2588" y="515"/>
                    </a:lnTo>
                    <a:lnTo>
                      <a:pt x="2586" y="515"/>
                    </a:lnTo>
                    <a:lnTo>
                      <a:pt x="2586" y="516"/>
                    </a:lnTo>
                    <a:lnTo>
                      <a:pt x="2585" y="516"/>
                    </a:lnTo>
                    <a:lnTo>
                      <a:pt x="2583" y="518"/>
                    </a:lnTo>
                    <a:lnTo>
                      <a:pt x="2580" y="519"/>
                    </a:lnTo>
                    <a:lnTo>
                      <a:pt x="2576" y="518"/>
                    </a:lnTo>
                    <a:lnTo>
                      <a:pt x="2575" y="516"/>
                    </a:lnTo>
                    <a:lnTo>
                      <a:pt x="2573" y="514"/>
                    </a:lnTo>
                    <a:lnTo>
                      <a:pt x="2571" y="510"/>
                    </a:lnTo>
                    <a:lnTo>
                      <a:pt x="2571" y="506"/>
                    </a:lnTo>
                    <a:lnTo>
                      <a:pt x="2573" y="503"/>
                    </a:lnTo>
                    <a:lnTo>
                      <a:pt x="2575" y="498"/>
                    </a:lnTo>
                    <a:lnTo>
                      <a:pt x="2574" y="497"/>
                    </a:lnTo>
                    <a:lnTo>
                      <a:pt x="2574" y="493"/>
                    </a:lnTo>
                    <a:lnTo>
                      <a:pt x="2574" y="489"/>
                    </a:lnTo>
                    <a:lnTo>
                      <a:pt x="2575" y="485"/>
                    </a:lnTo>
                    <a:lnTo>
                      <a:pt x="2575" y="483"/>
                    </a:lnTo>
                    <a:lnTo>
                      <a:pt x="2575" y="483"/>
                    </a:lnTo>
                    <a:lnTo>
                      <a:pt x="2576" y="483"/>
                    </a:lnTo>
                    <a:lnTo>
                      <a:pt x="2578" y="483"/>
                    </a:lnTo>
                    <a:lnTo>
                      <a:pt x="2579" y="484"/>
                    </a:lnTo>
                    <a:lnTo>
                      <a:pt x="2580" y="485"/>
                    </a:lnTo>
                    <a:lnTo>
                      <a:pt x="2583" y="484"/>
                    </a:lnTo>
                    <a:lnTo>
                      <a:pt x="2584" y="483"/>
                    </a:lnTo>
                    <a:lnTo>
                      <a:pt x="2585" y="480"/>
                    </a:lnTo>
                    <a:lnTo>
                      <a:pt x="2586" y="478"/>
                    </a:lnTo>
                    <a:lnTo>
                      <a:pt x="2588" y="475"/>
                    </a:lnTo>
                    <a:lnTo>
                      <a:pt x="2589" y="475"/>
                    </a:lnTo>
                    <a:lnTo>
                      <a:pt x="2590" y="475"/>
                    </a:lnTo>
                    <a:lnTo>
                      <a:pt x="2593" y="475"/>
                    </a:lnTo>
                    <a:lnTo>
                      <a:pt x="2595" y="474"/>
                    </a:lnTo>
                    <a:lnTo>
                      <a:pt x="2598" y="473"/>
                    </a:lnTo>
                    <a:lnTo>
                      <a:pt x="2600" y="472"/>
                    </a:lnTo>
                    <a:lnTo>
                      <a:pt x="2602" y="474"/>
                    </a:lnTo>
                    <a:lnTo>
                      <a:pt x="2604" y="475"/>
                    </a:lnTo>
                    <a:lnTo>
                      <a:pt x="2605" y="477"/>
                    </a:lnTo>
                    <a:lnTo>
                      <a:pt x="2606" y="478"/>
                    </a:lnTo>
                    <a:lnTo>
                      <a:pt x="2607" y="479"/>
                    </a:lnTo>
                    <a:lnTo>
                      <a:pt x="2610" y="478"/>
                    </a:lnTo>
                    <a:lnTo>
                      <a:pt x="2610" y="477"/>
                    </a:lnTo>
                    <a:lnTo>
                      <a:pt x="2611" y="475"/>
                    </a:lnTo>
                    <a:lnTo>
                      <a:pt x="2612" y="473"/>
                    </a:lnTo>
                    <a:lnTo>
                      <a:pt x="2614" y="472"/>
                    </a:lnTo>
                    <a:lnTo>
                      <a:pt x="2615" y="472"/>
                    </a:lnTo>
                    <a:lnTo>
                      <a:pt x="2616" y="469"/>
                    </a:lnTo>
                    <a:lnTo>
                      <a:pt x="2617" y="468"/>
                    </a:lnTo>
                    <a:lnTo>
                      <a:pt x="2619" y="468"/>
                    </a:lnTo>
                    <a:lnTo>
                      <a:pt x="2620" y="468"/>
                    </a:lnTo>
                    <a:lnTo>
                      <a:pt x="2621" y="468"/>
                    </a:lnTo>
                    <a:lnTo>
                      <a:pt x="2622" y="469"/>
                    </a:lnTo>
                    <a:lnTo>
                      <a:pt x="2624" y="469"/>
                    </a:lnTo>
                    <a:lnTo>
                      <a:pt x="2625" y="469"/>
                    </a:lnTo>
                    <a:lnTo>
                      <a:pt x="2625" y="469"/>
                    </a:lnTo>
                    <a:lnTo>
                      <a:pt x="2626" y="468"/>
                    </a:lnTo>
                    <a:lnTo>
                      <a:pt x="2626" y="467"/>
                    </a:lnTo>
                    <a:lnTo>
                      <a:pt x="2626" y="464"/>
                    </a:lnTo>
                    <a:lnTo>
                      <a:pt x="2626" y="463"/>
                    </a:lnTo>
                    <a:lnTo>
                      <a:pt x="2625" y="462"/>
                    </a:lnTo>
                    <a:lnTo>
                      <a:pt x="2625" y="462"/>
                    </a:lnTo>
                    <a:lnTo>
                      <a:pt x="2624" y="462"/>
                    </a:lnTo>
                    <a:lnTo>
                      <a:pt x="2622" y="462"/>
                    </a:lnTo>
                    <a:lnTo>
                      <a:pt x="2622" y="460"/>
                    </a:lnTo>
                    <a:lnTo>
                      <a:pt x="2621" y="458"/>
                    </a:lnTo>
                    <a:lnTo>
                      <a:pt x="2620" y="457"/>
                    </a:lnTo>
                    <a:lnTo>
                      <a:pt x="2619" y="457"/>
                    </a:lnTo>
                    <a:lnTo>
                      <a:pt x="2617" y="454"/>
                    </a:lnTo>
                    <a:lnTo>
                      <a:pt x="2617" y="454"/>
                    </a:lnTo>
                    <a:lnTo>
                      <a:pt x="2616" y="454"/>
                    </a:lnTo>
                    <a:lnTo>
                      <a:pt x="2616" y="457"/>
                    </a:lnTo>
                    <a:lnTo>
                      <a:pt x="2616" y="459"/>
                    </a:lnTo>
                    <a:lnTo>
                      <a:pt x="2614" y="460"/>
                    </a:lnTo>
                    <a:lnTo>
                      <a:pt x="2611" y="462"/>
                    </a:lnTo>
                    <a:lnTo>
                      <a:pt x="2611" y="462"/>
                    </a:lnTo>
                    <a:lnTo>
                      <a:pt x="2609" y="462"/>
                    </a:lnTo>
                    <a:lnTo>
                      <a:pt x="2606" y="462"/>
                    </a:lnTo>
                    <a:lnTo>
                      <a:pt x="2602" y="460"/>
                    </a:lnTo>
                    <a:lnTo>
                      <a:pt x="2600" y="459"/>
                    </a:lnTo>
                    <a:lnTo>
                      <a:pt x="2598" y="460"/>
                    </a:lnTo>
                    <a:lnTo>
                      <a:pt x="2595" y="462"/>
                    </a:lnTo>
                    <a:lnTo>
                      <a:pt x="2593" y="462"/>
                    </a:lnTo>
                    <a:lnTo>
                      <a:pt x="2591" y="460"/>
                    </a:lnTo>
                    <a:lnTo>
                      <a:pt x="2591" y="459"/>
                    </a:lnTo>
                    <a:lnTo>
                      <a:pt x="2590" y="457"/>
                    </a:lnTo>
                    <a:lnTo>
                      <a:pt x="2590" y="457"/>
                    </a:lnTo>
                    <a:lnTo>
                      <a:pt x="2589" y="455"/>
                    </a:lnTo>
                    <a:lnTo>
                      <a:pt x="2588" y="457"/>
                    </a:lnTo>
                    <a:lnTo>
                      <a:pt x="2586" y="457"/>
                    </a:lnTo>
                    <a:lnTo>
                      <a:pt x="2585" y="459"/>
                    </a:lnTo>
                    <a:lnTo>
                      <a:pt x="2585" y="460"/>
                    </a:lnTo>
                    <a:lnTo>
                      <a:pt x="2584" y="463"/>
                    </a:lnTo>
                    <a:lnTo>
                      <a:pt x="2583" y="464"/>
                    </a:lnTo>
                    <a:lnTo>
                      <a:pt x="2580" y="467"/>
                    </a:lnTo>
                    <a:lnTo>
                      <a:pt x="2578" y="467"/>
                    </a:lnTo>
                    <a:lnTo>
                      <a:pt x="2575" y="467"/>
                    </a:lnTo>
                    <a:lnTo>
                      <a:pt x="2574" y="469"/>
                    </a:lnTo>
                    <a:lnTo>
                      <a:pt x="2571" y="472"/>
                    </a:lnTo>
                    <a:lnTo>
                      <a:pt x="2569" y="472"/>
                    </a:lnTo>
                    <a:lnTo>
                      <a:pt x="2569" y="467"/>
                    </a:lnTo>
                    <a:lnTo>
                      <a:pt x="2570" y="467"/>
                    </a:lnTo>
                    <a:lnTo>
                      <a:pt x="2570" y="467"/>
                    </a:lnTo>
                    <a:lnTo>
                      <a:pt x="2571" y="465"/>
                    </a:lnTo>
                    <a:lnTo>
                      <a:pt x="2571" y="464"/>
                    </a:lnTo>
                    <a:lnTo>
                      <a:pt x="2574" y="464"/>
                    </a:lnTo>
                    <a:lnTo>
                      <a:pt x="2574" y="463"/>
                    </a:lnTo>
                    <a:lnTo>
                      <a:pt x="2574" y="460"/>
                    </a:lnTo>
                    <a:lnTo>
                      <a:pt x="2571" y="457"/>
                    </a:lnTo>
                    <a:lnTo>
                      <a:pt x="2571" y="453"/>
                    </a:lnTo>
                    <a:lnTo>
                      <a:pt x="2570" y="450"/>
                    </a:lnTo>
                    <a:lnTo>
                      <a:pt x="2569" y="448"/>
                    </a:lnTo>
                    <a:lnTo>
                      <a:pt x="2568" y="446"/>
                    </a:lnTo>
                    <a:lnTo>
                      <a:pt x="2565" y="443"/>
                    </a:lnTo>
                    <a:lnTo>
                      <a:pt x="2564" y="441"/>
                    </a:lnTo>
                    <a:lnTo>
                      <a:pt x="2564" y="441"/>
                    </a:lnTo>
                    <a:lnTo>
                      <a:pt x="2563" y="439"/>
                    </a:lnTo>
                    <a:lnTo>
                      <a:pt x="2563" y="437"/>
                    </a:lnTo>
                    <a:lnTo>
                      <a:pt x="2561" y="436"/>
                    </a:lnTo>
                    <a:lnTo>
                      <a:pt x="2560" y="433"/>
                    </a:lnTo>
                    <a:lnTo>
                      <a:pt x="2559" y="433"/>
                    </a:lnTo>
                    <a:lnTo>
                      <a:pt x="2559" y="431"/>
                    </a:lnTo>
                    <a:lnTo>
                      <a:pt x="2558" y="428"/>
                    </a:lnTo>
                    <a:lnTo>
                      <a:pt x="2556" y="424"/>
                    </a:lnTo>
                    <a:lnTo>
                      <a:pt x="2556" y="421"/>
                    </a:lnTo>
                    <a:lnTo>
                      <a:pt x="2556" y="417"/>
                    </a:lnTo>
                    <a:lnTo>
                      <a:pt x="2558" y="414"/>
                    </a:lnTo>
                    <a:lnTo>
                      <a:pt x="2558" y="412"/>
                    </a:lnTo>
                    <a:lnTo>
                      <a:pt x="2559" y="408"/>
                    </a:lnTo>
                    <a:lnTo>
                      <a:pt x="2559" y="404"/>
                    </a:lnTo>
                    <a:lnTo>
                      <a:pt x="2558" y="393"/>
                    </a:lnTo>
                    <a:lnTo>
                      <a:pt x="2556" y="381"/>
                    </a:lnTo>
                    <a:lnTo>
                      <a:pt x="2556" y="357"/>
                    </a:lnTo>
                    <a:lnTo>
                      <a:pt x="2564" y="350"/>
                    </a:lnTo>
                    <a:lnTo>
                      <a:pt x="2565" y="347"/>
                    </a:lnTo>
                    <a:lnTo>
                      <a:pt x="2566" y="345"/>
                    </a:lnTo>
                    <a:lnTo>
                      <a:pt x="2566" y="341"/>
                    </a:lnTo>
                    <a:lnTo>
                      <a:pt x="2568" y="337"/>
                    </a:lnTo>
                    <a:lnTo>
                      <a:pt x="2569" y="334"/>
                    </a:lnTo>
                    <a:lnTo>
                      <a:pt x="2570" y="329"/>
                    </a:lnTo>
                    <a:lnTo>
                      <a:pt x="2571" y="324"/>
                    </a:lnTo>
                    <a:lnTo>
                      <a:pt x="2571" y="319"/>
                    </a:lnTo>
                    <a:lnTo>
                      <a:pt x="2574" y="314"/>
                    </a:lnTo>
                    <a:lnTo>
                      <a:pt x="2574" y="310"/>
                    </a:lnTo>
                    <a:lnTo>
                      <a:pt x="2574" y="306"/>
                    </a:lnTo>
                    <a:lnTo>
                      <a:pt x="2575" y="303"/>
                    </a:lnTo>
                    <a:lnTo>
                      <a:pt x="2578" y="300"/>
                    </a:lnTo>
                    <a:lnTo>
                      <a:pt x="2579" y="298"/>
                    </a:lnTo>
                    <a:lnTo>
                      <a:pt x="2580" y="295"/>
                    </a:lnTo>
                    <a:lnTo>
                      <a:pt x="2580" y="285"/>
                    </a:lnTo>
                    <a:lnTo>
                      <a:pt x="2576" y="275"/>
                    </a:lnTo>
                    <a:lnTo>
                      <a:pt x="2571" y="266"/>
                    </a:lnTo>
                    <a:lnTo>
                      <a:pt x="2569" y="264"/>
                    </a:lnTo>
                    <a:lnTo>
                      <a:pt x="2566" y="261"/>
                    </a:lnTo>
                    <a:lnTo>
                      <a:pt x="2564" y="261"/>
                    </a:lnTo>
                    <a:lnTo>
                      <a:pt x="2563" y="260"/>
                    </a:lnTo>
                    <a:lnTo>
                      <a:pt x="2560" y="260"/>
                    </a:lnTo>
                    <a:lnTo>
                      <a:pt x="2558" y="260"/>
                    </a:lnTo>
                    <a:lnTo>
                      <a:pt x="2556" y="261"/>
                    </a:lnTo>
                    <a:lnTo>
                      <a:pt x="2554" y="260"/>
                    </a:lnTo>
                    <a:lnTo>
                      <a:pt x="2554" y="260"/>
                    </a:lnTo>
                    <a:lnTo>
                      <a:pt x="2553" y="261"/>
                    </a:lnTo>
                    <a:lnTo>
                      <a:pt x="2553" y="263"/>
                    </a:lnTo>
                    <a:lnTo>
                      <a:pt x="2553" y="265"/>
                    </a:lnTo>
                    <a:lnTo>
                      <a:pt x="2554" y="266"/>
                    </a:lnTo>
                    <a:lnTo>
                      <a:pt x="2554" y="269"/>
                    </a:lnTo>
                    <a:lnTo>
                      <a:pt x="2553" y="270"/>
                    </a:lnTo>
                    <a:lnTo>
                      <a:pt x="2553" y="270"/>
                    </a:lnTo>
                    <a:lnTo>
                      <a:pt x="2551" y="270"/>
                    </a:lnTo>
                    <a:lnTo>
                      <a:pt x="2550" y="271"/>
                    </a:lnTo>
                    <a:lnTo>
                      <a:pt x="2549" y="273"/>
                    </a:lnTo>
                    <a:lnTo>
                      <a:pt x="2549" y="274"/>
                    </a:lnTo>
                    <a:lnTo>
                      <a:pt x="2548" y="285"/>
                    </a:lnTo>
                    <a:lnTo>
                      <a:pt x="2550" y="296"/>
                    </a:lnTo>
                    <a:lnTo>
                      <a:pt x="2551" y="307"/>
                    </a:lnTo>
                    <a:lnTo>
                      <a:pt x="2551" y="317"/>
                    </a:lnTo>
                    <a:lnTo>
                      <a:pt x="2549" y="324"/>
                    </a:lnTo>
                    <a:lnTo>
                      <a:pt x="2545" y="329"/>
                    </a:lnTo>
                    <a:lnTo>
                      <a:pt x="2545" y="334"/>
                    </a:lnTo>
                    <a:lnTo>
                      <a:pt x="2543" y="339"/>
                    </a:lnTo>
                    <a:lnTo>
                      <a:pt x="2540" y="342"/>
                    </a:lnTo>
                    <a:lnTo>
                      <a:pt x="2538" y="345"/>
                    </a:lnTo>
                    <a:lnTo>
                      <a:pt x="2535" y="349"/>
                    </a:lnTo>
                    <a:lnTo>
                      <a:pt x="2533" y="352"/>
                    </a:lnTo>
                    <a:lnTo>
                      <a:pt x="2529" y="360"/>
                    </a:lnTo>
                    <a:lnTo>
                      <a:pt x="2527" y="368"/>
                    </a:lnTo>
                    <a:lnTo>
                      <a:pt x="2528" y="378"/>
                    </a:lnTo>
                    <a:lnTo>
                      <a:pt x="2528" y="386"/>
                    </a:lnTo>
                    <a:lnTo>
                      <a:pt x="2529" y="392"/>
                    </a:lnTo>
                    <a:lnTo>
                      <a:pt x="2528" y="400"/>
                    </a:lnTo>
                    <a:lnTo>
                      <a:pt x="2528" y="402"/>
                    </a:lnTo>
                    <a:lnTo>
                      <a:pt x="2527" y="404"/>
                    </a:lnTo>
                    <a:lnTo>
                      <a:pt x="2527" y="408"/>
                    </a:lnTo>
                    <a:lnTo>
                      <a:pt x="2528" y="412"/>
                    </a:lnTo>
                    <a:lnTo>
                      <a:pt x="2528" y="418"/>
                    </a:lnTo>
                    <a:lnTo>
                      <a:pt x="2528" y="423"/>
                    </a:lnTo>
                    <a:lnTo>
                      <a:pt x="2530" y="428"/>
                    </a:lnTo>
                    <a:lnTo>
                      <a:pt x="2530" y="431"/>
                    </a:lnTo>
                    <a:lnTo>
                      <a:pt x="2531" y="432"/>
                    </a:lnTo>
                    <a:lnTo>
                      <a:pt x="2533" y="434"/>
                    </a:lnTo>
                    <a:lnTo>
                      <a:pt x="2534" y="436"/>
                    </a:lnTo>
                    <a:lnTo>
                      <a:pt x="2535" y="438"/>
                    </a:lnTo>
                    <a:lnTo>
                      <a:pt x="2535" y="441"/>
                    </a:lnTo>
                    <a:lnTo>
                      <a:pt x="2536" y="443"/>
                    </a:lnTo>
                    <a:lnTo>
                      <a:pt x="2538" y="447"/>
                    </a:lnTo>
                    <a:lnTo>
                      <a:pt x="2538" y="447"/>
                    </a:lnTo>
                    <a:lnTo>
                      <a:pt x="2538" y="447"/>
                    </a:lnTo>
                    <a:lnTo>
                      <a:pt x="2539" y="447"/>
                    </a:lnTo>
                    <a:lnTo>
                      <a:pt x="2540" y="449"/>
                    </a:lnTo>
                    <a:lnTo>
                      <a:pt x="2541" y="450"/>
                    </a:lnTo>
                    <a:lnTo>
                      <a:pt x="2543" y="454"/>
                    </a:lnTo>
                    <a:lnTo>
                      <a:pt x="2543" y="458"/>
                    </a:lnTo>
                    <a:lnTo>
                      <a:pt x="2543" y="462"/>
                    </a:lnTo>
                    <a:lnTo>
                      <a:pt x="2543" y="464"/>
                    </a:lnTo>
                    <a:lnTo>
                      <a:pt x="2543" y="472"/>
                    </a:lnTo>
                    <a:lnTo>
                      <a:pt x="2543" y="479"/>
                    </a:lnTo>
                    <a:lnTo>
                      <a:pt x="2541" y="487"/>
                    </a:lnTo>
                    <a:lnTo>
                      <a:pt x="2538" y="490"/>
                    </a:lnTo>
                    <a:lnTo>
                      <a:pt x="2534" y="495"/>
                    </a:lnTo>
                    <a:lnTo>
                      <a:pt x="2530" y="504"/>
                    </a:lnTo>
                    <a:lnTo>
                      <a:pt x="2530" y="514"/>
                    </a:lnTo>
                    <a:lnTo>
                      <a:pt x="2531" y="518"/>
                    </a:lnTo>
                    <a:lnTo>
                      <a:pt x="2531" y="521"/>
                    </a:lnTo>
                    <a:lnTo>
                      <a:pt x="2531" y="525"/>
                    </a:lnTo>
                    <a:lnTo>
                      <a:pt x="2530" y="529"/>
                    </a:lnTo>
                    <a:lnTo>
                      <a:pt x="2530" y="533"/>
                    </a:lnTo>
                    <a:lnTo>
                      <a:pt x="2530" y="535"/>
                    </a:lnTo>
                    <a:lnTo>
                      <a:pt x="2531" y="539"/>
                    </a:lnTo>
                    <a:lnTo>
                      <a:pt x="2533" y="540"/>
                    </a:lnTo>
                    <a:lnTo>
                      <a:pt x="2533" y="543"/>
                    </a:lnTo>
                    <a:lnTo>
                      <a:pt x="2534" y="546"/>
                    </a:lnTo>
                    <a:lnTo>
                      <a:pt x="2534" y="550"/>
                    </a:lnTo>
                    <a:lnTo>
                      <a:pt x="2533" y="555"/>
                    </a:lnTo>
                    <a:lnTo>
                      <a:pt x="2533" y="559"/>
                    </a:lnTo>
                    <a:lnTo>
                      <a:pt x="2530" y="564"/>
                    </a:lnTo>
                    <a:lnTo>
                      <a:pt x="2529" y="569"/>
                    </a:lnTo>
                    <a:lnTo>
                      <a:pt x="2528" y="574"/>
                    </a:lnTo>
                    <a:lnTo>
                      <a:pt x="2527" y="577"/>
                    </a:lnTo>
                    <a:lnTo>
                      <a:pt x="2525" y="577"/>
                    </a:lnTo>
                    <a:lnTo>
                      <a:pt x="2524" y="577"/>
                    </a:lnTo>
                    <a:lnTo>
                      <a:pt x="2523" y="577"/>
                    </a:lnTo>
                    <a:lnTo>
                      <a:pt x="2520" y="576"/>
                    </a:lnTo>
                    <a:lnTo>
                      <a:pt x="2519" y="575"/>
                    </a:lnTo>
                    <a:lnTo>
                      <a:pt x="2518" y="575"/>
                    </a:lnTo>
                    <a:lnTo>
                      <a:pt x="2517" y="576"/>
                    </a:lnTo>
                    <a:lnTo>
                      <a:pt x="2515" y="580"/>
                    </a:lnTo>
                    <a:lnTo>
                      <a:pt x="2514" y="584"/>
                    </a:lnTo>
                    <a:lnTo>
                      <a:pt x="2513" y="587"/>
                    </a:lnTo>
                    <a:lnTo>
                      <a:pt x="2512" y="590"/>
                    </a:lnTo>
                    <a:lnTo>
                      <a:pt x="2510" y="591"/>
                    </a:lnTo>
                    <a:lnTo>
                      <a:pt x="2508" y="591"/>
                    </a:lnTo>
                    <a:lnTo>
                      <a:pt x="2505" y="591"/>
                    </a:lnTo>
                    <a:lnTo>
                      <a:pt x="2504" y="592"/>
                    </a:lnTo>
                    <a:lnTo>
                      <a:pt x="2502" y="598"/>
                    </a:lnTo>
                    <a:lnTo>
                      <a:pt x="2500" y="606"/>
                    </a:lnTo>
                    <a:lnTo>
                      <a:pt x="2497" y="613"/>
                    </a:lnTo>
                    <a:lnTo>
                      <a:pt x="2495" y="613"/>
                    </a:lnTo>
                    <a:lnTo>
                      <a:pt x="2493" y="613"/>
                    </a:lnTo>
                    <a:lnTo>
                      <a:pt x="2492" y="612"/>
                    </a:lnTo>
                    <a:lnTo>
                      <a:pt x="2489" y="612"/>
                    </a:lnTo>
                    <a:lnTo>
                      <a:pt x="2487" y="611"/>
                    </a:lnTo>
                    <a:lnTo>
                      <a:pt x="2485" y="610"/>
                    </a:lnTo>
                    <a:lnTo>
                      <a:pt x="2484" y="608"/>
                    </a:lnTo>
                    <a:lnTo>
                      <a:pt x="2484" y="606"/>
                    </a:lnTo>
                    <a:lnTo>
                      <a:pt x="2485" y="602"/>
                    </a:lnTo>
                    <a:lnTo>
                      <a:pt x="2487" y="601"/>
                    </a:lnTo>
                    <a:lnTo>
                      <a:pt x="2487" y="598"/>
                    </a:lnTo>
                    <a:lnTo>
                      <a:pt x="2488" y="595"/>
                    </a:lnTo>
                    <a:lnTo>
                      <a:pt x="2488" y="592"/>
                    </a:lnTo>
                    <a:lnTo>
                      <a:pt x="2488" y="579"/>
                    </a:lnTo>
                    <a:lnTo>
                      <a:pt x="2488" y="576"/>
                    </a:lnTo>
                    <a:lnTo>
                      <a:pt x="2489" y="575"/>
                    </a:lnTo>
                    <a:lnTo>
                      <a:pt x="2489" y="575"/>
                    </a:lnTo>
                    <a:lnTo>
                      <a:pt x="2490" y="575"/>
                    </a:lnTo>
                    <a:lnTo>
                      <a:pt x="2492" y="575"/>
                    </a:lnTo>
                    <a:lnTo>
                      <a:pt x="2493" y="575"/>
                    </a:lnTo>
                    <a:lnTo>
                      <a:pt x="2494" y="574"/>
                    </a:lnTo>
                    <a:lnTo>
                      <a:pt x="2495" y="574"/>
                    </a:lnTo>
                    <a:lnTo>
                      <a:pt x="2497" y="571"/>
                    </a:lnTo>
                    <a:lnTo>
                      <a:pt x="2498" y="569"/>
                    </a:lnTo>
                    <a:lnTo>
                      <a:pt x="2499" y="566"/>
                    </a:lnTo>
                    <a:lnTo>
                      <a:pt x="2499" y="560"/>
                    </a:lnTo>
                    <a:lnTo>
                      <a:pt x="2498" y="551"/>
                    </a:lnTo>
                    <a:lnTo>
                      <a:pt x="2495" y="544"/>
                    </a:lnTo>
                    <a:lnTo>
                      <a:pt x="2494" y="538"/>
                    </a:lnTo>
                    <a:lnTo>
                      <a:pt x="2493" y="535"/>
                    </a:lnTo>
                    <a:lnTo>
                      <a:pt x="2492" y="531"/>
                    </a:lnTo>
                    <a:lnTo>
                      <a:pt x="2490" y="529"/>
                    </a:lnTo>
                    <a:lnTo>
                      <a:pt x="2488" y="524"/>
                    </a:lnTo>
                    <a:lnTo>
                      <a:pt x="2489" y="519"/>
                    </a:lnTo>
                    <a:lnTo>
                      <a:pt x="2492" y="515"/>
                    </a:lnTo>
                    <a:lnTo>
                      <a:pt x="2494" y="511"/>
                    </a:lnTo>
                    <a:lnTo>
                      <a:pt x="2495" y="508"/>
                    </a:lnTo>
                    <a:lnTo>
                      <a:pt x="2498" y="504"/>
                    </a:lnTo>
                    <a:lnTo>
                      <a:pt x="2500" y="500"/>
                    </a:lnTo>
                    <a:lnTo>
                      <a:pt x="2502" y="498"/>
                    </a:lnTo>
                    <a:lnTo>
                      <a:pt x="2504" y="493"/>
                    </a:lnTo>
                    <a:lnTo>
                      <a:pt x="2504" y="490"/>
                    </a:lnTo>
                    <a:lnTo>
                      <a:pt x="2503" y="488"/>
                    </a:lnTo>
                    <a:lnTo>
                      <a:pt x="2502" y="485"/>
                    </a:lnTo>
                    <a:lnTo>
                      <a:pt x="2500" y="485"/>
                    </a:lnTo>
                    <a:lnTo>
                      <a:pt x="2499" y="487"/>
                    </a:lnTo>
                    <a:lnTo>
                      <a:pt x="2499" y="489"/>
                    </a:lnTo>
                    <a:lnTo>
                      <a:pt x="2499" y="490"/>
                    </a:lnTo>
                    <a:lnTo>
                      <a:pt x="2497" y="495"/>
                    </a:lnTo>
                    <a:lnTo>
                      <a:pt x="2495" y="499"/>
                    </a:lnTo>
                    <a:lnTo>
                      <a:pt x="2493" y="503"/>
                    </a:lnTo>
                    <a:lnTo>
                      <a:pt x="2490" y="506"/>
                    </a:lnTo>
                    <a:lnTo>
                      <a:pt x="2489" y="508"/>
                    </a:lnTo>
                    <a:lnTo>
                      <a:pt x="2488" y="508"/>
                    </a:lnTo>
                    <a:lnTo>
                      <a:pt x="2487" y="508"/>
                    </a:lnTo>
                    <a:lnTo>
                      <a:pt x="2487" y="506"/>
                    </a:lnTo>
                    <a:lnTo>
                      <a:pt x="2485" y="504"/>
                    </a:lnTo>
                    <a:lnTo>
                      <a:pt x="2485" y="501"/>
                    </a:lnTo>
                    <a:lnTo>
                      <a:pt x="2484" y="498"/>
                    </a:lnTo>
                    <a:lnTo>
                      <a:pt x="2484" y="494"/>
                    </a:lnTo>
                    <a:lnTo>
                      <a:pt x="2483" y="490"/>
                    </a:lnTo>
                    <a:lnTo>
                      <a:pt x="2483" y="483"/>
                    </a:lnTo>
                    <a:lnTo>
                      <a:pt x="2483" y="474"/>
                    </a:lnTo>
                    <a:lnTo>
                      <a:pt x="2482" y="467"/>
                    </a:lnTo>
                    <a:lnTo>
                      <a:pt x="2478" y="462"/>
                    </a:lnTo>
                    <a:lnTo>
                      <a:pt x="2477" y="462"/>
                    </a:lnTo>
                    <a:lnTo>
                      <a:pt x="2477" y="462"/>
                    </a:lnTo>
                    <a:lnTo>
                      <a:pt x="2477" y="463"/>
                    </a:lnTo>
                    <a:lnTo>
                      <a:pt x="2477" y="465"/>
                    </a:lnTo>
                    <a:lnTo>
                      <a:pt x="2478" y="468"/>
                    </a:lnTo>
                    <a:lnTo>
                      <a:pt x="2478" y="470"/>
                    </a:lnTo>
                    <a:lnTo>
                      <a:pt x="2478" y="472"/>
                    </a:lnTo>
                    <a:lnTo>
                      <a:pt x="2478" y="475"/>
                    </a:lnTo>
                    <a:lnTo>
                      <a:pt x="2478" y="477"/>
                    </a:lnTo>
                    <a:lnTo>
                      <a:pt x="2477" y="478"/>
                    </a:lnTo>
                    <a:lnTo>
                      <a:pt x="2475" y="480"/>
                    </a:lnTo>
                    <a:lnTo>
                      <a:pt x="2474" y="482"/>
                    </a:lnTo>
                    <a:lnTo>
                      <a:pt x="2473" y="484"/>
                    </a:lnTo>
                    <a:lnTo>
                      <a:pt x="2472" y="487"/>
                    </a:lnTo>
                    <a:lnTo>
                      <a:pt x="2470" y="490"/>
                    </a:lnTo>
                    <a:lnTo>
                      <a:pt x="2469" y="495"/>
                    </a:lnTo>
                    <a:lnTo>
                      <a:pt x="2467" y="500"/>
                    </a:lnTo>
                    <a:lnTo>
                      <a:pt x="2464" y="504"/>
                    </a:lnTo>
                    <a:lnTo>
                      <a:pt x="2463" y="504"/>
                    </a:lnTo>
                    <a:lnTo>
                      <a:pt x="2462" y="504"/>
                    </a:lnTo>
                    <a:lnTo>
                      <a:pt x="2462" y="505"/>
                    </a:lnTo>
                    <a:lnTo>
                      <a:pt x="2459" y="506"/>
                    </a:lnTo>
                    <a:lnTo>
                      <a:pt x="2457" y="509"/>
                    </a:lnTo>
                    <a:lnTo>
                      <a:pt x="2456" y="510"/>
                    </a:lnTo>
                    <a:lnTo>
                      <a:pt x="2453" y="510"/>
                    </a:lnTo>
                    <a:lnTo>
                      <a:pt x="2451" y="510"/>
                    </a:lnTo>
                    <a:lnTo>
                      <a:pt x="2447" y="509"/>
                    </a:lnTo>
                    <a:lnTo>
                      <a:pt x="2444" y="506"/>
                    </a:lnTo>
                    <a:lnTo>
                      <a:pt x="2442" y="504"/>
                    </a:lnTo>
                    <a:lnTo>
                      <a:pt x="2438" y="504"/>
                    </a:lnTo>
                    <a:lnTo>
                      <a:pt x="2438" y="503"/>
                    </a:lnTo>
                    <a:lnTo>
                      <a:pt x="2437" y="501"/>
                    </a:lnTo>
                    <a:lnTo>
                      <a:pt x="2436" y="500"/>
                    </a:lnTo>
                    <a:lnTo>
                      <a:pt x="2433" y="498"/>
                    </a:lnTo>
                    <a:lnTo>
                      <a:pt x="2434" y="484"/>
                    </a:lnTo>
                    <a:lnTo>
                      <a:pt x="2436" y="472"/>
                    </a:lnTo>
                    <a:lnTo>
                      <a:pt x="2434" y="467"/>
                    </a:lnTo>
                    <a:lnTo>
                      <a:pt x="2433" y="463"/>
                    </a:lnTo>
                    <a:lnTo>
                      <a:pt x="2431" y="458"/>
                    </a:lnTo>
                    <a:lnTo>
                      <a:pt x="2431" y="452"/>
                    </a:lnTo>
                    <a:lnTo>
                      <a:pt x="2431" y="448"/>
                    </a:lnTo>
                    <a:lnTo>
                      <a:pt x="2431" y="443"/>
                    </a:lnTo>
                    <a:lnTo>
                      <a:pt x="2431" y="439"/>
                    </a:lnTo>
                    <a:lnTo>
                      <a:pt x="2429" y="436"/>
                    </a:lnTo>
                    <a:lnTo>
                      <a:pt x="2428" y="433"/>
                    </a:lnTo>
                    <a:lnTo>
                      <a:pt x="2427" y="432"/>
                    </a:lnTo>
                    <a:lnTo>
                      <a:pt x="2424" y="432"/>
                    </a:lnTo>
                    <a:lnTo>
                      <a:pt x="2422" y="433"/>
                    </a:lnTo>
                    <a:lnTo>
                      <a:pt x="2421" y="433"/>
                    </a:lnTo>
                    <a:lnTo>
                      <a:pt x="2418" y="432"/>
                    </a:lnTo>
                    <a:lnTo>
                      <a:pt x="2417" y="431"/>
                    </a:lnTo>
                    <a:lnTo>
                      <a:pt x="2414" y="428"/>
                    </a:lnTo>
                    <a:lnTo>
                      <a:pt x="2412" y="427"/>
                    </a:lnTo>
                    <a:lnTo>
                      <a:pt x="2411" y="423"/>
                    </a:lnTo>
                    <a:lnTo>
                      <a:pt x="2409" y="421"/>
                    </a:lnTo>
                    <a:lnTo>
                      <a:pt x="2413" y="421"/>
                    </a:lnTo>
                    <a:lnTo>
                      <a:pt x="2416" y="422"/>
                    </a:lnTo>
                    <a:lnTo>
                      <a:pt x="2418" y="423"/>
                    </a:lnTo>
                    <a:lnTo>
                      <a:pt x="2421" y="424"/>
                    </a:lnTo>
                    <a:lnTo>
                      <a:pt x="2423" y="424"/>
                    </a:lnTo>
                    <a:lnTo>
                      <a:pt x="2426" y="423"/>
                    </a:lnTo>
                    <a:lnTo>
                      <a:pt x="2427" y="419"/>
                    </a:lnTo>
                    <a:lnTo>
                      <a:pt x="2426" y="413"/>
                    </a:lnTo>
                    <a:lnTo>
                      <a:pt x="2424" y="407"/>
                    </a:lnTo>
                    <a:lnTo>
                      <a:pt x="2423" y="402"/>
                    </a:lnTo>
                    <a:lnTo>
                      <a:pt x="2423" y="368"/>
                    </a:lnTo>
                    <a:lnTo>
                      <a:pt x="2423" y="366"/>
                    </a:lnTo>
                    <a:lnTo>
                      <a:pt x="2423" y="365"/>
                    </a:lnTo>
                    <a:lnTo>
                      <a:pt x="2423" y="365"/>
                    </a:lnTo>
                    <a:lnTo>
                      <a:pt x="2424" y="365"/>
                    </a:lnTo>
                    <a:lnTo>
                      <a:pt x="2426" y="366"/>
                    </a:lnTo>
                    <a:lnTo>
                      <a:pt x="2427" y="365"/>
                    </a:lnTo>
                    <a:lnTo>
                      <a:pt x="2428" y="363"/>
                    </a:lnTo>
                    <a:lnTo>
                      <a:pt x="2428" y="361"/>
                    </a:lnTo>
                    <a:lnTo>
                      <a:pt x="2429" y="360"/>
                    </a:lnTo>
                    <a:lnTo>
                      <a:pt x="2431" y="357"/>
                    </a:lnTo>
                    <a:lnTo>
                      <a:pt x="2436" y="346"/>
                    </a:lnTo>
                    <a:lnTo>
                      <a:pt x="2442" y="336"/>
                    </a:lnTo>
                    <a:lnTo>
                      <a:pt x="2444" y="336"/>
                    </a:lnTo>
                    <a:lnTo>
                      <a:pt x="2447" y="336"/>
                    </a:lnTo>
                    <a:lnTo>
                      <a:pt x="2449" y="334"/>
                    </a:lnTo>
                    <a:lnTo>
                      <a:pt x="2449" y="334"/>
                    </a:lnTo>
                    <a:lnTo>
                      <a:pt x="2449" y="331"/>
                    </a:lnTo>
                    <a:lnTo>
                      <a:pt x="2451" y="327"/>
                    </a:lnTo>
                    <a:lnTo>
                      <a:pt x="2452" y="324"/>
                    </a:lnTo>
                    <a:lnTo>
                      <a:pt x="2453" y="320"/>
                    </a:lnTo>
                    <a:lnTo>
                      <a:pt x="2454" y="316"/>
                    </a:lnTo>
                    <a:lnTo>
                      <a:pt x="2457" y="311"/>
                    </a:lnTo>
                    <a:lnTo>
                      <a:pt x="2459" y="305"/>
                    </a:lnTo>
                    <a:lnTo>
                      <a:pt x="2459" y="303"/>
                    </a:lnTo>
                    <a:lnTo>
                      <a:pt x="2460" y="300"/>
                    </a:lnTo>
                    <a:lnTo>
                      <a:pt x="2460" y="298"/>
                    </a:lnTo>
                    <a:lnTo>
                      <a:pt x="2462" y="295"/>
                    </a:lnTo>
                    <a:lnTo>
                      <a:pt x="2463" y="293"/>
                    </a:lnTo>
                    <a:lnTo>
                      <a:pt x="2463" y="291"/>
                    </a:lnTo>
                    <a:lnTo>
                      <a:pt x="2464" y="290"/>
                    </a:lnTo>
                    <a:lnTo>
                      <a:pt x="2465" y="289"/>
                    </a:lnTo>
                    <a:lnTo>
                      <a:pt x="2468" y="288"/>
                    </a:lnTo>
                    <a:lnTo>
                      <a:pt x="2469" y="280"/>
                    </a:lnTo>
                    <a:lnTo>
                      <a:pt x="2470" y="273"/>
                    </a:lnTo>
                    <a:lnTo>
                      <a:pt x="2473" y="264"/>
                    </a:lnTo>
                    <a:lnTo>
                      <a:pt x="2473" y="250"/>
                    </a:lnTo>
                    <a:lnTo>
                      <a:pt x="2473" y="248"/>
                    </a:lnTo>
                    <a:lnTo>
                      <a:pt x="2474" y="244"/>
                    </a:lnTo>
                    <a:lnTo>
                      <a:pt x="2475" y="243"/>
                    </a:lnTo>
                    <a:lnTo>
                      <a:pt x="2475" y="240"/>
                    </a:lnTo>
                    <a:lnTo>
                      <a:pt x="2477" y="239"/>
                    </a:lnTo>
                    <a:lnTo>
                      <a:pt x="2477" y="237"/>
                    </a:lnTo>
                    <a:lnTo>
                      <a:pt x="2475" y="234"/>
                    </a:lnTo>
                    <a:lnTo>
                      <a:pt x="2475" y="232"/>
                    </a:lnTo>
                    <a:lnTo>
                      <a:pt x="2475" y="230"/>
                    </a:lnTo>
                    <a:lnTo>
                      <a:pt x="2474" y="227"/>
                    </a:lnTo>
                    <a:lnTo>
                      <a:pt x="2474" y="224"/>
                    </a:lnTo>
                    <a:lnTo>
                      <a:pt x="2474" y="223"/>
                    </a:lnTo>
                    <a:lnTo>
                      <a:pt x="2475" y="220"/>
                    </a:lnTo>
                    <a:lnTo>
                      <a:pt x="2475" y="219"/>
                    </a:lnTo>
                    <a:lnTo>
                      <a:pt x="2475" y="212"/>
                    </a:lnTo>
                    <a:lnTo>
                      <a:pt x="2475" y="210"/>
                    </a:lnTo>
                    <a:lnTo>
                      <a:pt x="2477" y="210"/>
                    </a:lnTo>
                    <a:lnTo>
                      <a:pt x="2477" y="210"/>
                    </a:lnTo>
                    <a:lnTo>
                      <a:pt x="2478" y="210"/>
                    </a:lnTo>
                    <a:lnTo>
                      <a:pt x="2478" y="209"/>
                    </a:lnTo>
                    <a:lnTo>
                      <a:pt x="2478" y="198"/>
                    </a:lnTo>
                    <a:lnTo>
                      <a:pt x="2479" y="197"/>
                    </a:lnTo>
                    <a:lnTo>
                      <a:pt x="2480" y="196"/>
                    </a:lnTo>
                    <a:lnTo>
                      <a:pt x="2482" y="196"/>
                    </a:lnTo>
                    <a:lnTo>
                      <a:pt x="2483" y="193"/>
                    </a:lnTo>
                    <a:lnTo>
                      <a:pt x="2483" y="173"/>
                    </a:lnTo>
                    <a:lnTo>
                      <a:pt x="2482" y="169"/>
                    </a:lnTo>
                    <a:lnTo>
                      <a:pt x="2482" y="168"/>
                    </a:lnTo>
                    <a:lnTo>
                      <a:pt x="2480" y="167"/>
                    </a:lnTo>
                    <a:lnTo>
                      <a:pt x="2480" y="166"/>
                    </a:lnTo>
                    <a:lnTo>
                      <a:pt x="2480" y="164"/>
                    </a:lnTo>
                    <a:lnTo>
                      <a:pt x="2479" y="163"/>
                    </a:lnTo>
                    <a:lnTo>
                      <a:pt x="2479" y="161"/>
                    </a:lnTo>
                    <a:lnTo>
                      <a:pt x="2480" y="159"/>
                    </a:lnTo>
                    <a:lnTo>
                      <a:pt x="2480" y="157"/>
                    </a:lnTo>
                    <a:lnTo>
                      <a:pt x="2482" y="151"/>
                    </a:lnTo>
                    <a:lnTo>
                      <a:pt x="2482" y="143"/>
                    </a:lnTo>
                    <a:lnTo>
                      <a:pt x="2480" y="136"/>
                    </a:lnTo>
                    <a:lnTo>
                      <a:pt x="2482" y="137"/>
                    </a:lnTo>
                    <a:lnTo>
                      <a:pt x="2483" y="138"/>
                    </a:lnTo>
                    <a:lnTo>
                      <a:pt x="2483" y="138"/>
                    </a:lnTo>
                    <a:lnTo>
                      <a:pt x="2483" y="138"/>
                    </a:lnTo>
                    <a:lnTo>
                      <a:pt x="2483" y="137"/>
                    </a:lnTo>
                    <a:lnTo>
                      <a:pt x="2483" y="133"/>
                    </a:lnTo>
                    <a:lnTo>
                      <a:pt x="2483" y="133"/>
                    </a:lnTo>
                    <a:lnTo>
                      <a:pt x="2484" y="133"/>
                    </a:lnTo>
                    <a:lnTo>
                      <a:pt x="2484" y="136"/>
                    </a:lnTo>
                    <a:lnTo>
                      <a:pt x="2485" y="137"/>
                    </a:lnTo>
                    <a:lnTo>
                      <a:pt x="2485" y="140"/>
                    </a:lnTo>
                    <a:lnTo>
                      <a:pt x="2485" y="141"/>
                    </a:lnTo>
                    <a:lnTo>
                      <a:pt x="2485" y="143"/>
                    </a:lnTo>
                    <a:lnTo>
                      <a:pt x="2487" y="145"/>
                    </a:lnTo>
                    <a:lnTo>
                      <a:pt x="2488" y="145"/>
                    </a:lnTo>
                    <a:lnTo>
                      <a:pt x="2488" y="145"/>
                    </a:lnTo>
                    <a:lnTo>
                      <a:pt x="2488" y="143"/>
                    </a:lnTo>
                    <a:lnTo>
                      <a:pt x="2488" y="136"/>
                    </a:lnTo>
                    <a:lnTo>
                      <a:pt x="2489" y="135"/>
                    </a:lnTo>
                    <a:lnTo>
                      <a:pt x="2489" y="135"/>
                    </a:lnTo>
                    <a:lnTo>
                      <a:pt x="2490" y="135"/>
                    </a:lnTo>
                    <a:lnTo>
                      <a:pt x="2492" y="136"/>
                    </a:lnTo>
                    <a:lnTo>
                      <a:pt x="2493" y="136"/>
                    </a:lnTo>
                    <a:lnTo>
                      <a:pt x="2493" y="137"/>
                    </a:lnTo>
                    <a:lnTo>
                      <a:pt x="2494" y="136"/>
                    </a:lnTo>
                    <a:lnTo>
                      <a:pt x="2493" y="135"/>
                    </a:lnTo>
                    <a:lnTo>
                      <a:pt x="2493" y="132"/>
                    </a:lnTo>
                    <a:lnTo>
                      <a:pt x="2493" y="128"/>
                    </a:lnTo>
                    <a:lnTo>
                      <a:pt x="2492" y="126"/>
                    </a:lnTo>
                    <a:lnTo>
                      <a:pt x="2492" y="123"/>
                    </a:lnTo>
                    <a:lnTo>
                      <a:pt x="2492" y="121"/>
                    </a:lnTo>
                    <a:lnTo>
                      <a:pt x="2490" y="121"/>
                    </a:lnTo>
                    <a:lnTo>
                      <a:pt x="2492" y="121"/>
                    </a:lnTo>
                    <a:lnTo>
                      <a:pt x="2493" y="122"/>
                    </a:lnTo>
                    <a:lnTo>
                      <a:pt x="2494" y="123"/>
                    </a:lnTo>
                    <a:lnTo>
                      <a:pt x="2495" y="123"/>
                    </a:lnTo>
                    <a:lnTo>
                      <a:pt x="2495" y="123"/>
                    </a:lnTo>
                    <a:lnTo>
                      <a:pt x="2495" y="123"/>
                    </a:lnTo>
                    <a:lnTo>
                      <a:pt x="2497" y="121"/>
                    </a:lnTo>
                    <a:lnTo>
                      <a:pt x="2497" y="118"/>
                    </a:lnTo>
                    <a:lnTo>
                      <a:pt x="2495" y="117"/>
                    </a:lnTo>
                    <a:lnTo>
                      <a:pt x="2495" y="115"/>
                    </a:lnTo>
                    <a:lnTo>
                      <a:pt x="2495" y="112"/>
                    </a:lnTo>
                    <a:lnTo>
                      <a:pt x="2495" y="111"/>
                    </a:lnTo>
                    <a:lnTo>
                      <a:pt x="2495" y="110"/>
                    </a:lnTo>
                    <a:lnTo>
                      <a:pt x="2497" y="110"/>
                    </a:lnTo>
                    <a:lnTo>
                      <a:pt x="2498" y="111"/>
                    </a:lnTo>
                    <a:lnTo>
                      <a:pt x="2498" y="111"/>
                    </a:lnTo>
                    <a:lnTo>
                      <a:pt x="2498" y="112"/>
                    </a:lnTo>
                    <a:lnTo>
                      <a:pt x="2499" y="112"/>
                    </a:lnTo>
                    <a:lnTo>
                      <a:pt x="2499" y="112"/>
                    </a:lnTo>
                    <a:lnTo>
                      <a:pt x="2499" y="110"/>
                    </a:lnTo>
                    <a:lnTo>
                      <a:pt x="2499" y="97"/>
                    </a:lnTo>
                    <a:lnTo>
                      <a:pt x="2498" y="95"/>
                    </a:lnTo>
                    <a:lnTo>
                      <a:pt x="2498" y="92"/>
                    </a:lnTo>
                    <a:lnTo>
                      <a:pt x="2497" y="89"/>
                    </a:lnTo>
                    <a:lnTo>
                      <a:pt x="2497" y="86"/>
                    </a:lnTo>
                    <a:lnTo>
                      <a:pt x="2497" y="86"/>
                    </a:lnTo>
                    <a:lnTo>
                      <a:pt x="2497" y="86"/>
                    </a:lnTo>
                    <a:lnTo>
                      <a:pt x="2498" y="87"/>
                    </a:lnTo>
                    <a:lnTo>
                      <a:pt x="2499" y="90"/>
                    </a:lnTo>
                    <a:lnTo>
                      <a:pt x="2500" y="91"/>
                    </a:lnTo>
                    <a:lnTo>
                      <a:pt x="2502" y="94"/>
                    </a:lnTo>
                    <a:lnTo>
                      <a:pt x="2502" y="95"/>
                    </a:lnTo>
                    <a:lnTo>
                      <a:pt x="2503" y="96"/>
                    </a:lnTo>
                    <a:lnTo>
                      <a:pt x="2504" y="97"/>
                    </a:lnTo>
                    <a:lnTo>
                      <a:pt x="2504" y="97"/>
                    </a:lnTo>
                    <a:lnTo>
                      <a:pt x="2504" y="96"/>
                    </a:lnTo>
                    <a:lnTo>
                      <a:pt x="2504" y="94"/>
                    </a:lnTo>
                    <a:lnTo>
                      <a:pt x="2504" y="92"/>
                    </a:lnTo>
                    <a:lnTo>
                      <a:pt x="2504" y="90"/>
                    </a:lnTo>
                    <a:lnTo>
                      <a:pt x="2504" y="89"/>
                    </a:lnTo>
                    <a:lnTo>
                      <a:pt x="2505" y="89"/>
                    </a:lnTo>
                    <a:lnTo>
                      <a:pt x="2507" y="89"/>
                    </a:lnTo>
                    <a:lnTo>
                      <a:pt x="2508" y="90"/>
                    </a:lnTo>
                    <a:lnTo>
                      <a:pt x="2509" y="91"/>
                    </a:lnTo>
                    <a:lnTo>
                      <a:pt x="2509" y="92"/>
                    </a:lnTo>
                    <a:lnTo>
                      <a:pt x="2510" y="94"/>
                    </a:lnTo>
                    <a:lnTo>
                      <a:pt x="2512" y="94"/>
                    </a:lnTo>
                    <a:lnTo>
                      <a:pt x="2512" y="94"/>
                    </a:lnTo>
                    <a:lnTo>
                      <a:pt x="2512" y="92"/>
                    </a:lnTo>
                    <a:lnTo>
                      <a:pt x="2512" y="91"/>
                    </a:lnTo>
                    <a:lnTo>
                      <a:pt x="2512" y="89"/>
                    </a:lnTo>
                    <a:lnTo>
                      <a:pt x="2512" y="87"/>
                    </a:lnTo>
                    <a:lnTo>
                      <a:pt x="2513" y="86"/>
                    </a:lnTo>
                    <a:lnTo>
                      <a:pt x="2513" y="85"/>
                    </a:lnTo>
                    <a:lnTo>
                      <a:pt x="2514" y="84"/>
                    </a:lnTo>
                    <a:lnTo>
                      <a:pt x="2515" y="85"/>
                    </a:lnTo>
                    <a:lnTo>
                      <a:pt x="2515" y="87"/>
                    </a:lnTo>
                    <a:lnTo>
                      <a:pt x="2517" y="89"/>
                    </a:lnTo>
                    <a:lnTo>
                      <a:pt x="2518" y="90"/>
                    </a:lnTo>
                    <a:lnTo>
                      <a:pt x="2519" y="91"/>
                    </a:lnTo>
                    <a:lnTo>
                      <a:pt x="2519" y="91"/>
                    </a:lnTo>
                    <a:lnTo>
                      <a:pt x="2519" y="89"/>
                    </a:lnTo>
                    <a:lnTo>
                      <a:pt x="2519" y="87"/>
                    </a:lnTo>
                    <a:lnTo>
                      <a:pt x="2520" y="86"/>
                    </a:lnTo>
                    <a:lnTo>
                      <a:pt x="2520" y="86"/>
                    </a:lnTo>
                    <a:lnTo>
                      <a:pt x="2522" y="86"/>
                    </a:lnTo>
                    <a:lnTo>
                      <a:pt x="2523" y="86"/>
                    </a:lnTo>
                    <a:lnTo>
                      <a:pt x="2524" y="89"/>
                    </a:lnTo>
                    <a:lnTo>
                      <a:pt x="2525" y="90"/>
                    </a:lnTo>
                    <a:lnTo>
                      <a:pt x="2525" y="91"/>
                    </a:lnTo>
                    <a:lnTo>
                      <a:pt x="2527" y="92"/>
                    </a:lnTo>
                    <a:lnTo>
                      <a:pt x="2528" y="92"/>
                    </a:lnTo>
                    <a:lnTo>
                      <a:pt x="2528" y="92"/>
                    </a:lnTo>
                    <a:lnTo>
                      <a:pt x="2529" y="90"/>
                    </a:lnTo>
                    <a:lnTo>
                      <a:pt x="2529" y="89"/>
                    </a:lnTo>
                    <a:lnTo>
                      <a:pt x="2529" y="87"/>
                    </a:lnTo>
                    <a:lnTo>
                      <a:pt x="2529" y="87"/>
                    </a:lnTo>
                    <a:lnTo>
                      <a:pt x="2530" y="86"/>
                    </a:lnTo>
                    <a:lnTo>
                      <a:pt x="2531" y="86"/>
                    </a:lnTo>
                    <a:lnTo>
                      <a:pt x="2533" y="85"/>
                    </a:lnTo>
                    <a:lnTo>
                      <a:pt x="2533" y="82"/>
                    </a:lnTo>
                    <a:lnTo>
                      <a:pt x="2533" y="79"/>
                    </a:lnTo>
                    <a:lnTo>
                      <a:pt x="2531" y="77"/>
                    </a:lnTo>
                    <a:lnTo>
                      <a:pt x="2531" y="76"/>
                    </a:lnTo>
                    <a:lnTo>
                      <a:pt x="2531" y="75"/>
                    </a:lnTo>
                    <a:lnTo>
                      <a:pt x="2533" y="75"/>
                    </a:lnTo>
                    <a:lnTo>
                      <a:pt x="2533" y="76"/>
                    </a:lnTo>
                    <a:lnTo>
                      <a:pt x="2534" y="79"/>
                    </a:lnTo>
                    <a:lnTo>
                      <a:pt x="2535" y="80"/>
                    </a:lnTo>
                    <a:lnTo>
                      <a:pt x="2536" y="80"/>
                    </a:lnTo>
                    <a:lnTo>
                      <a:pt x="2538" y="79"/>
                    </a:lnTo>
                    <a:lnTo>
                      <a:pt x="2538" y="76"/>
                    </a:lnTo>
                    <a:lnTo>
                      <a:pt x="2538" y="66"/>
                    </a:lnTo>
                    <a:lnTo>
                      <a:pt x="2539" y="65"/>
                    </a:lnTo>
                    <a:lnTo>
                      <a:pt x="2540" y="64"/>
                    </a:lnTo>
                    <a:lnTo>
                      <a:pt x="2540" y="62"/>
                    </a:lnTo>
                    <a:lnTo>
                      <a:pt x="2541" y="62"/>
                    </a:lnTo>
                    <a:lnTo>
                      <a:pt x="2541" y="64"/>
                    </a:lnTo>
                    <a:lnTo>
                      <a:pt x="2543" y="66"/>
                    </a:lnTo>
                    <a:lnTo>
                      <a:pt x="2543" y="67"/>
                    </a:lnTo>
                    <a:lnTo>
                      <a:pt x="2544" y="69"/>
                    </a:lnTo>
                    <a:lnTo>
                      <a:pt x="2544" y="70"/>
                    </a:lnTo>
                    <a:lnTo>
                      <a:pt x="2545" y="71"/>
                    </a:lnTo>
                    <a:lnTo>
                      <a:pt x="2545" y="71"/>
                    </a:lnTo>
                    <a:lnTo>
                      <a:pt x="2545" y="71"/>
                    </a:lnTo>
                    <a:lnTo>
                      <a:pt x="2545" y="70"/>
                    </a:lnTo>
                    <a:lnTo>
                      <a:pt x="2546" y="69"/>
                    </a:lnTo>
                    <a:lnTo>
                      <a:pt x="2546" y="67"/>
                    </a:lnTo>
                    <a:lnTo>
                      <a:pt x="2546" y="66"/>
                    </a:lnTo>
                    <a:lnTo>
                      <a:pt x="2548" y="65"/>
                    </a:lnTo>
                    <a:lnTo>
                      <a:pt x="2549" y="66"/>
                    </a:lnTo>
                    <a:lnTo>
                      <a:pt x="2549" y="66"/>
                    </a:lnTo>
                    <a:lnTo>
                      <a:pt x="2550" y="67"/>
                    </a:lnTo>
                    <a:lnTo>
                      <a:pt x="2551" y="67"/>
                    </a:lnTo>
                    <a:lnTo>
                      <a:pt x="2553" y="69"/>
                    </a:lnTo>
                    <a:lnTo>
                      <a:pt x="2553" y="69"/>
                    </a:lnTo>
                    <a:lnTo>
                      <a:pt x="2554" y="69"/>
                    </a:lnTo>
                    <a:lnTo>
                      <a:pt x="2554" y="66"/>
                    </a:lnTo>
                    <a:lnTo>
                      <a:pt x="2554" y="66"/>
                    </a:lnTo>
                    <a:lnTo>
                      <a:pt x="2555" y="66"/>
                    </a:lnTo>
                    <a:lnTo>
                      <a:pt x="2555" y="67"/>
                    </a:lnTo>
                    <a:lnTo>
                      <a:pt x="2556" y="67"/>
                    </a:lnTo>
                    <a:lnTo>
                      <a:pt x="2556" y="69"/>
                    </a:lnTo>
                    <a:lnTo>
                      <a:pt x="2561" y="69"/>
                    </a:lnTo>
                    <a:lnTo>
                      <a:pt x="2563" y="67"/>
                    </a:lnTo>
                    <a:lnTo>
                      <a:pt x="2563" y="66"/>
                    </a:lnTo>
                    <a:lnTo>
                      <a:pt x="2563" y="65"/>
                    </a:lnTo>
                    <a:lnTo>
                      <a:pt x="2561" y="64"/>
                    </a:lnTo>
                    <a:lnTo>
                      <a:pt x="2561" y="64"/>
                    </a:lnTo>
                    <a:lnTo>
                      <a:pt x="2564" y="64"/>
                    </a:lnTo>
                    <a:lnTo>
                      <a:pt x="2565" y="66"/>
                    </a:lnTo>
                    <a:lnTo>
                      <a:pt x="2566" y="69"/>
                    </a:lnTo>
                    <a:lnTo>
                      <a:pt x="2566" y="71"/>
                    </a:lnTo>
                    <a:lnTo>
                      <a:pt x="2569" y="72"/>
                    </a:lnTo>
                    <a:lnTo>
                      <a:pt x="2570" y="74"/>
                    </a:lnTo>
                    <a:lnTo>
                      <a:pt x="2571" y="75"/>
                    </a:lnTo>
                    <a:lnTo>
                      <a:pt x="2571" y="76"/>
                    </a:lnTo>
                    <a:lnTo>
                      <a:pt x="2574" y="76"/>
                    </a:lnTo>
                    <a:lnTo>
                      <a:pt x="2574" y="77"/>
                    </a:lnTo>
                    <a:lnTo>
                      <a:pt x="2574" y="80"/>
                    </a:lnTo>
                    <a:lnTo>
                      <a:pt x="2575" y="81"/>
                    </a:lnTo>
                    <a:lnTo>
                      <a:pt x="2576" y="82"/>
                    </a:lnTo>
                    <a:lnTo>
                      <a:pt x="2578" y="82"/>
                    </a:lnTo>
                    <a:lnTo>
                      <a:pt x="2579" y="82"/>
                    </a:lnTo>
                    <a:lnTo>
                      <a:pt x="2579" y="82"/>
                    </a:lnTo>
                    <a:lnTo>
                      <a:pt x="2580" y="84"/>
                    </a:lnTo>
                    <a:lnTo>
                      <a:pt x="2581" y="87"/>
                    </a:lnTo>
                    <a:lnTo>
                      <a:pt x="2583" y="90"/>
                    </a:lnTo>
                    <a:lnTo>
                      <a:pt x="2584" y="91"/>
                    </a:lnTo>
                    <a:lnTo>
                      <a:pt x="2585" y="92"/>
                    </a:lnTo>
                    <a:lnTo>
                      <a:pt x="2588" y="95"/>
                    </a:lnTo>
                    <a:lnTo>
                      <a:pt x="2589" y="97"/>
                    </a:lnTo>
                    <a:lnTo>
                      <a:pt x="2590" y="100"/>
                    </a:lnTo>
                    <a:lnTo>
                      <a:pt x="2591" y="101"/>
                    </a:lnTo>
                    <a:lnTo>
                      <a:pt x="2593" y="102"/>
                    </a:lnTo>
                    <a:lnTo>
                      <a:pt x="2594" y="105"/>
                    </a:lnTo>
                    <a:lnTo>
                      <a:pt x="2594" y="106"/>
                    </a:lnTo>
                    <a:lnTo>
                      <a:pt x="2594" y="107"/>
                    </a:lnTo>
                    <a:lnTo>
                      <a:pt x="2593" y="107"/>
                    </a:lnTo>
                    <a:lnTo>
                      <a:pt x="2593" y="108"/>
                    </a:lnTo>
                    <a:lnTo>
                      <a:pt x="2591" y="108"/>
                    </a:lnTo>
                    <a:lnTo>
                      <a:pt x="2590" y="108"/>
                    </a:lnTo>
                    <a:lnTo>
                      <a:pt x="2589" y="108"/>
                    </a:lnTo>
                    <a:lnTo>
                      <a:pt x="2588" y="110"/>
                    </a:lnTo>
                    <a:lnTo>
                      <a:pt x="2588" y="112"/>
                    </a:lnTo>
                    <a:lnTo>
                      <a:pt x="2589" y="115"/>
                    </a:lnTo>
                    <a:lnTo>
                      <a:pt x="2589" y="120"/>
                    </a:lnTo>
                    <a:lnTo>
                      <a:pt x="2590" y="123"/>
                    </a:lnTo>
                    <a:lnTo>
                      <a:pt x="2591" y="126"/>
                    </a:lnTo>
                    <a:lnTo>
                      <a:pt x="2593" y="128"/>
                    </a:lnTo>
                    <a:lnTo>
                      <a:pt x="2594" y="131"/>
                    </a:lnTo>
                    <a:lnTo>
                      <a:pt x="2595" y="132"/>
                    </a:lnTo>
                    <a:lnTo>
                      <a:pt x="2596" y="133"/>
                    </a:lnTo>
                    <a:lnTo>
                      <a:pt x="2598" y="135"/>
                    </a:lnTo>
                    <a:lnTo>
                      <a:pt x="2598" y="136"/>
                    </a:lnTo>
                    <a:lnTo>
                      <a:pt x="2600" y="138"/>
                    </a:lnTo>
                    <a:lnTo>
                      <a:pt x="2604" y="140"/>
                    </a:lnTo>
                    <a:lnTo>
                      <a:pt x="2606" y="141"/>
                    </a:lnTo>
                    <a:lnTo>
                      <a:pt x="2607" y="143"/>
                    </a:lnTo>
                    <a:lnTo>
                      <a:pt x="2610" y="146"/>
                    </a:lnTo>
                    <a:lnTo>
                      <a:pt x="2611" y="148"/>
                    </a:lnTo>
                    <a:lnTo>
                      <a:pt x="2612" y="148"/>
                    </a:lnTo>
                    <a:lnTo>
                      <a:pt x="2614" y="150"/>
                    </a:lnTo>
                    <a:lnTo>
                      <a:pt x="2614" y="150"/>
                    </a:lnTo>
                    <a:lnTo>
                      <a:pt x="2612" y="148"/>
                    </a:lnTo>
                    <a:lnTo>
                      <a:pt x="2612" y="147"/>
                    </a:lnTo>
                    <a:lnTo>
                      <a:pt x="2612" y="146"/>
                    </a:lnTo>
                    <a:lnTo>
                      <a:pt x="2612" y="145"/>
                    </a:lnTo>
                    <a:lnTo>
                      <a:pt x="2614" y="143"/>
                    </a:lnTo>
                    <a:lnTo>
                      <a:pt x="2615" y="146"/>
                    </a:lnTo>
                    <a:lnTo>
                      <a:pt x="2616" y="147"/>
                    </a:lnTo>
                    <a:lnTo>
                      <a:pt x="2617" y="147"/>
                    </a:lnTo>
                    <a:lnTo>
                      <a:pt x="2619" y="150"/>
                    </a:lnTo>
                    <a:lnTo>
                      <a:pt x="2619" y="151"/>
                    </a:lnTo>
                    <a:lnTo>
                      <a:pt x="2620" y="152"/>
                    </a:lnTo>
                    <a:lnTo>
                      <a:pt x="2621" y="152"/>
                    </a:lnTo>
                    <a:lnTo>
                      <a:pt x="2621" y="152"/>
                    </a:lnTo>
                    <a:lnTo>
                      <a:pt x="2624" y="152"/>
                    </a:lnTo>
                    <a:lnTo>
                      <a:pt x="2626" y="155"/>
                    </a:lnTo>
                    <a:lnTo>
                      <a:pt x="2630" y="157"/>
                    </a:lnTo>
                    <a:lnTo>
                      <a:pt x="2631" y="157"/>
                    </a:lnTo>
                    <a:lnTo>
                      <a:pt x="2634" y="156"/>
                    </a:lnTo>
                    <a:lnTo>
                      <a:pt x="2635" y="156"/>
                    </a:lnTo>
                    <a:lnTo>
                      <a:pt x="2637" y="157"/>
                    </a:lnTo>
                    <a:lnTo>
                      <a:pt x="2637" y="157"/>
                    </a:lnTo>
                    <a:lnTo>
                      <a:pt x="2639" y="159"/>
                    </a:lnTo>
                    <a:lnTo>
                      <a:pt x="2639" y="161"/>
                    </a:lnTo>
                    <a:lnTo>
                      <a:pt x="2640" y="163"/>
                    </a:lnTo>
                    <a:lnTo>
                      <a:pt x="2640" y="164"/>
                    </a:lnTo>
                    <a:lnTo>
                      <a:pt x="2646" y="176"/>
                    </a:lnTo>
                    <a:lnTo>
                      <a:pt x="2652" y="186"/>
                    </a:lnTo>
                    <a:lnTo>
                      <a:pt x="2655" y="189"/>
                    </a:lnTo>
                    <a:lnTo>
                      <a:pt x="2655" y="192"/>
                    </a:lnTo>
                    <a:lnTo>
                      <a:pt x="2656" y="196"/>
                    </a:lnTo>
                    <a:lnTo>
                      <a:pt x="2659" y="198"/>
                    </a:lnTo>
                    <a:lnTo>
                      <a:pt x="2661" y="203"/>
                    </a:lnTo>
                    <a:lnTo>
                      <a:pt x="2664" y="207"/>
                    </a:lnTo>
                    <a:lnTo>
                      <a:pt x="2666" y="209"/>
                    </a:lnTo>
                    <a:lnTo>
                      <a:pt x="2672" y="219"/>
                    </a:lnTo>
                    <a:lnTo>
                      <a:pt x="2678" y="233"/>
                    </a:lnTo>
                    <a:lnTo>
                      <a:pt x="2682" y="249"/>
                    </a:lnTo>
                    <a:lnTo>
                      <a:pt x="2681" y="264"/>
                    </a:lnTo>
                    <a:lnTo>
                      <a:pt x="2681" y="266"/>
                    </a:lnTo>
                    <a:lnTo>
                      <a:pt x="2680" y="269"/>
                    </a:lnTo>
                    <a:lnTo>
                      <a:pt x="2680" y="271"/>
                    </a:lnTo>
                    <a:lnTo>
                      <a:pt x="2678" y="274"/>
                    </a:lnTo>
                    <a:lnTo>
                      <a:pt x="2677" y="275"/>
                    </a:lnTo>
                    <a:lnTo>
                      <a:pt x="2675" y="275"/>
                    </a:lnTo>
                    <a:lnTo>
                      <a:pt x="2674" y="275"/>
                    </a:lnTo>
                    <a:lnTo>
                      <a:pt x="2671" y="274"/>
                    </a:lnTo>
                    <a:lnTo>
                      <a:pt x="2670" y="275"/>
                    </a:lnTo>
                    <a:lnTo>
                      <a:pt x="2669" y="275"/>
                    </a:lnTo>
                    <a:lnTo>
                      <a:pt x="2669" y="276"/>
                    </a:lnTo>
                    <a:lnTo>
                      <a:pt x="2667" y="278"/>
                    </a:lnTo>
                    <a:lnTo>
                      <a:pt x="2667" y="278"/>
                    </a:lnTo>
                    <a:lnTo>
                      <a:pt x="2666" y="276"/>
                    </a:lnTo>
                    <a:lnTo>
                      <a:pt x="2664" y="276"/>
                    </a:lnTo>
                    <a:lnTo>
                      <a:pt x="2661" y="274"/>
                    </a:lnTo>
                    <a:lnTo>
                      <a:pt x="2659" y="271"/>
                    </a:lnTo>
                    <a:lnTo>
                      <a:pt x="2654" y="269"/>
                    </a:lnTo>
                    <a:lnTo>
                      <a:pt x="2650" y="266"/>
                    </a:lnTo>
                    <a:lnTo>
                      <a:pt x="2647" y="264"/>
                    </a:lnTo>
                    <a:lnTo>
                      <a:pt x="2646" y="263"/>
                    </a:lnTo>
                    <a:lnTo>
                      <a:pt x="2644" y="260"/>
                    </a:lnTo>
                    <a:lnTo>
                      <a:pt x="2641" y="258"/>
                    </a:lnTo>
                    <a:lnTo>
                      <a:pt x="2640" y="253"/>
                    </a:lnTo>
                    <a:lnTo>
                      <a:pt x="2635" y="247"/>
                    </a:lnTo>
                    <a:lnTo>
                      <a:pt x="2630" y="240"/>
                    </a:lnTo>
                    <a:lnTo>
                      <a:pt x="2624" y="235"/>
                    </a:lnTo>
                    <a:lnTo>
                      <a:pt x="2622" y="234"/>
                    </a:lnTo>
                    <a:lnTo>
                      <a:pt x="2621" y="234"/>
                    </a:lnTo>
                    <a:lnTo>
                      <a:pt x="2621" y="235"/>
                    </a:lnTo>
                    <a:lnTo>
                      <a:pt x="2621" y="237"/>
                    </a:lnTo>
                    <a:lnTo>
                      <a:pt x="2621" y="238"/>
                    </a:lnTo>
                    <a:lnTo>
                      <a:pt x="2621" y="239"/>
                    </a:lnTo>
                    <a:lnTo>
                      <a:pt x="2621" y="240"/>
                    </a:lnTo>
                    <a:lnTo>
                      <a:pt x="2624" y="243"/>
                    </a:lnTo>
                    <a:lnTo>
                      <a:pt x="2626" y="245"/>
                    </a:lnTo>
                    <a:lnTo>
                      <a:pt x="2626" y="248"/>
                    </a:lnTo>
                    <a:lnTo>
                      <a:pt x="2629" y="250"/>
                    </a:lnTo>
                    <a:lnTo>
                      <a:pt x="2630" y="253"/>
                    </a:lnTo>
                    <a:lnTo>
                      <a:pt x="2630" y="256"/>
                    </a:lnTo>
                    <a:lnTo>
                      <a:pt x="2632" y="259"/>
                    </a:lnTo>
                    <a:lnTo>
                      <a:pt x="2632" y="261"/>
                    </a:lnTo>
                    <a:lnTo>
                      <a:pt x="2635" y="263"/>
                    </a:lnTo>
                    <a:lnTo>
                      <a:pt x="2637" y="264"/>
                    </a:lnTo>
                    <a:lnTo>
                      <a:pt x="2639" y="269"/>
                    </a:lnTo>
                    <a:lnTo>
                      <a:pt x="2640" y="274"/>
                    </a:lnTo>
                    <a:lnTo>
                      <a:pt x="2642" y="279"/>
                    </a:lnTo>
                    <a:lnTo>
                      <a:pt x="2644" y="285"/>
                    </a:lnTo>
                    <a:lnTo>
                      <a:pt x="2645" y="290"/>
                    </a:lnTo>
                    <a:lnTo>
                      <a:pt x="2645" y="295"/>
                    </a:lnTo>
                    <a:lnTo>
                      <a:pt x="2649" y="314"/>
                    </a:lnTo>
                    <a:lnTo>
                      <a:pt x="2650" y="331"/>
                    </a:lnTo>
                    <a:lnTo>
                      <a:pt x="2651" y="334"/>
                    </a:lnTo>
                    <a:lnTo>
                      <a:pt x="2652" y="335"/>
                    </a:lnTo>
                    <a:lnTo>
                      <a:pt x="2654" y="336"/>
                    </a:lnTo>
                    <a:lnTo>
                      <a:pt x="2655" y="336"/>
                    </a:lnTo>
                    <a:lnTo>
                      <a:pt x="2655" y="336"/>
                    </a:lnTo>
                    <a:lnTo>
                      <a:pt x="2657" y="340"/>
                    </a:lnTo>
                    <a:lnTo>
                      <a:pt x="2660" y="342"/>
                    </a:lnTo>
                    <a:lnTo>
                      <a:pt x="2661" y="345"/>
                    </a:lnTo>
                    <a:lnTo>
                      <a:pt x="2662" y="347"/>
                    </a:lnTo>
                    <a:lnTo>
                      <a:pt x="2665" y="351"/>
                    </a:lnTo>
                    <a:lnTo>
                      <a:pt x="2667" y="353"/>
                    </a:lnTo>
                    <a:lnTo>
                      <a:pt x="2669" y="355"/>
                    </a:lnTo>
                    <a:lnTo>
                      <a:pt x="2671" y="356"/>
                    </a:lnTo>
                    <a:lnTo>
                      <a:pt x="2672" y="355"/>
                    </a:lnTo>
                    <a:lnTo>
                      <a:pt x="2674" y="352"/>
                    </a:lnTo>
                    <a:lnTo>
                      <a:pt x="2674" y="349"/>
                    </a:lnTo>
                    <a:lnTo>
                      <a:pt x="2674" y="345"/>
                    </a:lnTo>
                    <a:lnTo>
                      <a:pt x="2671" y="340"/>
                    </a:lnTo>
                    <a:lnTo>
                      <a:pt x="2671" y="337"/>
                    </a:lnTo>
                    <a:lnTo>
                      <a:pt x="2670" y="336"/>
                    </a:lnTo>
                    <a:lnTo>
                      <a:pt x="2669" y="336"/>
                    </a:lnTo>
                    <a:lnTo>
                      <a:pt x="2667" y="335"/>
                    </a:lnTo>
                    <a:lnTo>
                      <a:pt x="2666" y="334"/>
                    </a:lnTo>
                    <a:lnTo>
                      <a:pt x="2665" y="334"/>
                    </a:lnTo>
                    <a:lnTo>
                      <a:pt x="2664" y="332"/>
                    </a:lnTo>
                    <a:lnTo>
                      <a:pt x="2662" y="330"/>
                    </a:lnTo>
                    <a:lnTo>
                      <a:pt x="2662" y="327"/>
                    </a:lnTo>
                    <a:lnTo>
                      <a:pt x="2661" y="324"/>
                    </a:lnTo>
                    <a:lnTo>
                      <a:pt x="2660" y="321"/>
                    </a:lnTo>
                    <a:lnTo>
                      <a:pt x="2660" y="320"/>
                    </a:lnTo>
                    <a:lnTo>
                      <a:pt x="2659" y="316"/>
                    </a:lnTo>
                    <a:lnTo>
                      <a:pt x="2659" y="314"/>
                    </a:lnTo>
                    <a:lnTo>
                      <a:pt x="2659" y="310"/>
                    </a:lnTo>
                    <a:lnTo>
                      <a:pt x="2660" y="309"/>
                    </a:lnTo>
                    <a:lnTo>
                      <a:pt x="2661" y="307"/>
                    </a:lnTo>
                    <a:lnTo>
                      <a:pt x="2664" y="307"/>
                    </a:lnTo>
                    <a:lnTo>
                      <a:pt x="2665" y="309"/>
                    </a:lnTo>
                    <a:lnTo>
                      <a:pt x="2667" y="310"/>
                    </a:lnTo>
                    <a:lnTo>
                      <a:pt x="2669" y="314"/>
                    </a:lnTo>
                    <a:lnTo>
                      <a:pt x="2670" y="319"/>
                    </a:lnTo>
                    <a:lnTo>
                      <a:pt x="2671" y="322"/>
                    </a:lnTo>
                    <a:lnTo>
                      <a:pt x="2672" y="325"/>
                    </a:lnTo>
                    <a:lnTo>
                      <a:pt x="2675" y="326"/>
                    </a:lnTo>
                    <a:lnTo>
                      <a:pt x="2676" y="327"/>
                    </a:lnTo>
                    <a:lnTo>
                      <a:pt x="2678" y="329"/>
                    </a:lnTo>
                    <a:lnTo>
                      <a:pt x="2680" y="330"/>
                    </a:lnTo>
                    <a:lnTo>
                      <a:pt x="2681" y="330"/>
                    </a:lnTo>
                    <a:lnTo>
                      <a:pt x="2683" y="331"/>
                    </a:lnTo>
                    <a:lnTo>
                      <a:pt x="2685" y="332"/>
                    </a:lnTo>
                    <a:lnTo>
                      <a:pt x="2687" y="334"/>
                    </a:lnTo>
                    <a:lnTo>
                      <a:pt x="2688" y="335"/>
                    </a:lnTo>
                    <a:lnTo>
                      <a:pt x="2690" y="336"/>
                    </a:lnTo>
                    <a:lnTo>
                      <a:pt x="2690" y="335"/>
                    </a:lnTo>
                    <a:lnTo>
                      <a:pt x="2690" y="334"/>
                    </a:lnTo>
                    <a:lnTo>
                      <a:pt x="2687" y="327"/>
                    </a:lnTo>
                    <a:lnTo>
                      <a:pt x="2685" y="321"/>
                    </a:lnTo>
                    <a:lnTo>
                      <a:pt x="2685" y="316"/>
                    </a:lnTo>
                    <a:lnTo>
                      <a:pt x="2681" y="309"/>
                    </a:lnTo>
                    <a:lnTo>
                      <a:pt x="2678" y="301"/>
                    </a:lnTo>
                    <a:lnTo>
                      <a:pt x="2678" y="295"/>
                    </a:lnTo>
                    <a:lnTo>
                      <a:pt x="2680" y="294"/>
                    </a:lnTo>
                    <a:lnTo>
                      <a:pt x="2681" y="293"/>
                    </a:lnTo>
                    <a:lnTo>
                      <a:pt x="2682" y="291"/>
                    </a:lnTo>
                    <a:lnTo>
                      <a:pt x="2685" y="290"/>
                    </a:lnTo>
                    <a:lnTo>
                      <a:pt x="2685" y="288"/>
                    </a:lnTo>
                    <a:lnTo>
                      <a:pt x="2686" y="285"/>
                    </a:lnTo>
                    <a:lnTo>
                      <a:pt x="2686" y="281"/>
                    </a:lnTo>
                    <a:lnTo>
                      <a:pt x="2687" y="279"/>
                    </a:lnTo>
                    <a:lnTo>
                      <a:pt x="2688" y="276"/>
                    </a:lnTo>
                    <a:lnTo>
                      <a:pt x="2690" y="274"/>
                    </a:lnTo>
                    <a:lnTo>
                      <a:pt x="2690" y="269"/>
                    </a:lnTo>
                    <a:lnTo>
                      <a:pt x="2690" y="268"/>
                    </a:lnTo>
                    <a:lnTo>
                      <a:pt x="2690" y="266"/>
                    </a:lnTo>
                    <a:lnTo>
                      <a:pt x="2690" y="265"/>
                    </a:lnTo>
                    <a:lnTo>
                      <a:pt x="2691" y="265"/>
                    </a:lnTo>
                    <a:lnTo>
                      <a:pt x="2692" y="266"/>
                    </a:lnTo>
                    <a:lnTo>
                      <a:pt x="2692" y="269"/>
                    </a:lnTo>
                    <a:lnTo>
                      <a:pt x="2693" y="271"/>
                    </a:lnTo>
                    <a:lnTo>
                      <a:pt x="2695" y="274"/>
                    </a:lnTo>
                    <a:lnTo>
                      <a:pt x="2697" y="276"/>
                    </a:lnTo>
                    <a:lnTo>
                      <a:pt x="2697" y="279"/>
                    </a:lnTo>
                    <a:lnTo>
                      <a:pt x="2698" y="279"/>
                    </a:lnTo>
                    <a:lnTo>
                      <a:pt x="2701" y="280"/>
                    </a:lnTo>
                    <a:lnTo>
                      <a:pt x="2702" y="281"/>
                    </a:lnTo>
                    <a:lnTo>
                      <a:pt x="2703" y="284"/>
                    </a:lnTo>
                    <a:lnTo>
                      <a:pt x="2703" y="284"/>
                    </a:lnTo>
                    <a:lnTo>
                      <a:pt x="2705" y="284"/>
                    </a:lnTo>
                    <a:lnTo>
                      <a:pt x="2705" y="281"/>
                    </a:lnTo>
                    <a:lnTo>
                      <a:pt x="2705" y="269"/>
                    </a:lnTo>
                    <a:lnTo>
                      <a:pt x="2703" y="261"/>
                    </a:lnTo>
                    <a:lnTo>
                      <a:pt x="2701" y="254"/>
                    </a:lnTo>
                    <a:lnTo>
                      <a:pt x="2700" y="248"/>
                    </a:lnTo>
                    <a:lnTo>
                      <a:pt x="2698" y="243"/>
                    </a:lnTo>
                    <a:lnTo>
                      <a:pt x="2697" y="238"/>
                    </a:lnTo>
                    <a:lnTo>
                      <a:pt x="2697" y="233"/>
                    </a:lnTo>
                    <a:lnTo>
                      <a:pt x="2697" y="225"/>
                    </a:lnTo>
                    <a:lnTo>
                      <a:pt x="2696" y="219"/>
                    </a:lnTo>
                    <a:lnTo>
                      <a:pt x="2695" y="214"/>
                    </a:lnTo>
                    <a:lnTo>
                      <a:pt x="2695" y="210"/>
                    </a:lnTo>
                    <a:lnTo>
                      <a:pt x="2695" y="208"/>
                    </a:lnTo>
                    <a:lnTo>
                      <a:pt x="2693" y="204"/>
                    </a:lnTo>
                    <a:lnTo>
                      <a:pt x="2692" y="202"/>
                    </a:lnTo>
                    <a:lnTo>
                      <a:pt x="2690" y="196"/>
                    </a:lnTo>
                    <a:lnTo>
                      <a:pt x="2692" y="198"/>
                    </a:lnTo>
                    <a:lnTo>
                      <a:pt x="2695" y="202"/>
                    </a:lnTo>
                    <a:lnTo>
                      <a:pt x="2697" y="203"/>
                    </a:lnTo>
                    <a:lnTo>
                      <a:pt x="2700" y="204"/>
                    </a:lnTo>
                    <a:lnTo>
                      <a:pt x="2702" y="205"/>
                    </a:lnTo>
                    <a:lnTo>
                      <a:pt x="2703" y="207"/>
                    </a:lnTo>
                    <a:lnTo>
                      <a:pt x="2705" y="208"/>
                    </a:lnTo>
                    <a:lnTo>
                      <a:pt x="2705" y="209"/>
                    </a:lnTo>
                    <a:lnTo>
                      <a:pt x="2707" y="214"/>
                    </a:lnTo>
                    <a:lnTo>
                      <a:pt x="2710" y="219"/>
                    </a:lnTo>
                    <a:lnTo>
                      <a:pt x="2711" y="224"/>
                    </a:lnTo>
                    <a:lnTo>
                      <a:pt x="2711" y="228"/>
                    </a:lnTo>
                    <a:lnTo>
                      <a:pt x="2711" y="230"/>
                    </a:lnTo>
                    <a:lnTo>
                      <a:pt x="2710" y="232"/>
                    </a:lnTo>
                    <a:lnTo>
                      <a:pt x="2710" y="233"/>
                    </a:lnTo>
                    <a:lnTo>
                      <a:pt x="2708" y="233"/>
                    </a:lnTo>
                    <a:lnTo>
                      <a:pt x="2707" y="234"/>
                    </a:lnTo>
                    <a:lnTo>
                      <a:pt x="2706" y="234"/>
                    </a:lnTo>
                    <a:lnTo>
                      <a:pt x="2706" y="235"/>
                    </a:lnTo>
                    <a:lnTo>
                      <a:pt x="2705" y="238"/>
                    </a:lnTo>
                    <a:lnTo>
                      <a:pt x="2706" y="247"/>
                    </a:lnTo>
                    <a:lnTo>
                      <a:pt x="2710" y="254"/>
                    </a:lnTo>
                    <a:lnTo>
                      <a:pt x="2713" y="261"/>
                    </a:lnTo>
                    <a:lnTo>
                      <a:pt x="2715" y="265"/>
                    </a:lnTo>
                    <a:lnTo>
                      <a:pt x="2716" y="266"/>
                    </a:lnTo>
                    <a:lnTo>
                      <a:pt x="2717" y="268"/>
                    </a:lnTo>
                    <a:lnTo>
                      <a:pt x="2718" y="266"/>
                    </a:lnTo>
                    <a:lnTo>
                      <a:pt x="2721" y="265"/>
                    </a:lnTo>
                    <a:lnTo>
                      <a:pt x="2722" y="264"/>
                    </a:lnTo>
                    <a:lnTo>
                      <a:pt x="2723" y="261"/>
                    </a:lnTo>
                    <a:lnTo>
                      <a:pt x="2723" y="255"/>
                    </a:lnTo>
                    <a:lnTo>
                      <a:pt x="2723" y="248"/>
                    </a:lnTo>
                    <a:lnTo>
                      <a:pt x="2723" y="240"/>
                    </a:lnTo>
                    <a:lnTo>
                      <a:pt x="2723" y="238"/>
                    </a:lnTo>
                    <a:lnTo>
                      <a:pt x="2726" y="235"/>
                    </a:lnTo>
                    <a:lnTo>
                      <a:pt x="2727" y="233"/>
                    </a:lnTo>
                    <a:lnTo>
                      <a:pt x="2730" y="232"/>
                    </a:lnTo>
                    <a:lnTo>
                      <a:pt x="2731" y="230"/>
                    </a:lnTo>
                    <a:lnTo>
                      <a:pt x="2733" y="225"/>
                    </a:lnTo>
                    <a:lnTo>
                      <a:pt x="2735" y="223"/>
                    </a:lnTo>
                    <a:lnTo>
                      <a:pt x="2737" y="220"/>
                    </a:lnTo>
                    <a:lnTo>
                      <a:pt x="2740" y="218"/>
                    </a:lnTo>
                    <a:lnTo>
                      <a:pt x="2742" y="217"/>
                    </a:lnTo>
                    <a:lnTo>
                      <a:pt x="2743" y="217"/>
                    </a:lnTo>
                    <a:lnTo>
                      <a:pt x="2745" y="214"/>
                    </a:lnTo>
                    <a:lnTo>
                      <a:pt x="2746" y="213"/>
                    </a:lnTo>
                    <a:lnTo>
                      <a:pt x="2747" y="209"/>
                    </a:lnTo>
                    <a:lnTo>
                      <a:pt x="2748" y="207"/>
                    </a:lnTo>
                    <a:lnTo>
                      <a:pt x="2749" y="204"/>
                    </a:lnTo>
                    <a:lnTo>
                      <a:pt x="2752" y="202"/>
                    </a:lnTo>
                    <a:lnTo>
                      <a:pt x="2753" y="202"/>
                    </a:lnTo>
                    <a:lnTo>
                      <a:pt x="2754" y="204"/>
                    </a:lnTo>
                    <a:lnTo>
                      <a:pt x="2754" y="207"/>
                    </a:lnTo>
                    <a:lnTo>
                      <a:pt x="2754" y="209"/>
                    </a:lnTo>
                    <a:lnTo>
                      <a:pt x="2754" y="213"/>
                    </a:lnTo>
                    <a:lnTo>
                      <a:pt x="2754" y="214"/>
                    </a:lnTo>
                    <a:lnTo>
                      <a:pt x="2754" y="217"/>
                    </a:lnTo>
                    <a:lnTo>
                      <a:pt x="2754" y="219"/>
                    </a:lnTo>
                    <a:lnTo>
                      <a:pt x="2756" y="223"/>
                    </a:lnTo>
                    <a:lnTo>
                      <a:pt x="2757" y="224"/>
                    </a:lnTo>
                    <a:lnTo>
                      <a:pt x="2758" y="227"/>
                    </a:lnTo>
                    <a:lnTo>
                      <a:pt x="2759" y="228"/>
                    </a:lnTo>
                    <a:lnTo>
                      <a:pt x="2761" y="228"/>
                    </a:lnTo>
                    <a:lnTo>
                      <a:pt x="2762" y="228"/>
                    </a:lnTo>
                    <a:lnTo>
                      <a:pt x="2762" y="219"/>
                    </a:lnTo>
                    <a:lnTo>
                      <a:pt x="2764" y="219"/>
                    </a:lnTo>
                    <a:lnTo>
                      <a:pt x="2764" y="218"/>
                    </a:lnTo>
                    <a:lnTo>
                      <a:pt x="2764" y="217"/>
                    </a:lnTo>
                    <a:lnTo>
                      <a:pt x="2766" y="214"/>
                    </a:lnTo>
                    <a:lnTo>
                      <a:pt x="2767" y="213"/>
                    </a:lnTo>
                    <a:lnTo>
                      <a:pt x="2768" y="214"/>
                    </a:lnTo>
                    <a:lnTo>
                      <a:pt x="2769" y="215"/>
                    </a:lnTo>
                    <a:lnTo>
                      <a:pt x="2772" y="218"/>
                    </a:lnTo>
                    <a:lnTo>
                      <a:pt x="2773" y="219"/>
                    </a:lnTo>
                    <a:lnTo>
                      <a:pt x="2773" y="219"/>
                    </a:lnTo>
                    <a:lnTo>
                      <a:pt x="2774" y="219"/>
                    </a:lnTo>
                    <a:lnTo>
                      <a:pt x="2776" y="218"/>
                    </a:lnTo>
                    <a:lnTo>
                      <a:pt x="2776" y="217"/>
                    </a:lnTo>
                    <a:lnTo>
                      <a:pt x="2777" y="217"/>
                    </a:lnTo>
                    <a:lnTo>
                      <a:pt x="2777" y="214"/>
                    </a:lnTo>
                    <a:lnTo>
                      <a:pt x="2778" y="212"/>
                    </a:lnTo>
                    <a:lnTo>
                      <a:pt x="2779" y="209"/>
                    </a:lnTo>
                    <a:lnTo>
                      <a:pt x="2781" y="207"/>
                    </a:lnTo>
                    <a:lnTo>
                      <a:pt x="2782" y="204"/>
                    </a:lnTo>
                    <a:lnTo>
                      <a:pt x="2782" y="204"/>
                    </a:lnTo>
                    <a:lnTo>
                      <a:pt x="2783" y="207"/>
                    </a:lnTo>
                    <a:lnTo>
                      <a:pt x="2784" y="213"/>
                    </a:lnTo>
                    <a:lnTo>
                      <a:pt x="2784" y="220"/>
                    </a:lnTo>
                    <a:lnTo>
                      <a:pt x="2786" y="228"/>
                    </a:lnTo>
                    <a:lnTo>
                      <a:pt x="2788" y="230"/>
                    </a:lnTo>
                    <a:lnTo>
                      <a:pt x="2789" y="232"/>
                    </a:lnTo>
                    <a:lnTo>
                      <a:pt x="2791" y="230"/>
                    </a:lnTo>
                    <a:lnTo>
                      <a:pt x="2791" y="230"/>
                    </a:lnTo>
                    <a:lnTo>
                      <a:pt x="2791" y="228"/>
                    </a:lnTo>
                    <a:lnTo>
                      <a:pt x="2791" y="225"/>
                    </a:lnTo>
                    <a:lnTo>
                      <a:pt x="2791" y="222"/>
                    </a:lnTo>
                    <a:lnTo>
                      <a:pt x="2792" y="219"/>
                    </a:lnTo>
                    <a:lnTo>
                      <a:pt x="2792" y="218"/>
                    </a:lnTo>
                    <a:lnTo>
                      <a:pt x="2793" y="217"/>
                    </a:lnTo>
                    <a:lnTo>
                      <a:pt x="2793" y="217"/>
                    </a:lnTo>
                    <a:lnTo>
                      <a:pt x="2794" y="215"/>
                    </a:lnTo>
                    <a:lnTo>
                      <a:pt x="2794" y="214"/>
                    </a:lnTo>
                    <a:lnTo>
                      <a:pt x="2794" y="212"/>
                    </a:lnTo>
                    <a:lnTo>
                      <a:pt x="2794" y="209"/>
                    </a:lnTo>
                    <a:lnTo>
                      <a:pt x="2793" y="205"/>
                    </a:lnTo>
                    <a:lnTo>
                      <a:pt x="2792" y="203"/>
                    </a:lnTo>
                    <a:lnTo>
                      <a:pt x="2791" y="201"/>
                    </a:lnTo>
                    <a:lnTo>
                      <a:pt x="2789" y="197"/>
                    </a:lnTo>
                    <a:lnTo>
                      <a:pt x="2789" y="194"/>
                    </a:lnTo>
                    <a:lnTo>
                      <a:pt x="2788" y="191"/>
                    </a:lnTo>
                    <a:lnTo>
                      <a:pt x="2788" y="188"/>
                    </a:lnTo>
                    <a:lnTo>
                      <a:pt x="2787" y="187"/>
                    </a:lnTo>
                    <a:lnTo>
                      <a:pt x="2787" y="186"/>
                    </a:lnTo>
                    <a:lnTo>
                      <a:pt x="2784" y="184"/>
                    </a:lnTo>
                    <a:lnTo>
                      <a:pt x="2783" y="183"/>
                    </a:lnTo>
                    <a:lnTo>
                      <a:pt x="2783" y="182"/>
                    </a:lnTo>
                    <a:lnTo>
                      <a:pt x="2782" y="181"/>
                    </a:lnTo>
                    <a:lnTo>
                      <a:pt x="2781" y="179"/>
                    </a:lnTo>
                    <a:lnTo>
                      <a:pt x="2779" y="177"/>
                    </a:lnTo>
                    <a:lnTo>
                      <a:pt x="2778" y="176"/>
                    </a:lnTo>
                    <a:lnTo>
                      <a:pt x="2778" y="173"/>
                    </a:lnTo>
                    <a:lnTo>
                      <a:pt x="2777" y="169"/>
                    </a:lnTo>
                    <a:lnTo>
                      <a:pt x="2777" y="167"/>
                    </a:lnTo>
                    <a:lnTo>
                      <a:pt x="2776" y="163"/>
                    </a:lnTo>
                    <a:lnTo>
                      <a:pt x="2776" y="159"/>
                    </a:lnTo>
                    <a:lnTo>
                      <a:pt x="2776" y="158"/>
                    </a:lnTo>
                    <a:lnTo>
                      <a:pt x="2776" y="158"/>
                    </a:lnTo>
                    <a:lnTo>
                      <a:pt x="2776" y="158"/>
                    </a:lnTo>
                    <a:lnTo>
                      <a:pt x="2777" y="159"/>
                    </a:lnTo>
                    <a:lnTo>
                      <a:pt x="2778" y="162"/>
                    </a:lnTo>
                    <a:lnTo>
                      <a:pt x="2779" y="164"/>
                    </a:lnTo>
                    <a:lnTo>
                      <a:pt x="2781" y="166"/>
                    </a:lnTo>
                    <a:lnTo>
                      <a:pt x="2782" y="168"/>
                    </a:lnTo>
                    <a:lnTo>
                      <a:pt x="2783" y="169"/>
                    </a:lnTo>
                    <a:lnTo>
                      <a:pt x="2783" y="169"/>
                    </a:lnTo>
                    <a:lnTo>
                      <a:pt x="2784" y="172"/>
                    </a:lnTo>
                    <a:lnTo>
                      <a:pt x="2784" y="176"/>
                    </a:lnTo>
                    <a:lnTo>
                      <a:pt x="2787" y="178"/>
                    </a:lnTo>
                    <a:lnTo>
                      <a:pt x="2788" y="181"/>
                    </a:lnTo>
                    <a:lnTo>
                      <a:pt x="2788" y="182"/>
                    </a:lnTo>
                    <a:lnTo>
                      <a:pt x="2789" y="184"/>
                    </a:lnTo>
                    <a:lnTo>
                      <a:pt x="2789" y="186"/>
                    </a:lnTo>
                    <a:lnTo>
                      <a:pt x="2791" y="186"/>
                    </a:lnTo>
                    <a:lnTo>
                      <a:pt x="2793" y="186"/>
                    </a:lnTo>
                    <a:lnTo>
                      <a:pt x="2797" y="187"/>
                    </a:lnTo>
                    <a:lnTo>
                      <a:pt x="2801" y="188"/>
                    </a:lnTo>
                    <a:lnTo>
                      <a:pt x="2804" y="191"/>
                    </a:lnTo>
                    <a:lnTo>
                      <a:pt x="2809" y="197"/>
                    </a:lnTo>
                    <a:lnTo>
                      <a:pt x="2814" y="203"/>
                    </a:lnTo>
                    <a:lnTo>
                      <a:pt x="2821" y="209"/>
                    </a:lnTo>
                    <a:lnTo>
                      <a:pt x="2828" y="223"/>
                    </a:lnTo>
                    <a:lnTo>
                      <a:pt x="2835" y="235"/>
                    </a:lnTo>
                    <a:lnTo>
                      <a:pt x="2837" y="237"/>
                    </a:lnTo>
                    <a:lnTo>
                      <a:pt x="2838" y="239"/>
                    </a:lnTo>
                    <a:lnTo>
                      <a:pt x="2839" y="240"/>
                    </a:lnTo>
                    <a:lnTo>
                      <a:pt x="2840" y="243"/>
                    </a:lnTo>
                    <a:lnTo>
                      <a:pt x="2842" y="243"/>
                    </a:lnTo>
                    <a:lnTo>
                      <a:pt x="2842" y="243"/>
                    </a:lnTo>
                    <a:lnTo>
                      <a:pt x="2843" y="240"/>
                    </a:lnTo>
                    <a:lnTo>
                      <a:pt x="2843" y="235"/>
                    </a:lnTo>
                    <a:lnTo>
                      <a:pt x="2843" y="232"/>
                    </a:lnTo>
                    <a:lnTo>
                      <a:pt x="2842" y="229"/>
                    </a:lnTo>
                    <a:lnTo>
                      <a:pt x="2840" y="227"/>
                    </a:lnTo>
                    <a:lnTo>
                      <a:pt x="2838" y="224"/>
                    </a:lnTo>
                    <a:lnTo>
                      <a:pt x="2837" y="219"/>
                    </a:lnTo>
                    <a:lnTo>
                      <a:pt x="2835" y="214"/>
                    </a:lnTo>
                    <a:lnTo>
                      <a:pt x="2833" y="209"/>
                    </a:lnTo>
                    <a:lnTo>
                      <a:pt x="2833" y="205"/>
                    </a:lnTo>
                    <a:lnTo>
                      <a:pt x="2832" y="203"/>
                    </a:lnTo>
                    <a:lnTo>
                      <a:pt x="2830" y="202"/>
                    </a:lnTo>
                    <a:lnTo>
                      <a:pt x="2829" y="201"/>
                    </a:lnTo>
                    <a:lnTo>
                      <a:pt x="2828" y="201"/>
                    </a:lnTo>
                    <a:lnTo>
                      <a:pt x="2827" y="199"/>
                    </a:lnTo>
                    <a:lnTo>
                      <a:pt x="2825" y="198"/>
                    </a:lnTo>
                    <a:lnTo>
                      <a:pt x="2824" y="196"/>
                    </a:lnTo>
                    <a:lnTo>
                      <a:pt x="2823" y="192"/>
                    </a:lnTo>
                    <a:lnTo>
                      <a:pt x="2823" y="188"/>
                    </a:lnTo>
                    <a:lnTo>
                      <a:pt x="2823" y="187"/>
                    </a:lnTo>
                    <a:lnTo>
                      <a:pt x="2823" y="186"/>
                    </a:lnTo>
                    <a:lnTo>
                      <a:pt x="2824" y="184"/>
                    </a:lnTo>
                    <a:lnTo>
                      <a:pt x="2825" y="182"/>
                    </a:lnTo>
                    <a:lnTo>
                      <a:pt x="2825" y="181"/>
                    </a:lnTo>
                    <a:lnTo>
                      <a:pt x="2825" y="178"/>
                    </a:lnTo>
                    <a:lnTo>
                      <a:pt x="2825" y="176"/>
                    </a:lnTo>
                    <a:lnTo>
                      <a:pt x="2825" y="162"/>
                    </a:lnTo>
                    <a:lnTo>
                      <a:pt x="2824" y="159"/>
                    </a:lnTo>
                    <a:lnTo>
                      <a:pt x="2824" y="157"/>
                    </a:lnTo>
                    <a:lnTo>
                      <a:pt x="2823" y="156"/>
                    </a:lnTo>
                    <a:lnTo>
                      <a:pt x="2822" y="153"/>
                    </a:lnTo>
                    <a:lnTo>
                      <a:pt x="2821" y="153"/>
                    </a:lnTo>
                    <a:lnTo>
                      <a:pt x="2818" y="153"/>
                    </a:lnTo>
                    <a:lnTo>
                      <a:pt x="2817" y="155"/>
                    </a:lnTo>
                    <a:lnTo>
                      <a:pt x="2817" y="141"/>
                    </a:lnTo>
                    <a:lnTo>
                      <a:pt x="2817" y="140"/>
                    </a:lnTo>
                    <a:lnTo>
                      <a:pt x="2817" y="137"/>
                    </a:lnTo>
                    <a:lnTo>
                      <a:pt x="2816" y="136"/>
                    </a:lnTo>
                    <a:lnTo>
                      <a:pt x="2817" y="135"/>
                    </a:lnTo>
                    <a:lnTo>
                      <a:pt x="2817" y="133"/>
                    </a:lnTo>
                    <a:lnTo>
                      <a:pt x="2819" y="133"/>
                    </a:lnTo>
                    <a:lnTo>
                      <a:pt x="2819" y="135"/>
                    </a:lnTo>
                    <a:lnTo>
                      <a:pt x="2819" y="135"/>
                    </a:lnTo>
                    <a:lnTo>
                      <a:pt x="2821" y="133"/>
                    </a:lnTo>
                    <a:lnTo>
                      <a:pt x="2822" y="130"/>
                    </a:lnTo>
                    <a:lnTo>
                      <a:pt x="2822" y="127"/>
                    </a:lnTo>
                    <a:lnTo>
                      <a:pt x="2823" y="125"/>
                    </a:lnTo>
                    <a:lnTo>
                      <a:pt x="2823" y="123"/>
                    </a:lnTo>
                    <a:lnTo>
                      <a:pt x="2823" y="112"/>
                    </a:lnTo>
                    <a:lnTo>
                      <a:pt x="2822" y="110"/>
                    </a:lnTo>
                    <a:lnTo>
                      <a:pt x="2822" y="106"/>
                    </a:lnTo>
                    <a:lnTo>
                      <a:pt x="2822" y="104"/>
                    </a:lnTo>
                    <a:lnTo>
                      <a:pt x="2822" y="101"/>
                    </a:lnTo>
                    <a:lnTo>
                      <a:pt x="2823" y="100"/>
                    </a:lnTo>
                    <a:lnTo>
                      <a:pt x="2823" y="84"/>
                    </a:lnTo>
                    <a:lnTo>
                      <a:pt x="2823" y="80"/>
                    </a:lnTo>
                    <a:lnTo>
                      <a:pt x="2823" y="79"/>
                    </a:lnTo>
                    <a:lnTo>
                      <a:pt x="2824" y="77"/>
                    </a:lnTo>
                    <a:lnTo>
                      <a:pt x="2824" y="77"/>
                    </a:lnTo>
                    <a:lnTo>
                      <a:pt x="2825" y="79"/>
                    </a:lnTo>
                    <a:lnTo>
                      <a:pt x="2827" y="80"/>
                    </a:lnTo>
                    <a:lnTo>
                      <a:pt x="2828" y="81"/>
                    </a:lnTo>
                    <a:lnTo>
                      <a:pt x="2829" y="82"/>
                    </a:lnTo>
                    <a:lnTo>
                      <a:pt x="2830" y="82"/>
                    </a:lnTo>
                    <a:lnTo>
                      <a:pt x="2830" y="82"/>
                    </a:lnTo>
                    <a:lnTo>
                      <a:pt x="2832" y="81"/>
                    </a:lnTo>
                    <a:lnTo>
                      <a:pt x="2833" y="81"/>
                    </a:lnTo>
                    <a:lnTo>
                      <a:pt x="2835" y="84"/>
                    </a:lnTo>
                    <a:lnTo>
                      <a:pt x="2837" y="85"/>
                    </a:lnTo>
                    <a:lnTo>
                      <a:pt x="2838" y="86"/>
                    </a:lnTo>
                    <a:lnTo>
                      <a:pt x="2838" y="86"/>
                    </a:lnTo>
                    <a:lnTo>
                      <a:pt x="2843" y="99"/>
                    </a:lnTo>
                    <a:lnTo>
                      <a:pt x="2845" y="110"/>
                    </a:lnTo>
                    <a:lnTo>
                      <a:pt x="2845" y="136"/>
                    </a:lnTo>
                    <a:lnTo>
                      <a:pt x="2847" y="143"/>
                    </a:lnTo>
                    <a:lnTo>
                      <a:pt x="2849" y="150"/>
                    </a:lnTo>
                    <a:lnTo>
                      <a:pt x="2852" y="157"/>
                    </a:lnTo>
                    <a:lnTo>
                      <a:pt x="2853" y="159"/>
                    </a:lnTo>
                    <a:lnTo>
                      <a:pt x="2854" y="162"/>
                    </a:lnTo>
                    <a:lnTo>
                      <a:pt x="2855" y="164"/>
                    </a:lnTo>
                    <a:lnTo>
                      <a:pt x="2857" y="168"/>
                    </a:lnTo>
                    <a:lnTo>
                      <a:pt x="2857" y="169"/>
                    </a:lnTo>
                    <a:lnTo>
                      <a:pt x="2857" y="173"/>
                    </a:lnTo>
                    <a:lnTo>
                      <a:pt x="2855" y="176"/>
                    </a:lnTo>
                    <a:lnTo>
                      <a:pt x="2855" y="178"/>
                    </a:lnTo>
                    <a:lnTo>
                      <a:pt x="2855" y="181"/>
                    </a:lnTo>
                    <a:lnTo>
                      <a:pt x="2857" y="183"/>
                    </a:lnTo>
                    <a:lnTo>
                      <a:pt x="2859" y="198"/>
                    </a:lnTo>
                    <a:lnTo>
                      <a:pt x="2859" y="214"/>
                    </a:lnTo>
                    <a:lnTo>
                      <a:pt x="2862" y="227"/>
                    </a:lnTo>
                    <a:lnTo>
                      <a:pt x="2864" y="240"/>
                    </a:lnTo>
                    <a:lnTo>
                      <a:pt x="2864" y="243"/>
                    </a:lnTo>
                    <a:lnTo>
                      <a:pt x="2865" y="245"/>
                    </a:lnTo>
                    <a:lnTo>
                      <a:pt x="2867" y="249"/>
                    </a:lnTo>
                    <a:lnTo>
                      <a:pt x="2867" y="253"/>
                    </a:lnTo>
                    <a:lnTo>
                      <a:pt x="2868" y="258"/>
                    </a:lnTo>
                    <a:lnTo>
                      <a:pt x="2869" y="260"/>
                    </a:lnTo>
                    <a:lnTo>
                      <a:pt x="2868" y="264"/>
                    </a:lnTo>
                    <a:lnTo>
                      <a:pt x="2867" y="266"/>
                    </a:lnTo>
                    <a:lnTo>
                      <a:pt x="2868" y="270"/>
                    </a:lnTo>
                    <a:lnTo>
                      <a:pt x="2868" y="274"/>
                    </a:lnTo>
                    <a:lnTo>
                      <a:pt x="2869" y="278"/>
                    </a:lnTo>
                    <a:lnTo>
                      <a:pt x="2869" y="279"/>
                    </a:lnTo>
                    <a:lnTo>
                      <a:pt x="2869" y="283"/>
                    </a:lnTo>
                    <a:lnTo>
                      <a:pt x="2868" y="285"/>
                    </a:lnTo>
                    <a:lnTo>
                      <a:pt x="2867" y="288"/>
                    </a:lnTo>
                    <a:lnTo>
                      <a:pt x="2867" y="290"/>
                    </a:lnTo>
                    <a:lnTo>
                      <a:pt x="2865" y="293"/>
                    </a:lnTo>
                    <a:lnTo>
                      <a:pt x="2864" y="296"/>
                    </a:lnTo>
                    <a:lnTo>
                      <a:pt x="2862" y="298"/>
                    </a:lnTo>
                    <a:lnTo>
                      <a:pt x="2860" y="300"/>
                    </a:lnTo>
                    <a:lnTo>
                      <a:pt x="2859" y="300"/>
                    </a:lnTo>
                    <a:lnTo>
                      <a:pt x="2858" y="301"/>
                    </a:lnTo>
                    <a:lnTo>
                      <a:pt x="2858" y="303"/>
                    </a:lnTo>
                    <a:lnTo>
                      <a:pt x="2857" y="305"/>
                    </a:lnTo>
                    <a:lnTo>
                      <a:pt x="2858" y="307"/>
                    </a:lnTo>
                    <a:lnTo>
                      <a:pt x="2858" y="310"/>
                    </a:lnTo>
                    <a:lnTo>
                      <a:pt x="2859" y="311"/>
                    </a:lnTo>
                    <a:lnTo>
                      <a:pt x="2860" y="311"/>
                    </a:lnTo>
                    <a:lnTo>
                      <a:pt x="2862" y="312"/>
                    </a:lnTo>
                    <a:lnTo>
                      <a:pt x="2863" y="312"/>
                    </a:lnTo>
                    <a:lnTo>
                      <a:pt x="2864" y="314"/>
                    </a:lnTo>
                    <a:lnTo>
                      <a:pt x="2865" y="315"/>
                    </a:lnTo>
                    <a:lnTo>
                      <a:pt x="2868" y="315"/>
                    </a:lnTo>
                    <a:lnTo>
                      <a:pt x="2868" y="315"/>
                    </a:lnTo>
                    <a:lnTo>
                      <a:pt x="2869" y="314"/>
                    </a:lnTo>
                    <a:lnTo>
                      <a:pt x="2869" y="311"/>
                    </a:lnTo>
                    <a:lnTo>
                      <a:pt x="2870" y="309"/>
                    </a:lnTo>
                    <a:lnTo>
                      <a:pt x="2870" y="306"/>
                    </a:lnTo>
                    <a:lnTo>
                      <a:pt x="2872" y="305"/>
                    </a:lnTo>
                    <a:lnTo>
                      <a:pt x="2873" y="304"/>
                    </a:lnTo>
                    <a:lnTo>
                      <a:pt x="2874" y="303"/>
                    </a:lnTo>
                    <a:lnTo>
                      <a:pt x="2875" y="300"/>
                    </a:lnTo>
                    <a:lnTo>
                      <a:pt x="2877" y="293"/>
                    </a:lnTo>
                    <a:lnTo>
                      <a:pt x="2877" y="284"/>
                    </a:lnTo>
                    <a:lnTo>
                      <a:pt x="2878" y="276"/>
                    </a:lnTo>
                    <a:lnTo>
                      <a:pt x="2878" y="271"/>
                    </a:lnTo>
                    <a:lnTo>
                      <a:pt x="2877" y="264"/>
                    </a:lnTo>
                    <a:lnTo>
                      <a:pt x="2875" y="256"/>
                    </a:lnTo>
                    <a:lnTo>
                      <a:pt x="2873" y="248"/>
                    </a:lnTo>
                    <a:lnTo>
                      <a:pt x="2874" y="240"/>
                    </a:lnTo>
                    <a:lnTo>
                      <a:pt x="2878" y="235"/>
                    </a:lnTo>
                    <a:lnTo>
                      <a:pt x="2878" y="235"/>
                    </a:lnTo>
                    <a:lnTo>
                      <a:pt x="2879" y="234"/>
                    </a:lnTo>
                    <a:lnTo>
                      <a:pt x="2880" y="234"/>
                    </a:lnTo>
                    <a:lnTo>
                      <a:pt x="2882" y="235"/>
                    </a:lnTo>
                    <a:lnTo>
                      <a:pt x="2884" y="235"/>
                    </a:lnTo>
                    <a:lnTo>
                      <a:pt x="2885" y="238"/>
                    </a:lnTo>
                    <a:lnTo>
                      <a:pt x="2889" y="250"/>
                    </a:lnTo>
                    <a:lnTo>
                      <a:pt x="2890" y="264"/>
                    </a:lnTo>
                    <a:lnTo>
                      <a:pt x="2890" y="268"/>
                    </a:lnTo>
                    <a:lnTo>
                      <a:pt x="2890" y="273"/>
                    </a:lnTo>
                    <a:lnTo>
                      <a:pt x="2892" y="278"/>
                    </a:lnTo>
                    <a:lnTo>
                      <a:pt x="2893" y="281"/>
                    </a:lnTo>
                    <a:lnTo>
                      <a:pt x="2895" y="284"/>
                    </a:lnTo>
                    <a:lnTo>
                      <a:pt x="2898" y="285"/>
                    </a:lnTo>
                    <a:lnTo>
                      <a:pt x="2898" y="285"/>
                    </a:lnTo>
                    <a:lnTo>
                      <a:pt x="2899" y="284"/>
                    </a:lnTo>
                    <a:lnTo>
                      <a:pt x="2900" y="283"/>
                    </a:lnTo>
                    <a:lnTo>
                      <a:pt x="2900" y="281"/>
                    </a:lnTo>
                    <a:lnTo>
                      <a:pt x="2899" y="280"/>
                    </a:lnTo>
                    <a:lnTo>
                      <a:pt x="2898" y="279"/>
                    </a:lnTo>
                    <a:lnTo>
                      <a:pt x="2896" y="279"/>
                    </a:lnTo>
                    <a:lnTo>
                      <a:pt x="2896" y="278"/>
                    </a:lnTo>
                    <a:lnTo>
                      <a:pt x="2895" y="274"/>
                    </a:lnTo>
                    <a:lnTo>
                      <a:pt x="2894" y="270"/>
                    </a:lnTo>
                    <a:lnTo>
                      <a:pt x="2893" y="266"/>
                    </a:lnTo>
                    <a:lnTo>
                      <a:pt x="2893" y="264"/>
                    </a:lnTo>
                    <a:lnTo>
                      <a:pt x="2893" y="261"/>
                    </a:lnTo>
                    <a:lnTo>
                      <a:pt x="2893" y="261"/>
                    </a:lnTo>
                    <a:lnTo>
                      <a:pt x="2894" y="261"/>
                    </a:lnTo>
                    <a:lnTo>
                      <a:pt x="2895" y="261"/>
                    </a:lnTo>
                    <a:lnTo>
                      <a:pt x="2896" y="261"/>
                    </a:lnTo>
                    <a:lnTo>
                      <a:pt x="2898" y="261"/>
                    </a:lnTo>
                    <a:lnTo>
                      <a:pt x="2898" y="260"/>
                    </a:lnTo>
                    <a:lnTo>
                      <a:pt x="2898" y="259"/>
                    </a:lnTo>
                    <a:lnTo>
                      <a:pt x="2895" y="250"/>
                    </a:lnTo>
                    <a:lnTo>
                      <a:pt x="2893" y="242"/>
                    </a:lnTo>
                    <a:lnTo>
                      <a:pt x="2888" y="235"/>
                    </a:lnTo>
                    <a:lnTo>
                      <a:pt x="2887" y="233"/>
                    </a:lnTo>
                    <a:lnTo>
                      <a:pt x="2885" y="229"/>
                    </a:lnTo>
                    <a:lnTo>
                      <a:pt x="2884" y="227"/>
                    </a:lnTo>
                    <a:lnTo>
                      <a:pt x="2882" y="225"/>
                    </a:lnTo>
                    <a:lnTo>
                      <a:pt x="2880" y="224"/>
                    </a:lnTo>
                    <a:lnTo>
                      <a:pt x="2878" y="224"/>
                    </a:lnTo>
                    <a:lnTo>
                      <a:pt x="2877" y="225"/>
                    </a:lnTo>
                    <a:lnTo>
                      <a:pt x="2875" y="227"/>
                    </a:lnTo>
                    <a:lnTo>
                      <a:pt x="2874" y="228"/>
                    </a:lnTo>
                    <a:lnTo>
                      <a:pt x="2872" y="228"/>
                    </a:lnTo>
                    <a:lnTo>
                      <a:pt x="2870" y="229"/>
                    </a:lnTo>
                    <a:lnTo>
                      <a:pt x="2868" y="229"/>
                    </a:lnTo>
                    <a:lnTo>
                      <a:pt x="2867" y="228"/>
                    </a:lnTo>
                    <a:lnTo>
                      <a:pt x="2867" y="214"/>
                    </a:lnTo>
                    <a:lnTo>
                      <a:pt x="2865" y="209"/>
                    </a:lnTo>
                    <a:lnTo>
                      <a:pt x="2864" y="204"/>
                    </a:lnTo>
                    <a:lnTo>
                      <a:pt x="2864" y="202"/>
                    </a:lnTo>
                    <a:lnTo>
                      <a:pt x="2865" y="192"/>
                    </a:lnTo>
                    <a:lnTo>
                      <a:pt x="2865" y="184"/>
                    </a:lnTo>
                    <a:lnTo>
                      <a:pt x="2864" y="176"/>
                    </a:lnTo>
                    <a:lnTo>
                      <a:pt x="2859" y="159"/>
                    </a:lnTo>
                    <a:lnTo>
                      <a:pt x="2854" y="143"/>
                    </a:lnTo>
                    <a:lnTo>
                      <a:pt x="2853" y="136"/>
                    </a:lnTo>
                    <a:lnTo>
                      <a:pt x="2853" y="127"/>
                    </a:lnTo>
                    <a:lnTo>
                      <a:pt x="2854" y="121"/>
                    </a:lnTo>
                    <a:lnTo>
                      <a:pt x="2854" y="121"/>
                    </a:lnTo>
                    <a:lnTo>
                      <a:pt x="2855" y="121"/>
                    </a:lnTo>
                    <a:lnTo>
                      <a:pt x="2857" y="121"/>
                    </a:lnTo>
                    <a:lnTo>
                      <a:pt x="2858" y="122"/>
                    </a:lnTo>
                    <a:lnTo>
                      <a:pt x="2859" y="121"/>
                    </a:lnTo>
                    <a:lnTo>
                      <a:pt x="2859" y="121"/>
                    </a:lnTo>
                    <a:lnTo>
                      <a:pt x="2860" y="118"/>
                    </a:lnTo>
                    <a:lnTo>
                      <a:pt x="2862" y="115"/>
                    </a:lnTo>
                    <a:lnTo>
                      <a:pt x="2862" y="112"/>
                    </a:lnTo>
                    <a:lnTo>
                      <a:pt x="2862" y="110"/>
                    </a:lnTo>
                    <a:lnTo>
                      <a:pt x="2862" y="106"/>
                    </a:lnTo>
                    <a:lnTo>
                      <a:pt x="2860" y="102"/>
                    </a:lnTo>
                    <a:lnTo>
                      <a:pt x="2859" y="100"/>
                    </a:lnTo>
                    <a:lnTo>
                      <a:pt x="2858" y="96"/>
                    </a:lnTo>
                    <a:lnTo>
                      <a:pt x="2857" y="92"/>
                    </a:lnTo>
                    <a:lnTo>
                      <a:pt x="2855" y="91"/>
                    </a:lnTo>
                    <a:lnTo>
                      <a:pt x="2854" y="90"/>
                    </a:lnTo>
                    <a:lnTo>
                      <a:pt x="2854" y="87"/>
                    </a:lnTo>
                    <a:lnTo>
                      <a:pt x="2854" y="86"/>
                    </a:lnTo>
                    <a:lnTo>
                      <a:pt x="2854" y="84"/>
                    </a:lnTo>
                    <a:lnTo>
                      <a:pt x="2854" y="84"/>
                    </a:lnTo>
                    <a:lnTo>
                      <a:pt x="2854" y="84"/>
                    </a:lnTo>
                    <a:lnTo>
                      <a:pt x="2855" y="86"/>
                    </a:lnTo>
                    <a:lnTo>
                      <a:pt x="2855" y="87"/>
                    </a:lnTo>
                    <a:lnTo>
                      <a:pt x="2857" y="89"/>
                    </a:lnTo>
                    <a:lnTo>
                      <a:pt x="2857" y="89"/>
                    </a:lnTo>
                    <a:lnTo>
                      <a:pt x="2858" y="94"/>
                    </a:lnTo>
                    <a:lnTo>
                      <a:pt x="2860" y="96"/>
                    </a:lnTo>
                    <a:lnTo>
                      <a:pt x="2862" y="100"/>
                    </a:lnTo>
                    <a:lnTo>
                      <a:pt x="2862" y="102"/>
                    </a:lnTo>
                    <a:lnTo>
                      <a:pt x="2862" y="107"/>
                    </a:lnTo>
                    <a:lnTo>
                      <a:pt x="2863" y="112"/>
                    </a:lnTo>
                    <a:lnTo>
                      <a:pt x="2864" y="118"/>
                    </a:lnTo>
                    <a:lnTo>
                      <a:pt x="2864" y="133"/>
                    </a:lnTo>
                    <a:lnTo>
                      <a:pt x="2865" y="138"/>
                    </a:lnTo>
                    <a:lnTo>
                      <a:pt x="2867" y="143"/>
                    </a:lnTo>
                    <a:lnTo>
                      <a:pt x="2867" y="150"/>
                    </a:lnTo>
                    <a:lnTo>
                      <a:pt x="2868" y="153"/>
                    </a:lnTo>
                    <a:lnTo>
                      <a:pt x="2869" y="156"/>
                    </a:lnTo>
                    <a:lnTo>
                      <a:pt x="2872" y="157"/>
                    </a:lnTo>
                    <a:lnTo>
                      <a:pt x="2873" y="158"/>
                    </a:lnTo>
                    <a:lnTo>
                      <a:pt x="2875" y="159"/>
                    </a:lnTo>
                    <a:lnTo>
                      <a:pt x="2878" y="162"/>
                    </a:lnTo>
                    <a:lnTo>
                      <a:pt x="2878" y="163"/>
                    </a:lnTo>
                    <a:lnTo>
                      <a:pt x="2879" y="164"/>
                    </a:lnTo>
                    <a:lnTo>
                      <a:pt x="2882" y="166"/>
                    </a:lnTo>
                    <a:lnTo>
                      <a:pt x="2883" y="166"/>
                    </a:lnTo>
                    <a:lnTo>
                      <a:pt x="2884" y="167"/>
                    </a:lnTo>
                    <a:lnTo>
                      <a:pt x="2885" y="167"/>
                    </a:lnTo>
                    <a:lnTo>
                      <a:pt x="2887" y="167"/>
                    </a:lnTo>
                    <a:lnTo>
                      <a:pt x="2887" y="167"/>
                    </a:lnTo>
                    <a:lnTo>
                      <a:pt x="2887" y="164"/>
                    </a:lnTo>
                    <a:lnTo>
                      <a:pt x="2885" y="162"/>
                    </a:lnTo>
                    <a:lnTo>
                      <a:pt x="2884" y="159"/>
                    </a:lnTo>
                    <a:lnTo>
                      <a:pt x="2883" y="157"/>
                    </a:lnTo>
                    <a:lnTo>
                      <a:pt x="2882" y="156"/>
                    </a:lnTo>
                    <a:lnTo>
                      <a:pt x="2880" y="155"/>
                    </a:lnTo>
                    <a:lnTo>
                      <a:pt x="2879" y="153"/>
                    </a:lnTo>
                    <a:lnTo>
                      <a:pt x="2878" y="152"/>
                    </a:lnTo>
                    <a:lnTo>
                      <a:pt x="2874" y="147"/>
                    </a:lnTo>
                    <a:lnTo>
                      <a:pt x="2870" y="140"/>
                    </a:lnTo>
                    <a:lnTo>
                      <a:pt x="2869" y="131"/>
                    </a:lnTo>
                    <a:lnTo>
                      <a:pt x="2868" y="130"/>
                    </a:lnTo>
                    <a:lnTo>
                      <a:pt x="2868" y="128"/>
                    </a:lnTo>
                    <a:lnTo>
                      <a:pt x="2868" y="127"/>
                    </a:lnTo>
                    <a:lnTo>
                      <a:pt x="2868" y="127"/>
                    </a:lnTo>
                    <a:lnTo>
                      <a:pt x="2869" y="128"/>
                    </a:lnTo>
                    <a:lnTo>
                      <a:pt x="2872" y="131"/>
                    </a:lnTo>
                    <a:lnTo>
                      <a:pt x="2872" y="133"/>
                    </a:lnTo>
                    <a:lnTo>
                      <a:pt x="2873" y="136"/>
                    </a:lnTo>
                    <a:lnTo>
                      <a:pt x="2875" y="138"/>
                    </a:lnTo>
                    <a:lnTo>
                      <a:pt x="2877" y="140"/>
                    </a:lnTo>
                    <a:lnTo>
                      <a:pt x="2878" y="138"/>
                    </a:lnTo>
                    <a:lnTo>
                      <a:pt x="2879" y="136"/>
                    </a:lnTo>
                    <a:lnTo>
                      <a:pt x="2879" y="133"/>
                    </a:lnTo>
                    <a:lnTo>
                      <a:pt x="2879" y="130"/>
                    </a:lnTo>
                    <a:lnTo>
                      <a:pt x="2878" y="126"/>
                    </a:lnTo>
                    <a:lnTo>
                      <a:pt x="2875" y="123"/>
                    </a:lnTo>
                    <a:lnTo>
                      <a:pt x="2874" y="121"/>
                    </a:lnTo>
                    <a:lnTo>
                      <a:pt x="2873" y="120"/>
                    </a:lnTo>
                    <a:lnTo>
                      <a:pt x="2873" y="118"/>
                    </a:lnTo>
                    <a:lnTo>
                      <a:pt x="2872" y="118"/>
                    </a:lnTo>
                    <a:lnTo>
                      <a:pt x="2872" y="115"/>
                    </a:lnTo>
                    <a:lnTo>
                      <a:pt x="2873" y="112"/>
                    </a:lnTo>
                    <a:lnTo>
                      <a:pt x="2873" y="111"/>
                    </a:lnTo>
                    <a:lnTo>
                      <a:pt x="2875" y="110"/>
                    </a:lnTo>
                    <a:lnTo>
                      <a:pt x="2875" y="108"/>
                    </a:lnTo>
                    <a:lnTo>
                      <a:pt x="2875" y="110"/>
                    </a:lnTo>
                    <a:lnTo>
                      <a:pt x="2877" y="111"/>
                    </a:lnTo>
                    <a:lnTo>
                      <a:pt x="2878" y="112"/>
                    </a:lnTo>
                    <a:lnTo>
                      <a:pt x="2880" y="115"/>
                    </a:lnTo>
                    <a:lnTo>
                      <a:pt x="2880" y="121"/>
                    </a:lnTo>
                    <a:lnTo>
                      <a:pt x="2883" y="121"/>
                    </a:lnTo>
                    <a:lnTo>
                      <a:pt x="2885" y="121"/>
                    </a:lnTo>
                    <a:lnTo>
                      <a:pt x="2888" y="123"/>
                    </a:lnTo>
                    <a:lnTo>
                      <a:pt x="2889" y="125"/>
                    </a:lnTo>
                    <a:lnTo>
                      <a:pt x="2890" y="127"/>
                    </a:lnTo>
                    <a:lnTo>
                      <a:pt x="2892" y="130"/>
                    </a:lnTo>
                    <a:lnTo>
                      <a:pt x="2893" y="133"/>
                    </a:lnTo>
                    <a:lnTo>
                      <a:pt x="2895" y="136"/>
                    </a:lnTo>
                    <a:lnTo>
                      <a:pt x="2898" y="137"/>
                    </a:lnTo>
                    <a:lnTo>
                      <a:pt x="2899" y="140"/>
                    </a:lnTo>
                    <a:lnTo>
                      <a:pt x="2899" y="142"/>
                    </a:lnTo>
                    <a:lnTo>
                      <a:pt x="2900" y="143"/>
                    </a:lnTo>
                    <a:lnTo>
                      <a:pt x="2903" y="146"/>
                    </a:lnTo>
                    <a:lnTo>
                      <a:pt x="2904" y="147"/>
                    </a:lnTo>
                    <a:lnTo>
                      <a:pt x="2905" y="148"/>
                    </a:lnTo>
                    <a:lnTo>
                      <a:pt x="2906" y="150"/>
                    </a:lnTo>
                    <a:lnTo>
                      <a:pt x="2908" y="150"/>
                    </a:lnTo>
                    <a:lnTo>
                      <a:pt x="2909" y="151"/>
                    </a:lnTo>
                    <a:lnTo>
                      <a:pt x="2910" y="153"/>
                    </a:lnTo>
                    <a:lnTo>
                      <a:pt x="2910" y="157"/>
                    </a:lnTo>
                    <a:lnTo>
                      <a:pt x="2910" y="159"/>
                    </a:lnTo>
                    <a:lnTo>
                      <a:pt x="2910" y="162"/>
                    </a:lnTo>
                    <a:lnTo>
                      <a:pt x="2909" y="164"/>
                    </a:lnTo>
                    <a:lnTo>
                      <a:pt x="2909" y="176"/>
                    </a:lnTo>
                    <a:lnTo>
                      <a:pt x="2910" y="181"/>
                    </a:lnTo>
                    <a:lnTo>
                      <a:pt x="2911" y="186"/>
                    </a:lnTo>
                    <a:lnTo>
                      <a:pt x="2911" y="191"/>
                    </a:lnTo>
                    <a:lnTo>
                      <a:pt x="2911" y="194"/>
                    </a:lnTo>
                    <a:lnTo>
                      <a:pt x="2911" y="199"/>
                    </a:lnTo>
                    <a:lnTo>
                      <a:pt x="2914" y="204"/>
                    </a:lnTo>
                    <a:lnTo>
                      <a:pt x="2914" y="205"/>
                    </a:lnTo>
                    <a:lnTo>
                      <a:pt x="2914" y="207"/>
                    </a:lnTo>
                    <a:lnTo>
                      <a:pt x="2914" y="207"/>
                    </a:lnTo>
                    <a:lnTo>
                      <a:pt x="2915" y="205"/>
                    </a:lnTo>
                    <a:lnTo>
                      <a:pt x="2916" y="204"/>
                    </a:lnTo>
                    <a:lnTo>
                      <a:pt x="2918" y="203"/>
                    </a:lnTo>
                    <a:lnTo>
                      <a:pt x="2919" y="203"/>
                    </a:lnTo>
                    <a:lnTo>
                      <a:pt x="2919" y="202"/>
                    </a:lnTo>
                    <a:lnTo>
                      <a:pt x="2919" y="202"/>
                    </a:lnTo>
                    <a:lnTo>
                      <a:pt x="2920" y="199"/>
                    </a:lnTo>
                    <a:lnTo>
                      <a:pt x="2921" y="198"/>
                    </a:lnTo>
                    <a:lnTo>
                      <a:pt x="2921" y="197"/>
                    </a:lnTo>
                    <a:lnTo>
                      <a:pt x="2921" y="193"/>
                    </a:lnTo>
                    <a:lnTo>
                      <a:pt x="2919" y="182"/>
                    </a:lnTo>
                    <a:lnTo>
                      <a:pt x="2914" y="173"/>
                    </a:lnTo>
                    <a:lnTo>
                      <a:pt x="2914" y="147"/>
                    </a:lnTo>
                    <a:lnTo>
                      <a:pt x="2911" y="143"/>
                    </a:lnTo>
                    <a:lnTo>
                      <a:pt x="2910" y="140"/>
                    </a:lnTo>
                    <a:lnTo>
                      <a:pt x="2906" y="137"/>
                    </a:lnTo>
                    <a:lnTo>
                      <a:pt x="2904" y="133"/>
                    </a:lnTo>
                    <a:lnTo>
                      <a:pt x="2904" y="132"/>
                    </a:lnTo>
                    <a:lnTo>
                      <a:pt x="2903" y="131"/>
                    </a:lnTo>
                    <a:lnTo>
                      <a:pt x="2903" y="128"/>
                    </a:lnTo>
                    <a:lnTo>
                      <a:pt x="2900" y="126"/>
                    </a:lnTo>
                    <a:lnTo>
                      <a:pt x="2899" y="126"/>
                    </a:lnTo>
                    <a:lnTo>
                      <a:pt x="2898" y="126"/>
                    </a:lnTo>
                    <a:lnTo>
                      <a:pt x="2898" y="125"/>
                    </a:lnTo>
                    <a:lnTo>
                      <a:pt x="2895" y="123"/>
                    </a:lnTo>
                    <a:lnTo>
                      <a:pt x="2892" y="111"/>
                    </a:lnTo>
                    <a:lnTo>
                      <a:pt x="2890" y="100"/>
                    </a:lnTo>
                    <a:lnTo>
                      <a:pt x="2889" y="95"/>
                    </a:lnTo>
                    <a:lnTo>
                      <a:pt x="2888" y="89"/>
                    </a:lnTo>
                    <a:lnTo>
                      <a:pt x="2885" y="84"/>
                    </a:lnTo>
                    <a:lnTo>
                      <a:pt x="2885" y="80"/>
                    </a:lnTo>
                    <a:lnTo>
                      <a:pt x="2887" y="77"/>
                    </a:lnTo>
                    <a:lnTo>
                      <a:pt x="2888" y="75"/>
                    </a:lnTo>
                    <a:lnTo>
                      <a:pt x="2888" y="74"/>
                    </a:lnTo>
                    <a:lnTo>
                      <a:pt x="2889" y="71"/>
                    </a:lnTo>
                    <a:lnTo>
                      <a:pt x="2892" y="70"/>
                    </a:lnTo>
                    <a:lnTo>
                      <a:pt x="2893" y="70"/>
                    </a:lnTo>
                    <a:lnTo>
                      <a:pt x="2895" y="70"/>
                    </a:lnTo>
                    <a:lnTo>
                      <a:pt x="2896" y="71"/>
                    </a:lnTo>
                    <a:lnTo>
                      <a:pt x="2898" y="71"/>
                    </a:lnTo>
                    <a:lnTo>
                      <a:pt x="2901" y="72"/>
                    </a:lnTo>
                    <a:lnTo>
                      <a:pt x="2908" y="74"/>
                    </a:lnTo>
                    <a:lnTo>
                      <a:pt x="2913" y="74"/>
                    </a:lnTo>
                    <a:lnTo>
                      <a:pt x="2918" y="72"/>
                    </a:lnTo>
                    <a:lnTo>
                      <a:pt x="2920" y="69"/>
                    </a:lnTo>
                    <a:lnTo>
                      <a:pt x="2919" y="64"/>
                    </a:lnTo>
                    <a:lnTo>
                      <a:pt x="2918" y="59"/>
                    </a:lnTo>
                    <a:lnTo>
                      <a:pt x="2915" y="55"/>
                    </a:lnTo>
                    <a:lnTo>
                      <a:pt x="2914" y="51"/>
                    </a:lnTo>
                    <a:lnTo>
                      <a:pt x="2913" y="48"/>
                    </a:lnTo>
                    <a:lnTo>
                      <a:pt x="2914" y="45"/>
                    </a:lnTo>
                    <a:lnTo>
                      <a:pt x="2915" y="44"/>
                    </a:lnTo>
                    <a:lnTo>
                      <a:pt x="2914" y="41"/>
                    </a:lnTo>
                    <a:lnTo>
                      <a:pt x="2913" y="40"/>
                    </a:lnTo>
                    <a:lnTo>
                      <a:pt x="2911" y="39"/>
                    </a:lnTo>
                    <a:lnTo>
                      <a:pt x="2911" y="38"/>
                    </a:lnTo>
                    <a:lnTo>
                      <a:pt x="2911" y="34"/>
                    </a:lnTo>
                    <a:lnTo>
                      <a:pt x="2913" y="31"/>
                    </a:lnTo>
                    <a:lnTo>
                      <a:pt x="2914" y="29"/>
                    </a:lnTo>
                    <a:lnTo>
                      <a:pt x="2914" y="26"/>
                    </a:lnTo>
                    <a:lnTo>
                      <a:pt x="2915" y="24"/>
                    </a:lnTo>
                    <a:lnTo>
                      <a:pt x="2916" y="21"/>
                    </a:lnTo>
                    <a:lnTo>
                      <a:pt x="2919" y="18"/>
                    </a:lnTo>
                    <a:lnTo>
                      <a:pt x="2920" y="16"/>
                    </a:lnTo>
                    <a:lnTo>
                      <a:pt x="2923" y="14"/>
                    </a:lnTo>
                    <a:lnTo>
                      <a:pt x="2924" y="11"/>
                    </a:lnTo>
                    <a:lnTo>
                      <a:pt x="2925" y="9"/>
                    </a:lnTo>
                    <a:lnTo>
                      <a:pt x="2926" y="7"/>
                    </a:lnTo>
                    <a:lnTo>
                      <a:pt x="2928" y="5"/>
                    </a:lnTo>
                    <a:lnTo>
                      <a:pt x="2929" y="4"/>
                    </a:lnTo>
                    <a:lnTo>
                      <a:pt x="2930" y="3"/>
                    </a:lnTo>
                    <a:lnTo>
                      <a:pt x="2931" y="5"/>
                    </a:lnTo>
                    <a:lnTo>
                      <a:pt x="2933" y="5"/>
                    </a:lnTo>
                    <a:lnTo>
                      <a:pt x="2934" y="5"/>
                    </a:lnTo>
                    <a:lnTo>
                      <a:pt x="2935" y="5"/>
                    </a:lnTo>
                    <a:lnTo>
                      <a:pt x="2936" y="4"/>
                    </a:lnTo>
                    <a:lnTo>
                      <a:pt x="2938" y="3"/>
                    </a:lnTo>
                    <a:lnTo>
                      <a:pt x="2939" y="2"/>
                    </a:lnTo>
                    <a:lnTo>
                      <a:pt x="294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96" name="Freeform 8"/>
              <p:cNvSpPr>
                <a:spLocks noEditPoints="1"/>
              </p:cNvSpPr>
              <p:nvPr/>
            </p:nvSpPr>
            <p:spPr bwMode="auto">
              <a:xfrm>
                <a:off x="5028" y="283"/>
                <a:ext cx="1117" cy="464"/>
              </a:xfrm>
              <a:custGeom>
                <a:avLst/>
                <a:gdLst>
                  <a:gd name="T0" fmla="*/ 3296 w 3352"/>
                  <a:gd name="T1" fmla="*/ 290 h 1393"/>
                  <a:gd name="T2" fmla="*/ 3275 w 3352"/>
                  <a:gd name="T3" fmla="*/ 336 h 1393"/>
                  <a:gd name="T4" fmla="*/ 3278 w 3352"/>
                  <a:gd name="T5" fmla="*/ 405 h 1393"/>
                  <a:gd name="T6" fmla="*/ 3286 w 3352"/>
                  <a:gd name="T7" fmla="*/ 473 h 1393"/>
                  <a:gd name="T8" fmla="*/ 3260 w 3352"/>
                  <a:gd name="T9" fmla="*/ 408 h 1393"/>
                  <a:gd name="T10" fmla="*/ 3256 w 3352"/>
                  <a:gd name="T11" fmla="*/ 342 h 1393"/>
                  <a:gd name="T12" fmla="*/ 3269 w 3352"/>
                  <a:gd name="T13" fmla="*/ 279 h 1393"/>
                  <a:gd name="T14" fmla="*/ 3283 w 3352"/>
                  <a:gd name="T15" fmla="*/ 241 h 1393"/>
                  <a:gd name="T16" fmla="*/ 3352 w 3352"/>
                  <a:gd name="T17" fmla="*/ 107 h 1393"/>
                  <a:gd name="T18" fmla="*/ 1236 w 3352"/>
                  <a:gd name="T19" fmla="*/ 159 h 1393"/>
                  <a:gd name="T20" fmla="*/ 1257 w 3352"/>
                  <a:gd name="T21" fmla="*/ 200 h 1393"/>
                  <a:gd name="T22" fmla="*/ 1311 w 3352"/>
                  <a:gd name="T23" fmla="*/ 292 h 1393"/>
                  <a:gd name="T24" fmla="*/ 1377 w 3352"/>
                  <a:gd name="T25" fmla="*/ 221 h 1393"/>
                  <a:gd name="T26" fmla="*/ 1470 w 3352"/>
                  <a:gd name="T27" fmla="*/ 203 h 1393"/>
                  <a:gd name="T28" fmla="*/ 1455 w 3352"/>
                  <a:gd name="T29" fmla="*/ 261 h 1393"/>
                  <a:gd name="T30" fmla="*/ 1387 w 3352"/>
                  <a:gd name="T31" fmla="*/ 349 h 1393"/>
                  <a:gd name="T32" fmla="*/ 1261 w 3352"/>
                  <a:gd name="T33" fmla="*/ 395 h 1393"/>
                  <a:gd name="T34" fmla="*/ 1253 w 3352"/>
                  <a:gd name="T35" fmla="*/ 514 h 1393"/>
                  <a:gd name="T36" fmla="*/ 1147 w 3352"/>
                  <a:gd name="T37" fmla="*/ 673 h 1393"/>
                  <a:gd name="T38" fmla="*/ 1293 w 3352"/>
                  <a:gd name="T39" fmla="*/ 836 h 1393"/>
                  <a:gd name="T40" fmla="*/ 1463 w 3352"/>
                  <a:gd name="T41" fmla="*/ 1012 h 1393"/>
                  <a:gd name="T42" fmla="*/ 1536 w 3352"/>
                  <a:gd name="T43" fmla="*/ 1048 h 1393"/>
                  <a:gd name="T44" fmla="*/ 1573 w 3352"/>
                  <a:gd name="T45" fmla="*/ 782 h 1393"/>
                  <a:gd name="T46" fmla="*/ 1557 w 3352"/>
                  <a:gd name="T47" fmla="*/ 626 h 1393"/>
                  <a:gd name="T48" fmla="*/ 1674 w 3352"/>
                  <a:gd name="T49" fmla="*/ 581 h 1393"/>
                  <a:gd name="T50" fmla="*/ 1766 w 3352"/>
                  <a:gd name="T51" fmla="*/ 688 h 1393"/>
                  <a:gd name="T52" fmla="*/ 1851 w 3352"/>
                  <a:gd name="T53" fmla="*/ 750 h 1393"/>
                  <a:gd name="T54" fmla="*/ 1950 w 3352"/>
                  <a:gd name="T55" fmla="*/ 812 h 1393"/>
                  <a:gd name="T56" fmla="*/ 2049 w 3352"/>
                  <a:gd name="T57" fmla="*/ 946 h 1393"/>
                  <a:gd name="T58" fmla="*/ 1763 w 3352"/>
                  <a:gd name="T59" fmla="*/ 1349 h 1393"/>
                  <a:gd name="T60" fmla="*/ 1563 w 3352"/>
                  <a:gd name="T61" fmla="*/ 1343 h 1393"/>
                  <a:gd name="T62" fmla="*/ 1352 w 3352"/>
                  <a:gd name="T63" fmla="*/ 1254 h 1393"/>
                  <a:gd name="T64" fmla="*/ 1334 w 3352"/>
                  <a:gd name="T65" fmla="*/ 1188 h 1393"/>
                  <a:gd name="T66" fmla="*/ 363 w 3352"/>
                  <a:gd name="T67" fmla="*/ 685 h 1393"/>
                  <a:gd name="T68" fmla="*/ 25 w 3352"/>
                  <a:gd name="T69" fmla="*/ 541 h 1393"/>
                  <a:gd name="T70" fmla="*/ 66 w 3352"/>
                  <a:gd name="T71" fmla="*/ 517 h 1393"/>
                  <a:gd name="T72" fmla="*/ 37 w 3352"/>
                  <a:gd name="T73" fmla="*/ 435 h 1393"/>
                  <a:gd name="T74" fmla="*/ 123 w 3352"/>
                  <a:gd name="T75" fmla="*/ 322 h 1393"/>
                  <a:gd name="T76" fmla="*/ 172 w 3352"/>
                  <a:gd name="T77" fmla="*/ 296 h 1393"/>
                  <a:gd name="T78" fmla="*/ 213 w 3352"/>
                  <a:gd name="T79" fmla="*/ 320 h 1393"/>
                  <a:gd name="T80" fmla="*/ 350 w 3352"/>
                  <a:gd name="T81" fmla="*/ 322 h 1393"/>
                  <a:gd name="T82" fmla="*/ 436 w 3352"/>
                  <a:gd name="T83" fmla="*/ 300 h 1393"/>
                  <a:gd name="T84" fmla="*/ 500 w 3352"/>
                  <a:gd name="T85" fmla="*/ 267 h 1393"/>
                  <a:gd name="T86" fmla="*/ 577 w 3352"/>
                  <a:gd name="T87" fmla="*/ 244 h 1393"/>
                  <a:gd name="T88" fmla="*/ 667 w 3352"/>
                  <a:gd name="T89" fmla="*/ 261 h 1393"/>
                  <a:gd name="T90" fmla="*/ 757 w 3352"/>
                  <a:gd name="T91" fmla="*/ 332 h 1393"/>
                  <a:gd name="T92" fmla="*/ 923 w 3352"/>
                  <a:gd name="T93" fmla="*/ 281 h 1393"/>
                  <a:gd name="T94" fmla="*/ 1069 w 3352"/>
                  <a:gd name="T95" fmla="*/ 300 h 1393"/>
                  <a:gd name="T96" fmla="*/ 1101 w 3352"/>
                  <a:gd name="T97" fmla="*/ 183 h 1393"/>
                  <a:gd name="T98" fmla="*/ 1132 w 3352"/>
                  <a:gd name="T99" fmla="*/ 297 h 1393"/>
                  <a:gd name="T100" fmla="*/ 1187 w 3352"/>
                  <a:gd name="T101" fmla="*/ 211 h 1393"/>
                  <a:gd name="T102" fmla="*/ 1156 w 3352"/>
                  <a:gd name="T103" fmla="*/ 87 h 1393"/>
                  <a:gd name="T104" fmla="*/ 964 w 3352"/>
                  <a:gd name="T105" fmla="*/ 77 h 1393"/>
                  <a:gd name="T106" fmla="*/ 1022 w 3352"/>
                  <a:gd name="T107" fmla="*/ 209 h 1393"/>
                  <a:gd name="T108" fmla="*/ 944 w 3352"/>
                  <a:gd name="T109" fmla="*/ 252 h 1393"/>
                  <a:gd name="T110" fmla="*/ 828 w 3352"/>
                  <a:gd name="T111" fmla="*/ 289 h 1393"/>
                  <a:gd name="T112" fmla="*/ 806 w 3352"/>
                  <a:gd name="T113" fmla="*/ 204 h 1393"/>
                  <a:gd name="T114" fmla="*/ 740 w 3352"/>
                  <a:gd name="T115" fmla="*/ 153 h 1393"/>
                  <a:gd name="T116" fmla="*/ 735 w 3352"/>
                  <a:gd name="T117" fmla="*/ 85 h 1393"/>
                  <a:gd name="T118" fmla="*/ 835 w 3352"/>
                  <a:gd name="T119" fmla="*/ 60 h 1393"/>
                  <a:gd name="T120" fmla="*/ 878 w 3352"/>
                  <a:gd name="T121" fmla="*/ 48 h 1393"/>
                  <a:gd name="T122" fmla="*/ 924 w 3352"/>
                  <a:gd name="T123" fmla="*/ 31 h 1393"/>
                  <a:gd name="T124" fmla="*/ 947 w 3352"/>
                  <a:gd name="T125" fmla="*/ 4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52" h="1393">
                    <a:moveTo>
                      <a:pt x="3317" y="220"/>
                    </a:moveTo>
                    <a:lnTo>
                      <a:pt x="3319" y="221"/>
                    </a:lnTo>
                    <a:lnTo>
                      <a:pt x="3322" y="224"/>
                    </a:lnTo>
                    <a:lnTo>
                      <a:pt x="3326" y="226"/>
                    </a:lnTo>
                    <a:lnTo>
                      <a:pt x="3327" y="230"/>
                    </a:lnTo>
                    <a:lnTo>
                      <a:pt x="3327" y="234"/>
                    </a:lnTo>
                    <a:lnTo>
                      <a:pt x="3330" y="240"/>
                    </a:lnTo>
                    <a:lnTo>
                      <a:pt x="3330" y="245"/>
                    </a:lnTo>
                    <a:lnTo>
                      <a:pt x="3331" y="249"/>
                    </a:lnTo>
                    <a:lnTo>
                      <a:pt x="3331" y="252"/>
                    </a:lnTo>
                    <a:lnTo>
                      <a:pt x="3329" y="257"/>
                    </a:lnTo>
                    <a:lnTo>
                      <a:pt x="3329" y="260"/>
                    </a:lnTo>
                    <a:lnTo>
                      <a:pt x="3327" y="262"/>
                    </a:lnTo>
                    <a:lnTo>
                      <a:pt x="3326" y="265"/>
                    </a:lnTo>
                    <a:lnTo>
                      <a:pt x="3325" y="266"/>
                    </a:lnTo>
                    <a:lnTo>
                      <a:pt x="3322" y="267"/>
                    </a:lnTo>
                    <a:lnTo>
                      <a:pt x="3321" y="267"/>
                    </a:lnTo>
                    <a:lnTo>
                      <a:pt x="3320" y="266"/>
                    </a:lnTo>
                    <a:lnTo>
                      <a:pt x="3319" y="266"/>
                    </a:lnTo>
                    <a:lnTo>
                      <a:pt x="3317" y="266"/>
                    </a:lnTo>
                    <a:lnTo>
                      <a:pt x="3316" y="266"/>
                    </a:lnTo>
                    <a:lnTo>
                      <a:pt x="3315" y="267"/>
                    </a:lnTo>
                    <a:lnTo>
                      <a:pt x="3314" y="269"/>
                    </a:lnTo>
                    <a:lnTo>
                      <a:pt x="3312" y="271"/>
                    </a:lnTo>
                    <a:lnTo>
                      <a:pt x="3311" y="274"/>
                    </a:lnTo>
                    <a:lnTo>
                      <a:pt x="3310" y="276"/>
                    </a:lnTo>
                    <a:lnTo>
                      <a:pt x="3307" y="276"/>
                    </a:lnTo>
                    <a:lnTo>
                      <a:pt x="3306" y="276"/>
                    </a:lnTo>
                    <a:lnTo>
                      <a:pt x="3306" y="277"/>
                    </a:lnTo>
                    <a:lnTo>
                      <a:pt x="3305" y="279"/>
                    </a:lnTo>
                    <a:lnTo>
                      <a:pt x="3304" y="281"/>
                    </a:lnTo>
                    <a:lnTo>
                      <a:pt x="3304" y="282"/>
                    </a:lnTo>
                    <a:lnTo>
                      <a:pt x="3302" y="285"/>
                    </a:lnTo>
                    <a:lnTo>
                      <a:pt x="3301" y="287"/>
                    </a:lnTo>
                    <a:lnTo>
                      <a:pt x="3299" y="289"/>
                    </a:lnTo>
                    <a:lnTo>
                      <a:pt x="3296" y="290"/>
                    </a:lnTo>
                    <a:lnTo>
                      <a:pt x="3296" y="301"/>
                    </a:lnTo>
                    <a:lnTo>
                      <a:pt x="3296" y="302"/>
                    </a:lnTo>
                    <a:lnTo>
                      <a:pt x="3295" y="303"/>
                    </a:lnTo>
                    <a:lnTo>
                      <a:pt x="3293" y="305"/>
                    </a:lnTo>
                    <a:lnTo>
                      <a:pt x="3290" y="306"/>
                    </a:lnTo>
                    <a:lnTo>
                      <a:pt x="3290" y="313"/>
                    </a:lnTo>
                    <a:lnTo>
                      <a:pt x="3290" y="317"/>
                    </a:lnTo>
                    <a:lnTo>
                      <a:pt x="3290" y="318"/>
                    </a:lnTo>
                    <a:lnTo>
                      <a:pt x="3290" y="317"/>
                    </a:lnTo>
                    <a:lnTo>
                      <a:pt x="3288" y="316"/>
                    </a:lnTo>
                    <a:lnTo>
                      <a:pt x="3286" y="316"/>
                    </a:lnTo>
                    <a:lnTo>
                      <a:pt x="3285" y="317"/>
                    </a:lnTo>
                    <a:lnTo>
                      <a:pt x="3285" y="318"/>
                    </a:lnTo>
                    <a:lnTo>
                      <a:pt x="3285" y="321"/>
                    </a:lnTo>
                    <a:lnTo>
                      <a:pt x="3286" y="323"/>
                    </a:lnTo>
                    <a:lnTo>
                      <a:pt x="3286" y="325"/>
                    </a:lnTo>
                    <a:lnTo>
                      <a:pt x="3285" y="327"/>
                    </a:lnTo>
                    <a:lnTo>
                      <a:pt x="3285" y="327"/>
                    </a:lnTo>
                    <a:lnTo>
                      <a:pt x="3284" y="327"/>
                    </a:lnTo>
                    <a:lnTo>
                      <a:pt x="3284" y="327"/>
                    </a:lnTo>
                    <a:lnTo>
                      <a:pt x="3284" y="328"/>
                    </a:lnTo>
                    <a:lnTo>
                      <a:pt x="3285" y="330"/>
                    </a:lnTo>
                    <a:lnTo>
                      <a:pt x="3285" y="332"/>
                    </a:lnTo>
                    <a:lnTo>
                      <a:pt x="3285" y="335"/>
                    </a:lnTo>
                    <a:lnTo>
                      <a:pt x="3285" y="337"/>
                    </a:lnTo>
                    <a:lnTo>
                      <a:pt x="3285" y="339"/>
                    </a:lnTo>
                    <a:lnTo>
                      <a:pt x="3285" y="339"/>
                    </a:lnTo>
                    <a:lnTo>
                      <a:pt x="3283" y="338"/>
                    </a:lnTo>
                    <a:lnTo>
                      <a:pt x="3280" y="335"/>
                    </a:lnTo>
                    <a:lnTo>
                      <a:pt x="3279" y="333"/>
                    </a:lnTo>
                    <a:lnTo>
                      <a:pt x="3276" y="332"/>
                    </a:lnTo>
                    <a:lnTo>
                      <a:pt x="3275" y="331"/>
                    </a:lnTo>
                    <a:lnTo>
                      <a:pt x="3274" y="332"/>
                    </a:lnTo>
                    <a:lnTo>
                      <a:pt x="3274" y="333"/>
                    </a:lnTo>
                    <a:lnTo>
                      <a:pt x="3274" y="335"/>
                    </a:lnTo>
                    <a:lnTo>
                      <a:pt x="3275" y="336"/>
                    </a:lnTo>
                    <a:lnTo>
                      <a:pt x="3276" y="337"/>
                    </a:lnTo>
                    <a:lnTo>
                      <a:pt x="3278" y="338"/>
                    </a:lnTo>
                    <a:lnTo>
                      <a:pt x="3279" y="341"/>
                    </a:lnTo>
                    <a:lnTo>
                      <a:pt x="3280" y="343"/>
                    </a:lnTo>
                    <a:lnTo>
                      <a:pt x="3281" y="344"/>
                    </a:lnTo>
                    <a:lnTo>
                      <a:pt x="3281" y="347"/>
                    </a:lnTo>
                    <a:lnTo>
                      <a:pt x="3281" y="347"/>
                    </a:lnTo>
                    <a:lnTo>
                      <a:pt x="3279" y="348"/>
                    </a:lnTo>
                    <a:lnTo>
                      <a:pt x="3283" y="356"/>
                    </a:lnTo>
                    <a:lnTo>
                      <a:pt x="3281" y="357"/>
                    </a:lnTo>
                    <a:lnTo>
                      <a:pt x="3281" y="357"/>
                    </a:lnTo>
                    <a:lnTo>
                      <a:pt x="3280" y="356"/>
                    </a:lnTo>
                    <a:lnTo>
                      <a:pt x="3279" y="354"/>
                    </a:lnTo>
                    <a:lnTo>
                      <a:pt x="3279" y="353"/>
                    </a:lnTo>
                    <a:lnTo>
                      <a:pt x="3278" y="354"/>
                    </a:lnTo>
                    <a:lnTo>
                      <a:pt x="3278" y="356"/>
                    </a:lnTo>
                    <a:lnTo>
                      <a:pt x="3278" y="357"/>
                    </a:lnTo>
                    <a:lnTo>
                      <a:pt x="3278" y="358"/>
                    </a:lnTo>
                    <a:lnTo>
                      <a:pt x="3279" y="358"/>
                    </a:lnTo>
                    <a:lnTo>
                      <a:pt x="3280" y="361"/>
                    </a:lnTo>
                    <a:lnTo>
                      <a:pt x="3281" y="364"/>
                    </a:lnTo>
                    <a:lnTo>
                      <a:pt x="3283" y="367"/>
                    </a:lnTo>
                    <a:lnTo>
                      <a:pt x="3279" y="367"/>
                    </a:lnTo>
                    <a:lnTo>
                      <a:pt x="3279" y="369"/>
                    </a:lnTo>
                    <a:lnTo>
                      <a:pt x="3280" y="372"/>
                    </a:lnTo>
                    <a:lnTo>
                      <a:pt x="3280" y="373"/>
                    </a:lnTo>
                    <a:lnTo>
                      <a:pt x="3280" y="374"/>
                    </a:lnTo>
                    <a:lnTo>
                      <a:pt x="3279" y="374"/>
                    </a:lnTo>
                    <a:lnTo>
                      <a:pt x="3279" y="376"/>
                    </a:lnTo>
                    <a:lnTo>
                      <a:pt x="3278" y="377"/>
                    </a:lnTo>
                    <a:lnTo>
                      <a:pt x="3278" y="381"/>
                    </a:lnTo>
                    <a:lnTo>
                      <a:pt x="3279" y="383"/>
                    </a:lnTo>
                    <a:lnTo>
                      <a:pt x="3279" y="387"/>
                    </a:lnTo>
                    <a:lnTo>
                      <a:pt x="3279" y="390"/>
                    </a:lnTo>
                    <a:lnTo>
                      <a:pt x="3279" y="393"/>
                    </a:lnTo>
                    <a:lnTo>
                      <a:pt x="3278" y="405"/>
                    </a:lnTo>
                    <a:lnTo>
                      <a:pt x="3279" y="419"/>
                    </a:lnTo>
                    <a:lnTo>
                      <a:pt x="3284" y="434"/>
                    </a:lnTo>
                    <a:lnTo>
                      <a:pt x="3288" y="449"/>
                    </a:lnTo>
                    <a:lnTo>
                      <a:pt x="3290" y="450"/>
                    </a:lnTo>
                    <a:lnTo>
                      <a:pt x="3291" y="453"/>
                    </a:lnTo>
                    <a:lnTo>
                      <a:pt x="3293" y="455"/>
                    </a:lnTo>
                    <a:lnTo>
                      <a:pt x="3294" y="459"/>
                    </a:lnTo>
                    <a:lnTo>
                      <a:pt x="3295" y="461"/>
                    </a:lnTo>
                    <a:lnTo>
                      <a:pt x="3296" y="464"/>
                    </a:lnTo>
                    <a:lnTo>
                      <a:pt x="3296" y="465"/>
                    </a:lnTo>
                    <a:lnTo>
                      <a:pt x="3297" y="465"/>
                    </a:lnTo>
                    <a:lnTo>
                      <a:pt x="3299" y="468"/>
                    </a:lnTo>
                    <a:lnTo>
                      <a:pt x="3300" y="469"/>
                    </a:lnTo>
                    <a:lnTo>
                      <a:pt x="3301" y="471"/>
                    </a:lnTo>
                    <a:lnTo>
                      <a:pt x="3302" y="474"/>
                    </a:lnTo>
                    <a:lnTo>
                      <a:pt x="3304" y="476"/>
                    </a:lnTo>
                    <a:lnTo>
                      <a:pt x="3305" y="479"/>
                    </a:lnTo>
                    <a:lnTo>
                      <a:pt x="3305" y="480"/>
                    </a:lnTo>
                    <a:lnTo>
                      <a:pt x="3304" y="481"/>
                    </a:lnTo>
                    <a:lnTo>
                      <a:pt x="3301" y="480"/>
                    </a:lnTo>
                    <a:lnTo>
                      <a:pt x="3300" y="479"/>
                    </a:lnTo>
                    <a:lnTo>
                      <a:pt x="3300" y="476"/>
                    </a:lnTo>
                    <a:lnTo>
                      <a:pt x="3299" y="475"/>
                    </a:lnTo>
                    <a:lnTo>
                      <a:pt x="3297" y="474"/>
                    </a:lnTo>
                    <a:lnTo>
                      <a:pt x="3295" y="474"/>
                    </a:lnTo>
                    <a:lnTo>
                      <a:pt x="3294" y="476"/>
                    </a:lnTo>
                    <a:lnTo>
                      <a:pt x="3294" y="478"/>
                    </a:lnTo>
                    <a:lnTo>
                      <a:pt x="3294" y="478"/>
                    </a:lnTo>
                    <a:lnTo>
                      <a:pt x="3293" y="479"/>
                    </a:lnTo>
                    <a:lnTo>
                      <a:pt x="3291" y="479"/>
                    </a:lnTo>
                    <a:lnTo>
                      <a:pt x="3291" y="479"/>
                    </a:lnTo>
                    <a:lnTo>
                      <a:pt x="3290" y="478"/>
                    </a:lnTo>
                    <a:lnTo>
                      <a:pt x="3289" y="475"/>
                    </a:lnTo>
                    <a:lnTo>
                      <a:pt x="3289" y="474"/>
                    </a:lnTo>
                    <a:lnTo>
                      <a:pt x="3288" y="473"/>
                    </a:lnTo>
                    <a:lnTo>
                      <a:pt x="3286" y="473"/>
                    </a:lnTo>
                    <a:lnTo>
                      <a:pt x="3285" y="473"/>
                    </a:lnTo>
                    <a:lnTo>
                      <a:pt x="3283" y="471"/>
                    </a:lnTo>
                    <a:lnTo>
                      <a:pt x="3281" y="470"/>
                    </a:lnTo>
                    <a:lnTo>
                      <a:pt x="3280" y="469"/>
                    </a:lnTo>
                    <a:lnTo>
                      <a:pt x="3279" y="468"/>
                    </a:lnTo>
                    <a:lnTo>
                      <a:pt x="3278" y="464"/>
                    </a:lnTo>
                    <a:lnTo>
                      <a:pt x="3278" y="461"/>
                    </a:lnTo>
                    <a:lnTo>
                      <a:pt x="3279" y="460"/>
                    </a:lnTo>
                    <a:lnTo>
                      <a:pt x="3279" y="458"/>
                    </a:lnTo>
                    <a:lnTo>
                      <a:pt x="3279" y="456"/>
                    </a:lnTo>
                    <a:lnTo>
                      <a:pt x="3279" y="455"/>
                    </a:lnTo>
                    <a:lnTo>
                      <a:pt x="3278" y="453"/>
                    </a:lnTo>
                    <a:lnTo>
                      <a:pt x="3276" y="449"/>
                    </a:lnTo>
                    <a:lnTo>
                      <a:pt x="3275" y="446"/>
                    </a:lnTo>
                    <a:lnTo>
                      <a:pt x="3274" y="443"/>
                    </a:lnTo>
                    <a:lnTo>
                      <a:pt x="3271" y="440"/>
                    </a:lnTo>
                    <a:lnTo>
                      <a:pt x="3271" y="439"/>
                    </a:lnTo>
                    <a:lnTo>
                      <a:pt x="3270" y="438"/>
                    </a:lnTo>
                    <a:lnTo>
                      <a:pt x="3269" y="436"/>
                    </a:lnTo>
                    <a:lnTo>
                      <a:pt x="3266" y="436"/>
                    </a:lnTo>
                    <a:lnTo>
                      <a:pt x="3264" y="436"/>
                    </a:lnTo>
                    <a:lnTo>
                      <a:pt x="3263" y="435"/>
                    </a:lnTo>
                    <a:lnTo>
                      <a:pt x="3260" y="434"/>
                    </a:lnTo>
                    <a:lnTo>
                      <a:pt x="3259" y="432"/>
                    </a:lnTo>
                    <a:lnTo>
                      <a:pt x="3256" y="428"/>
                    </a:lnTo>
                    <a:lnTo>
                      <a:pt x="3256" y="425"/>
                    </a:lnTo>
                    <a:lnTo>
                      <a:pt x="3256" y="423"/>
                    </a:lnTo>
                    <a:lnTo>
                      <a:pt x="3255" y="419"/>
                    </a:lnTo>
                    <a:lnTo>
                      <a:pt x="3255" y="417"/>
                    </a:lnTo>
                    <a:lnTo>
                      <a:pt x="3255" y="414"/>
                    </a:lnTo>
                    <a:lnTo>
                      <a:pt x="3255" y="412"/>
                    </a:lnTo>
                    <a:lnTo>
                      <a:pt x="3255" y="412"/>
                    </a:lnTo>
                    <a:lnTo>
                      <a:pt x="3256" y="412"/>
                    </a:lnTo>
                    <a:lnTo>
                      <a:pt x="3258" y="410"/>
                    </a:lnTo>
                    <a:lnTo>
                      <a:pt x="3259" y="409"/>
                    </a:lnTo>
                    <a:lnTo>
                      <a:pt x="3260" y="408"/>
                    </a:lnTo>
                    <a:lnTo>
                      <a:pt x="3260" y="405"/>
                    </a:lnTo>
                    <a:lnTo>
                      <a:pt x="3260" y="403"/>
                    </a:lnTo>
                    <a:lnTo>
                      <a:pt x="3259" y="400"/>
                    </a:lnTo>
                    <a:lnTo>
                      <a:pt x="3259" y="398"/>
                    </a:lnTo>
                    <a:lnTo>
                      <a:pt x="3259" y="390"/>
                    </a:lnTo>
                    <a:lnTo>
                      <a:pt x="3258" y="389"/>
                    </a:lnTo>
                    <a:lnTo>
                      <a:pt x="3256" y="389"/>
                    </a:lnTo>
                    <a:lnTo>
                      <a:pt x="3256" y="388"/>
                    </a:lnTo>
                    <a:lnTo>
                      <a:pt x="3256" y="387"/>
                    </a:lnTo>
                    <a:lnTo>
                      <a:pt x="3256" y="386"/>
                    </a:lnTo>
                    <a:lnTo>
                      <a:pt x="3256" y="383"/>
                    </a:lnTo>
                    <a:lnTo>
                      <a:pt x="3255" y="382"/>
                    </a:lnTo>
                    <a:lnTo>
                      <a:pt x="3255" y="381"/>
                    </a:lnTo>
                    <a:lnTo>
                      <a:pt x="3255" y="378"/>
                    </a:lnTo>
                    <a:lnTo>
                      <a:pt x="3255" y="378"/>
                    </a:lnTo>
                    <a:lnTo>
                      <a:pt x="3256" y="377"/>
                    </a:lnTo>
                    <a:lnTo>
                      <a:pt x="3256" y="378"/>
                    </a:lnTo>
                    <a:lnTo>
                      <a:pt x="3258" y="379"/>
                    </a:lnTo>
                    <a:lnTo>
                      <a:pt x="3259" y="378"/>
                    </a:lnTo>
                    <a:lnTo>
                      <a:pt x="3259" y="377"/>
                    </a:lnTo>
                    <a:lnTo>
                      <a:pt x="3258" y="373"/>
                    </a:lnTo>
                    <a:lnTo>
                      <a:pt x="3258" y="369"/>
                    </a:lnTo>
                    <a:lnTo>
                      <a:pt x="3258" y="366"/>
                    </a:lnTo>
                    <a:lnTo>
                      <a:pt x="3258" y="364"/>
                    </a:lnTo>
                    <a:lnTo>
                      <a:pt x="3259" y="364"/>
                    </a:lnTo>
                    <a:lnTo>
                      <a:pt x="3260" y="363"/>
                    </a:lnTo>
                    <a:lnTo>
                      <a:pt x="3261" y="362"/>
                    </a:lnTo>
                    <a:lnTo>
                      <a:pt x="3261" y="361"/>
                    </a:lnTo>
                    <a:lnTo>
                      <a:pt x="3261" y="358"/>
                    </a:lnTo>
                    <a:lnTo>
                      <a:pt x="3261" y="356"/>
                    </a:lnTo>
                    <a:lnTo>
                      <a:pt x="3261" y="353"/>
                    </a:lnTo>
                    <a:lnTo>
                      <a:pt x="3260" y="351"/>
                    </a:lnTo>
                    <a:lnTo>
                      <a:pt x="3259" y="348"/>
                    </a:lnTo>
                    <a:lnTo>
                      <a:pt x="3258" y="347"/>
                    </a:lnTo>
                    <a:lnTo>
                      <a:pt x="3256" y="344"/>
                    </a:lnTo>
                    <a:lnTo>
                      <a:pt x="3256" y="342"/>
                    </a:lnTo>
                    <a:lnTo>
                      <a:pt x="3258" y="341"/>
                    </a:lnTo>
                    <a:lnTo>
                      <a:pt x="3258" y="338"/>
                    </a:lnTo>
                    <a:lnTo>
                      <a:pt x="3259" y="336"/>
                    </a:lnTo>
                    <a:lnTo>
                      <a:pt x="3259" y="335"/>
                    </a:lnTo>
                    <a:lnTo>
                      <a:pt x="3259" y="322"/>
                    </a:lnTo>
                    <a:lnTo>
                      <a:pt x="3261" y="318"/>
                    </a:lnTo>
                    <a:lnTo>
                      <a:pt x="3261" y="316"/>
                    </a:lnTo>
                    <a:lnTo>
                      <a:pt x="3261" y="313"/>
                    </a:lnTo>
                    <a:lnTo>
                      <a:pt x="3261" y="303"/>
                    </a:lnTo>
                    <a:lnTo>
                      <a:pt x="3261" y="301"/>
                    </a:lnTo>
                    <a:lnTo>
                      <a:pt x="3260" y="301"/>
                    </a:lnTo>
                    <a:lnTo>
                      <a:pt x="3260" y="300"/>
                    </a:lnTo>
                    <a:lnTo>
                      <a:pt x="3259" y="297"/>
                    </a:lnTo>
                    <a:lnTo>
                      <a:pt x="3258" y="296"/>
                    </a:lnTo>
                    <a:lnTo>
                      <a:pt x="3256" y="293"/>
                    </a:lnTo>
                    <a:lnTo>
                      <a:pt x="3256" y="290"/>
                    </a:lnTo>
                    <a:lnTo>
                      <a:pt x="3255" y="287"/>
                    </a:lnTo>
                    <a:lnTo>
                      <a:pt x="3255" y="285"/>
                    </a:lnTo>
                    <a:lnTo>
                      <a:pt x="3255" y="282"/>
                    </a:lnTo>
                    <a:lnTo>
                      <a:pt x="3256" y="282"/>
                    </a:lnTo>
                    <a:lnTo>
                      <a:pt x="3256" y="282"/>
                    </a:lnTo>
                    <a:lnTo>
                      <a:pt x="3258" y="282"/>
                    </a:lnTo>
                    <a:lnTo>
                      <a:pt x="3258" y="284"/>
                    </a:lnTo>
                    <a:lnTo>
                      <a:pt x="3259" y="282"/>
                    </a:lnTo>
                    <a:lnTo>
                      <a:pt x="3259" y="282"/>
                    </a:lnTo>
                    <a:lnTo>
                      <a:pt x="3259" y="281"/>
                    </a:lnTo>
                    <a:lnTo>
                      <a:pt x="3259" y="280"/>
                    </a:lnTo>
                    <a:lnTo>
                      <a:pt x="3260" y="279"/>
                    </a:lnTo>
                    <a:lnTo>
                      <a:pt x="3260" y="277"/>
                    </a:lnTo>
                    <a:lnTo>
                      <a:pt x="3261" y="276"/>
                    </a:lnTo>
                    <a:lnTo>
                      <a:pt x="3264" y="279"/>
                    </a:lnTo>
                    <a:lnTo>
                      <a:pt x="3264" y="280"/>
                    </a:lnTo>
                    <a:lnTo>
                      <a:pt x="3265" y="280"/>
                    </a:lnTo>
                    <a:lnTo>
                      <a:pt x="3266" y="280"/>
                    </a:lnTo>
                    <a:lnTo>
                      <a:pt x="3268" y="280"/>
                    </a:lnTo>
                    <a:lnTo>
                      <a:pt x="3269" y="279"/>
                    </a:lnTo>
                    <a:lnTo>
                      <a:pt x="3268" y="276"/>
                    </a:lnTo>
                    <a:lnTo>
                      <a:pt x="3268" y="274"/>
                    </a:lnTo>
                    <a:lnTo>
                      <a:pt x="3268" y="271"/>
                    </a:lnTo>
                    <a:lnTo>
                      <a:pt x="3266" y="270"/>
                    </a:lnTo>
                    <a:lnTo>
                      <a:pt x="3266" y="267"/>
                    </a:lnTo>
                    <a:lnTo>
                      <a:pt x="3265" y="266"/>
                    </a:lnTo>
                    <a:lnTo>
                      <a:pt x="3266" y="266"/>
                    </a:lnTo>
                    <a:lnTo>
                      <a:pt x="3268" y="266"/>
                    </a:lnTo>
                    <a:lnTo>
                      <a:pt x="3269" y="266"/>
                    </a:lnTo>
                    <a:lnTo>
                      <a:pt x="3270" y="266"/>
                    </a:lnTo>
                    <a:lnTo>
                      <a:pt x="3270" y="265"/>
                    </a:lnTo>
                    <a:lnTo>
                      <a:pt x="3270" y="262"/>
                    </a:lnTo>
                    <a:lnTo>
                      <a:pt x="3270" y="261"/>
                    </a:lnTo>
                    <a:lnTo>
                      <a:pt x="3270" y="259"/>
                    </a:lnTo>
                    <a:lnTo>
                      <a:pt x="3270" y="256"/>
                    </a:lnTo>
                    <a:lnTo>
                      <a:pt x="3270" y="255"/>
                    </a:lnTo>
                    <a:lnTo>
                      <a:pt x="3273" y="255"/>
                    </a:lnTo>
                    <a:lnTo>
                      <a:pt x="3274" y="254"/>
                    </a:lnTo>
                    <a:lnTo>
                      <a:pt x="3275" y="254"/>
                    </a:lnTo>
                    <a:lnTo>
                      <a:pt x="3276" y="254"/>
                    </a:lnTo>
                    <a:lnTo>
                      <a:pt x="3276" y="252"/>
                    </a:lnTo>
                    <a:lnTo>
                      <a:pt x="3276" y="247"/>
                    </a:lnTo>
                    <a:lnTo>
                      <a:pt x="3278" y="247"/>
                    </a:lnTo>
                    <a:lnTo>
                      <a:pt x="3279" y="249"/>
                    </a:lnTo>
                    <a:lnTo>
                      <a:pt x="3279" y="250"/>
                    </a:lnTo>
                    <a:lnTo>
                      <a:pt x="3280" y="251"/>
                    </a:lnTo>
                    <a:lnTo>
                      <a:pt x="3281" y="252"/>
                    </a:lnTo>
                    <a:lnTo>
                      <a:pt x="3281" y="252"/>
                    </a:lnTo>
                    <a:lnTo>
                      <a:pt x="3281" y="252"/>
                    </a:lnTo>
                    <a:lnTo>
                      <a:pt x="3283" y="250"/>
                    </a:lnTo>
                    <a:lnTo>
                      <a:pt x="3281" y="247"/>
                    </a:lnTo>
                    <a:lnTo>
                      <a:pt x="3281" y="246"/>
                    </a:lnTo>
                    <a:lnTo>
                      <a:pt x="3281" y="244"/>
                    </a:lnTo>
                    <a:lnTo>
                      <a:pt x="3281" y="242"/>
                    </a:lnTo>
                    <a:lnTo>
                      <a:pt x="3281" y="241"/>
                    </a:lnTo>
                    <a:lnTo>
                      <a:pt x="3283" y="241"/>
                    </a:lnTo>
                    <a:lnTo>
                      <a:pt x="3285" y="242"/>
                    </a:lnTo>
                    <a:lnTo>
                      <a:pt x="3286" y="242"/>
                    </a:lnTo>
                    <a:lnTo>
                      <a:pt x="3288" y="244"/>
                    </a:lnTo>
                    <a:lnTo>
                      <a:pt x="3289" y="245"/>
                    </a:lnTo>
                    <a:lnTo>
                      <a:pt x="3290" y="247"/>
                    </a:lnTo>
                    <a:lnTo>
                      <a:pt x="3293" y="247"/>
                    </a:lnTo>
                    <a:lnTo>
                      <a:pt x="3293" y="246"/>
                    </a:lnTo>
                    <a:lnTo>
                      <a:pt x="3294" y="245"/>
                    </a:lnTo>
                    <a:lnTo>
                      <a:pt x="3294" y="245"/>
                    </a:lnTo>
                    <a:lnTo>
                      <a:pt x="3295" y="245"/>
                    </a:lnTo>
                    <a:lnTo>
                      <a:pt x="3297" y="246"/>
                    </a:lnTo>
                    <a:lnTo>
                      <a:pt x="3300" y="246"/>
                    </a:lnTo>
                    <a:lnTo>
                      <a:pt x="3302" y="245"/>
                    </a:lnTo>
                    <a:lnTo>
                      <a:pt x="3305" y="242"/>
                    </a:lnTo>
                    <a:lnTo>
                      <a:pt x="3306" y="241"/>
                    </a:lnTo>
                    <a:lnTo>
                      <a:pt x="3307" y="240"/>
                    </a:lnTo>
                    <a:lnTo>
                      <a:pt x="3309" y="239"/>
                    </a:lnTo>
                    <a:lnTo>
                      <a:pt x="3309" y="238"/>
                    </a:lnTo>
                    <a:lnTo>
                      <a:pt x="3309" y="236"/>
                    </a:lnTo>
                    <a:lnTo>
                      <a:pt x="3307" y="234"/>
                    </a:lnTo>
                    <a:lnTo>
                      <a:pt x="3307" y="230"/>
                    </a:lnTo>
                    <a:lnTo>
                      <a:pt x="3309" y="226"/>
                    </a:lnTo>
                    <a:lnTo>
                      <a:pt x="3311" y="224"/>
                    </a:lnTo>
                    <a:lnTo>
                      <a:pt x="3312" y="223"/>
                    </a:lnTo>
                    <a:lnTo>
                      <a:pt x="3314" y="221"/>
                    </a:lnTo>
                    <a:lnTo>
                      <a:pt x="3316" y="221"/>
                    </a:lnTo>
                    <a:lnTo>
                      <a:pt x="3317" y="220"/>
                    </a:lnTo>
                    <a:close/>
                    <a:moveTo>
                      <a:pt x="3342" y="98"/>
                    </a:moveTo>
                    <a:lnTo>
                      <a:pt x="3345" y="99"/>
                    </a:lnTo>
                    <a:lnTo>
                      <a:pt x="3346" y="99"/>
                    </a:lnTo>
                    <a:lnTo>
                      <a:pt x="3349" y="101"/>
                    </a:lnTo>
                    <a:lnTo>
                      <a:pt x="3350" y="102"/>
                    </a:lnTo>
                    <a:lnTo>
                      <a:pt x="3350" y="104"/>
                    </a:lnTo>
                    <a:lnTo>
                      <a:pt x="3351" y="104"/>
                    </a:lnTo>
                    <a:lnTo>
                      <a:pt x="3352" y="106"/>
                    </a:lnTo>
                    <a:lnTo>
                      <a:pt x="3352" y="107"/>
                    </a:lnTo>
                    <a:lnTo>
                      <a:pt x="3351" y="107"/>
                    </a:lnTo>
                    <a:lnTo>
                      <a:pt x="3350" y="106"/>
                    </a:lnTo>
                    <a:lnTo>
                      <a:pt x="3347" y="104"/>
                    </a:lnTo>
                    <a:lnTo>
                      <a:pt x="3346" y="103"/>
                    </a:lnTo>
                    <a:lnTo>
                      <a:pt x="3345" y="101"/>
                    </a:lnTo>
                    <a:lnTo>
                      <a:pt x="3342" y="99"/>
                    </a:lnTo>
                    <a:lnTo>
                      <a:pt x="3342" y="98"/>
                    </a:lnTo>
                    <a:lnTo>
                      <a:pt x="3342" y="98"/>
                    </a:lnTo>
                    <a:close/>
                    <a:moveTo>
                      <a:pt x="1171" y="67"/>
                    </a:moveTo>
                    <a:lnTo>
                      <a:pt x="1174" y="68"/>
                    </a:lnTo>
                    <a:lnTo>
                      <a:pt x="1176" y="70"/>
                    </a:lnTo>
                    <a:lnTo>
                      <a:pt x="1177" y="71"/>
                    </a:lnTo>
                    <a:lnTo>
                      <a:pt x="1177" y="72"/>
                    </a:lnTo>
                    <a:lnTo>
                      <a:pt x="1177" y="73"/>
                    </a:lnTo>
                    <a:lnTo>
                      <a:pt x="1179" y="75"/>
                    </a:lnTo>
                    <a:lnTo>
                      <a:pt x="1180" y="76"/>
                    </a:lnTo>
                    <a:lnTo>
                      <a:pt x="1181" y="77"/>
                    </a:lnTo>
                    <a:lnTo>
                      <a:pt x="1183" y="77"/>
                    </a:lnTo>
                    <a:lnTo>
                      <a:pt x="1193" y="77"/>
                    </a:lnTo>
                    <a:lnTo>
                      <a:pt x="1200" y="80"/>
                    </a:lnTo>
                    <a:lnTo>
                      <a:pt x="1202" y="85"/>
                    </a:lnTo>
                    <a:lnTo>
                      <a:pt x="1205" y="93"/>
                    </a:lnTo>
                    <a:lnTo>
                      <a:pt x="1206" y="99"/>
                    </a:lnTo>
                    <a:lnTo>
                      <a:pt x="1211" y="106"/>
                    </a:lnTo>
                    <a:lnTo>
                      <a:pt x="1215" y="111"/>
                    </a:lnTo>
                    <a:lnTo>
                      <a:pt x="1218" y="117"/>
                    </a:lnTo>
                    <a:lnTo>
                      <a:pt x="1218" y="123"/>
                    </a:lnTo>
                    <a:lnTo>
                      <a:pt x="1220" y="131"/>
                    </a:lnTo>
                    <a:lnTo>
                      <a:pt x="1226" y="138"/>
                    </a:lnTo>
                    <a:lnTo>
                      <a:pt x="1228" y="139"/>
                    </a:lnTo>
                    <a:lnTo>
                      <a:pt x="1231" y="143"/>
                    </a:lnTo>
                    <a:lnTo>
                      <a:pt x="1233" y="147"/>
                    </a:lnTo>
                    <a:lnTo>
                      <a:pt x="1236" y="150"/>
                    </a:lnTo>
                    <a:lnTo>
                      <a:pt x="1237" y="154"/>
                    </a:lnTo>
                    <a:lnTo>
                      <a:pt x="1237" y="157"/>
                    </a:lnTo>
                    <a:lnTo>
                      <a:pt x="1236" y="159"/>
                    </a:lnTo>
                    <a:lnTo>
                      <a:pt x="1235" y="160"/>
                    </a:lnTo>
                    <a:lnTo>
                      <a:pt x="1233" y="160"/>
                    </a:lnTo>
                    <a:lnTo>
                      <a:pt x="1231" y="160"/>
                    </a:lnTo>
                    <a:lnTo>
                      <a:pt x="1228" y="160"/>
                    </a:lnTo>
                    <a:lnTo>
                      <a:pt x="1226" y="160"/>
                    </a:lnTo>
                    <a:lnTo>
                      <a:pt x="1222" y="160"/>
                    </a:lnTo>
                    <a:lnTo>
                      <a:pt x="1220" y="160"/>
                    </a:lnTo>
                    <a:lnTo>
                      <a:pt x="1218" y="160"/>
                    </a:lnTo>
                    <a:lnTo>
                      <a:pt x="1217" y="164"/>
                    </a:lnTo>
                    <a:lnTo>
                      <a:pt x="1217" y="167"/>
                    </a:lnTo>
                    <a:lnTo>
                      <a:pt x="1218" y="169"/>
                    </a:lnTo>
                    <a:lnTo>
                      <a:pt x="1220" y="172"/>
                    </a:lnTo>
                    <a:lnTo>
                      <a:pt x="1221" y="174"/>
                    </a:lnTo>
                    <a:lnTo>
                      <a:pt x="1220" y="177"/>
                    </a:lnTo>
                    <a:lnTo>
                      <a:pt x="1218" y="178"/>
                    </a:lnTo>
                    <a:lnTo>
                      <a:pt x="1216" y="180"/>
                    </a:lnTo>
                    <a:lnTo>
                      <a:pt x="1215" y="182"/>
                    </a:lnTo>
                    <a:lnTo>
                      <a:pt x="1216" y="185"/>
                    </a:lnTo>
                    <a:lnTo>
                      <a:pt x="1217" y="188"/>
                    </a:lnTo>
                    <a:lnTo>
                      <a:pt x="1218" y="190"/>
                    </a:lnTo>
                    <a:lnTo>
                      <a:pt x="1221" y="191"/>
                    </a:lnTo>
                    <a:lnTo>
                      <a:pt x="1223" y="193"/>
                    </a:lnTo>
                    <a:lnTo>
                      <a:pt x="1226" y="193"/>
                    </a:lnTo>
                    <a:lnTo>
                      <a:pt x="1228" y="193"/>
                    </a:lnTo>
                    <a:lnTo>
                      <a:pt x="1231" y="191"/>
                    </a:lnTo>
                    <a:lnTo>
                      <a:pt x="1233" y="190"/>
                    </a:lnTo>
                    <a:lnTo>
                      <a:pt x="1236" y="190"/>
                    </a:lnTo>
                    <a:lnTo>
                      <a:pt x="1238" y="190"/>
                    </a:lnTo>
                    <a:lnTo>
                      <a:pt x="1241" y="190"/>
                    </a:lnTo>
                    <a:lnTo>
                      <a:pt x="1245" y="193"/>
                    </a:lnTo>
                    <a:lnTo>
                      <a:pt x="1246" y="194"/>
                    </a:lnTo>
                    <a:lnTo>
                      <a:pt x="1248" y="195"/>
                    </a:lnTo>
                    <a:lnTo>
                      <a:pt x="1251" y="196"/>
                    </a:lnTo>
                    <a:lnTo>
                      <a:pt x="1253" y="196"/>
                    </a:lnTo>
                    <a:lnTo>
                      <a:pt x="1256" y="198"/>
                    </a:lnTo>
                    <a:lnTo>
                      <a:pt x="1257" y="200"/>
                    </a:lnTo>
                    <a:lnTo>
                      <a:pt x="1257" y="208"/>
                    </a:lnTo>
                    <a:lnTo>
                      <a:pt x="1253" y="216"/>
                    </a:lnTo>
                    <a:lnTo>
                      <a:pt x="1252" y="224"/>
                    </a:lnTo>
                    <a:lnTo>
                      <a:pt x="1252" y="226"/>
                    </a:lnTo>
                    <a:lnTo>
                      <a:pt x="1253" y="229"/>
                    </a:lnTo>
                    <a:lnTo>
                      <a:pt x="1254" y="233"/>
                    </a:lnTo>
                    <a:lnTo>
                      <a:pt x="1254" y="234"/>
                    </a:lnTo>
                    <a:lnTo>
                      <a:pt x="1254" y="239"/>
                    </a:lnTo>
                    <a:lnTo>
                      <a:pt x="1257" y="247"/>
                    </a:lnTo>
                    <a:lnTo>
                      <a:pt x="1259" y="255"/>
                    </a:lnTo>
                    <a:lnTo>
                      <a:pt x="1264" y="257"/>
                    </a:lnTo>
                    <a:lnTo>
                      <a:pt x="1267" y="249"/>
                    </a:lnTo>
                    <a:lnTo>
                      <a:pt x="1268" y="239"/>
                    </a:lnTo>
                    <a:lnTo>
                      <a:pt x="1271" y="229"/>
                    </a:lnTo>
                    <a:lnTo>
                      <a:pt x="1274" y="219"/>
                    </a:lnTo>
                    <a:lnTo>
                      <a:pt x="1283" y="211"/>
                    </a:lnTo>
                    <a:lnTo>
                      <a:pt x="1288" y="209"/>
                    </a:lnTo>
                    <a:lnTo>
                      <a:pt x="1293" y="206"/>
                    </a:lnTo>
                    <a:lnTo>
                      <a:pt x="1299" y="206"/>
                    </a:lnTo>
                    <a:lnTo>
                      <a:pt x="1304" y="208"/>
                    </a:lnTo>
                    <a:lnTo>
                      <a:pt x="1307" y="216"/>
                    </a:lnTo>
                    <a:lnTo>
                      <a:pt x="1311" y="223"/>
                    </a:lnTo>
                    <a:lnTo>
                      <a:pt x="1317" y="229"/>
                    </a:lnTo>
                    <a:lnTo>
                      <a:pt x="1322" y="233"/>
                    </a:lnTo>
                    <a:lnTo>
                      <a:pt x="1326" y="238"/>
                    </a:lnTo>
                    <a:lnTo>
                      <a:pt x="1327" y="242"/>
                    </a:lnTo>
                    <a:lnTo>
                      <a:pt x="1328" y="247"/>
                    </a:lnTo>
                    <a:lnTo>
                      <a:pt x="1327" y="251"/>
                    </a:lnTo>
                    <a:lnTo>
                      <a:pt x="1324" y="254"/>
                    </a:lnTo>
                    <a:lnTo>
                      <a:pt x="1322" y="255"/>
                    </a:lnTo>
                    <a:lnTo>
                      <a:pt x="1319" y="256"/>
                    </a:lnTo>
                    <a:lnTo>
                      <a:pt x="1317" y="259"/>
                    </a:lnTo>
                    <a:lnTo>
                      <a:pt x="1314" y="261"/>
                    </a:lnTo>
                    <a:lnTo>
                      <a:pt x="1309" y="270"/>
                    </a:lnTo>
                    <a:lnTo>
                      <a:pt x="1308" y="281"/>
                    </a:lnTo>
                    <a:lnTo>
                      <a:pt x="1311" y="292"/>
                    </a:lnTo>
                    <a:lnTo>
                      <a:pt x="1317" y="300"/>
                    </a:lnTo>
                    <a:lnTo>
                      <a:pt x="1319" y="301"/>
                    </a:lnTo>
                    <a:lnTo>
                      <a:pt x="1321" y="302"/>
                    </a:lnTo>
                    <a:lnTo>
                      <a:pt x="1322" y="302"/>
                    </a:lnTo>
                    <a:lnTo>
                      <a:pt x="1323" y="303"/>
                    </a:lnTo>
                    <a:lnTo>
                      <a:pt x="1324" y="306"/>
                    </a:lnTo>
                    <a:lnTo>
                      <a:pt x="1326" y="307"/>
                    </a:lnTo>
                    <a:lnTo>
                      <a:pt x="1328" y="310"/>
                    </a:lnTo>
                    <a:lnTo>
                      <a:pt x="1330" y="312"/>
                    </a:lnTo>
                    <a:lnTo>
                      <a:pt x="1333" y="313"/>
                    </a:lnTo>
                    <a:lnTo>
                      <a:pt x="1335" y="312"/>
                    </a:lnTo>
                    <a:lnTo>
                      <a:pt x="1338" y="311"/>
                    </a:lnTo>
                    <a:lnTo>
                      <a:pt x="1339" y="308"/>
                    </a:lnTo>
                    <a:lnTo>
                      <a:pt x="1340" y="307"/>
                    </a:lnTo>
                    <a:lnTo>
                      <a:pt x="1340" y="305"/>
                    </a:lnTo>
                    <a:lnTo>
                      <a:pt x="1340" y="298"/>
                    </a:lnTo>
                    <a:lnTo>
                      <a:pt x="1338" y="292"/>
                    </a:lnTo>
                    <a:lnTo>
                      <a:pt x="1335" y="286"/>
                    </a:lnTo>
                    <a:lnTo>
                      <a:pt x="1335" y="279"/>
                    </a:lnTo>
                    <a:lnTo>
                      <a:pt x="1338" y="271"/>
                    </a:lnTo>
                    <a:lnTo>
                      <a:pt x="1343" y="267"/>
                    </a:lnTo>
                    <a:lnTo>
                      <a:pt x="1349" y="266"/>
                    </a:lnTo>
                    <a:lnTo>
                      <a:pt x="1355" y="266"/>
                    </a:lnTo>
                    <a:lnTo>
                      <a:pt x="1362" y="266"/>
                    </a:lnTo>
                    <a:lnTo>
                      <a:pt x="1368" y="264"/>
                    </a:lnTo>
                    <a:lnTo>
                      <a:pt x="1372" y="260"/>
                    </a:lnTo>
                    <a:lnTo>
                      <a:pt x="1372" y="255"/>
                    </a:lnTo>
                    <a:lnTo>
                      <a:pt x="1369" y="247"/>
                    </a:lnTo>
                    <a:lnTo>
                      <a:pt x="1368" y="241"/>
                    </a:lnTo>
                    <a:lnTo>
                      <a:pt x="1367" y="238"/>
                    </a:lnTo>
                    <a:lnTo>
                      <a:pt x="1367" y="234"/>
                    </a:lnTo>
                    <a:lnTo>
                      <a:pt x="1368" y="230"/>
                    </a:lnTo>
                    <a:lnTo>
                      <a:pt x="1369" y="228"/>
                    </a:lnTo>
                    <a:lnTo>
                      <a:pt x="1370" y="225"/>
                    </a:lnTo>
                    <a:lnTo>
                      <a:pt x="1373" y="223"/>
                    </a:lnTo>
                    <a:lnTo>
                      <a:pt x="1377" y="221"/>
                    </a:lnTo>
                    <a:lnTo>
                      <a:pt x="1380" y="221"/>
                    </a:lnTo>
                    <a:lnTo>
                      <a:pt x="1384" y="221"/>
                    </a:lnTo>
                    <a:lnTo>
                      <a:pt x="1387" y="220"/>
                    </a:lnTo>
                    <a:lnTo>
                      <a:pt x="1389" y="218"/>
                    </a:lnTo>
                    <a:lnTo>
                      <a:pt x="1390" y="215"/>
                    </a:lnTo>
                    <a:lnTo>
                      <a:pt x="1392" y="211"/>
                    </a:lnTo>
                    <a:lnTo>
                      <a:pt x="1390" y="208"/>
                    </a:lnTo>
                    <a:lnTo>
                      <a:pt x="1388" y="204"/>
                    </a:lnTo>
                    <a:lnTo>
                      <a:pt x="1384" y="200"/>
                    </a:lnTo>
                    <a:lnTo>
                      <a:pt x="1380" y="196"/>
                    </a:lnTo>
                    <a:lnTo>
                      <a:pt x="1378" y="193"/>
                    </a:lnTo>
                    <a:lnTo>
                      <a:pt x="1377" y="189"/>
                    </a:lnTo>
                    <a:lnTo>
                      <a:pt x="1375" y="187"/>
                    </a:lnTo>
                    <a:lnTo>
                      <a:pt x="1375" y="183"/>
                    </a:lnTo>
                    <a:lnTo>
                      <a:pt x="1377" y="179"/>
                    </a:lnTo>
                    <a:lnTo>
                      <a:pt x="1378" y="177"/>
                    </a:lnTo>
                    <a:lnTo>
                      <a:pt x="1380" y="174"/>
                    </a:lnTo>
                    <a:lnTo>
                      <a:pt x="1388" y="172"/>
                    </a:lnTo>
                    <a:lnTo>
                      <a:pt x="1400" y="173"/>
                    </a:lnTo>
                    <a:lnTo>
                      <a:pt x="1411" y="174"/>
                    </a:lnTo>
                    <a:lnTo>
                      <a:pt x="1421" y="177"/>
                    </a:lnTo>
                    <a:lnTo>
                      <a:pt x="1433" y="177"/>
                    </a:lnTo>
                    <a:lnTo>
                      <a:pt x="1443" y="179"/>
                    </a:lnTo>
                    <a:lnTo>
                      <a:pt x="1445" y="182"/>
                    </a:lnTo>
                    <a:lnTo>
                      <a:pt x="1446" y="184"/>
                    </a:lnTo>
                    <a:lnTo>
                      <a:pt x="1448" y="188"/>
                    </a:lnTo>
                    <a:lnTo>
                      <a:pt x="1450" y="190"/>
                    </a:lnTo>
                    <a:lnTo>
                      <a:pt x="1454" y="191"/>
                    </a:lnTo>
                    <a:lnTo>
                      <a:pt x="1456" y="193"/>
                    </a:lnTo>
                    <a:lnTo>
                      <a:pt x="1459" y="194"/>
                    </a:lnTo>
                    <a:lnTo>
                      <a:pt x="1461" y="196"/>
                    </a:lnTo>
                    <a:lnTo>
                      <a:pt x="1463" y="198"/>
                    </a:lnTo>
                    <a:lnTo>
                      <a:pt x="1464" y="200"/>
                    </a:lnTo>
                    <a:lnTo>
                      <a:pt x="1465" y="201"/>
                    </a:lnTo>
                    <a:lnTo>
                      <a:pt x="1468" y="203"/>
                    </a:lnTo>
                    <a:lnTo>
                      <a:pt x="1470" y="203"/>
                    </a:lnTo>
                    <a:lnTo>
                      <a:pt x="1471" y="204"/>
                    </a:lnTo>
                    <a:lnTo>
                      <a:pt x="1471" y="205"/>
                    </a:lnTo>
                    <a:lnTo>
                      <a:pt x="1472" y="206"/>
                    </a:lnTo>
                    <a:lnTo>
                      <a:pt x="1475" y="209"/>
                    </a:lnTo>
                    <a:lnTo>
                      <a:pt x="1476" y="210"/>
                    </a:lnTo>
                    <a:lnTo>
                      <a:pt x="1477" y="213"/>
                    </a:lnTo>
                    <a:lnTo>
                      <a:pt x="1477" y="214"/>
                    </a:lnTo>
                    <a:lnTo>
                      <a:pt x="1476" y="216"/>
                    </a:lnTo>
                    <a:lnTo>
                      <a:pt x="1475" y="216"/>
                    </a:lnTo>
                    <a:lnTo>
                      <a:pt x="1472" y="218"/>
                    </a:lnTo>
                    <a:lnTo>
                      <a:pt x="1470" y="218"/>
                    </a:lnTo>
                    <a:lnTo>
                      <a:pt x="1468" y="218"/>
                    </a:lnTo>
                    <a:lnTo>
                      <a:pt x="1465" y="218"/>
                    </a:lnTo>
                    <a:lnTo>
                      <a:pt x="1464" y="219"/>
                    </a:lnTo>
                    <a:lnTo>
                      <a:pt x="1463" y="220"/>
                    </a:lnTo>
                    <a:lnTo>
                      <a:pt x="1463" y="221"/>
                    </a:lnTo>
                    <a:lnTo>
                      <a:pt x="1464" y="224"/>
                    </a:lnTo>
                    <a:lnTo>
                      <a:pt x="1466" y="225"/>
                    </a:lnTo>
                    <a:lnTo>
                      <a:pt x="1469" y="226"/>
                    </a:lnTo>
                    <a:lnTo>
                      <a:pt x="1471" y="229"/>
                    </a:lnTo>
                    <a:lnTo>
                      <a:pt x="1474" y="231"/>
                    </a:lnTo>
                    <a:lnTo>
                      <a:pt x="1475" y="234"/>
                    </a:lnTo>
                    <a:lnTo>
                      <a:pt x="1474" y="238"/>
                    </a:lnTo>
                    <a:lnTo>
                      <a:pt x="1472" y="240"/>
                    </a:lnTo>
                    <a:lnTo>
                      <a:pt x="1469" y="242"/>
                    </a:lnTo>
                    <a:lnTo>
                      <a:pt x="1465" y="245"/>
                    </a:lnTo>
                    <a:lnTo>
                      <a:pt x="1461" y="246"/>
                    </a:lnTo>
                    <a:lnTo>
                      <a:pt x="1459" y="247"/>
                    </a:lnTo>
                    <a:lnTo>
                      <a:pt x="1454" y="249"/>
                    </a:lnTo>
                    <a:lnTo>
                      <a:pt x="1450" y="251"/>
                    </a:lnTo>
                    <a:lnTo>
                      <a:pt x="1448" y="252"/>
                    </a:lnTo>
                    <a:lnTo>
                      <a:pt x="1448" y="254"/>
                    </a:lnTo>
                    <a:lnTo>
                      <a:pt x="1448" y="255"/>
                    </a:lnTo>
                    <a:lnTo>
                      <a:pt x="1450" y="256"/>
                    </a:lnTo>
                    <a:lnTo>
                      <a:pt x="1453" y="259"/>
                    </a:lnTo>
                    <a:lnTo>
                      <a:pt x="1455" y="261"/>
                    </a:lnTo>
                    <a:lnTo>
                      <a:pt x="1459" y="264"/>
                    </a:lnTo>
                    <a:lnTo>
                      <a:pt x="1461" y="265"/>
                    </a:lnTo>
                    <a:lnTo>
                      <a:pt x="1461" y="267"/>
                    </a:lnTo>
                    <a:lnTo>
                      <a:pt x="1461" y="270"/>
                    </a:lnTo>
                    <a:lnTo>
                      <a:pt x="1461" y="272"/>
                    </a:lnTo>
                    <a:lnTo>
                      <a:pt x="1460" y="275"/>
                    </a:lnTo>
                    <a:lnTo>
                      <a:pt x="1459" y="276"/>
                    </a:lnTo>
                    <a:lnTo>
                      <a:pt x="1459" y="279"/>
                    </a:lnTo>
                    <a:lnTo>
                      <a:pt x="1458" y="281"/>
                    </a:lnTo>
                    <a:lnTo>
                      <a:pt x="1459" y="284"/>
                    </a:lnTo>
                    <a:lnTo>
                      <a:pt x="1461" y="287"/>
                    </a:lnTo>
                    <a:lnTo>
                      <a:pt x="1465" y="290"/>
                    </a:lnTo>
                    <a:lnTo>
                      <a:pt x="1468" y="292"/>
                    </a:lnTo>
                    <a:lnTo>
                      <a:pt x="1469" y="295"/>
                    </a:lnTo>
                    <a:lnTo>
                      <a:pt x="1469" y="307"/>
                    </a:lnTo>
                    <a:lnTo>
                      <a:pt x="1464" y="318"/>
                    </a:lnTo>
                    <a:lnTo>
                      <a:pt x="1456" y="330"/>
                    </a:lnTo>
                    <a:lnTo>
                      <a:pt x="1448" y="339"/>
                    </a:lnTo>
                    <a:lnTo>
                      <a:pt x="1444" y="343"/>
                    </a:lnTo>
                    <a:lnTo>
                      <a:pt x="1439" y="349"/>
                    </a:lnTo>
                    <a:lnTo>
                      <a:pt x="1433" y="356"/>
                    </a:lnTo>
                    <a:lnTo>
                      <a:pt x="1426" y="361"/>
                    </a:lnTo>
                    <a:lnTo>
                      <a:pt x="1420" y="363"/>
                    </a:lnTo>
                    <a:lnTo>
                      <a:pt x="1414" y="361"/>
                    </a:lnTo>
                    <a:lnTo>
                      <a:pt x="1406" y="352"/>
                    </a:lnTo>
                    <a:lnTo>
                      <a:pt x="1400" y="342"/>
                    </a:lnTo>
                    <a:lnTo>
                      <a:pt x="1393" y="333"/>
                    </a:lnTo>
                    <a:lnTo>
                      <a:pt x="1389" y="332"/>
                    </a:lnTo>
                    <a:lnTo>
                      <a:pt x="1387" y="332"/>
                    </a:lnTo>
                    <a:lnTo>
                      <a:pt x="1384" y="333"/>
                    </a:lnTo>
                    <a:lnTo>
                      <a:pt x="1383" y="335"/>
                    </a:lnTo>
                    <a:lnTo>
                      <a:pt x="1382" y="338"/>
                    </a:lnTo>
                    <a:lnTo>
                      <a:pt x="1383" y="342"/>
                    </a:lnTo>
                    <a:lnTo>
                      <a:pt x="1383" y="344"/>
                    </a:lnTo>
                    <a:lnTo>
                      <a:pt x="1384" y="347"/>
                    </a:lnTo>
                    <a:lnTo>
                      <a:pt x="1387" y="349"/>
                    </a:lnTo>
                    <a:lnTo>
                      <a:pt x="1388" y="352"/>
                    </a:lnTo>
                    <a:lnTo>
                      <a:pt x="1388" y="354"/>
                    </a:lnTo>
                    <a:lnTo>
                      <a:pt x="1389" y="357"/>
                    </a:lnTo>
                    <a:lnTo>
                      <a:pt x="1389" y="359"/>
                    </a:lnTo>
                    <a:lnTo>
                      <a:pt x="1390" y="362"/>
                    </a:lnTo>
                    <a:lnTo>
                      <a:pt x="1392" y="364"/>
                    </a:lnTo>
                    <a:lnTo>
                      <a:pt x="1392" y="367"/>
                    </a:lnTo>
                    <a:lnTo>
                      <a:pt x="1393" y="369"/>
                    </a:lnTo>
                    <a:lnTo>
                      <a:pt x="1393" y="372"/>
                    </a:lnTo>
                    <a:lnTo>
                      <a:pt x="1392" y="373"/>
                    </a:lnTo>
                    <a:lnTo>
                      <a:pt x="1390" y="374"/>
                    </a:lnTo>
                    <a:lnTo>
                      <a:pt x="1388" y="374"/>
                    </a:lnTo>
                    <a:lnTo>
                      <a:pt x="1385" y="373"/>
                    </a:lnTo>
                    <a:lnTo>
                      <a:pt x="1378" y="371"/>
                    </a:lnTo>
                    <a:lnTo>
                      <a:pt x="1373" y="366"/>
                    </a:lnTo>
                    <a:lnTo>
                      <a:pt x="1368" y="359"/>
                    </a:lnTo>
                    <a:lnTo>
                      <a:pt x="1360" y="357"/>
                    </a:lnTo>
                    <a:lnTo>
                      <a:pt x="1352" y="357"/>
                    </a:lnTo>
                    <a:lnTo>
                      <a:pt x="1348" y="359"/>
                    </a:lnTo>
                    <a:lnTo>
                      <a:pt x="1349" y="363"/>
                    </a:lnTo>
                    <a:lnTo>
                      <a:pt x="1352" y="368"/>
                    </a:lnTo>
                    <a:lnTo>
                      <a:pt x="1355" y="374"/>
                    </a:lnTo>
                    <a:lnTo>
                      <a:pt x="1357" y="379"/>
                    </a:lnTo>
                    <a:lnTo>
                      <a:pt x="1357" y="384"/>
                    </a:lnTo>
                    <a:lnTo>
                      <a:pt x="1349" y="395"/>
                    </a:lnTo>
                    <a:lnTo>
                      <a:pt x="1338" y="404"/>
                    </a:lnTo>
                    <a:lnTo>
                      <a:pt x="1329" y="410"/>
                    </a:lnTo>
                    <a:lnTo>
                      <a:pt x="1317" y="410"/>
                    </a:lnTo>
                    <a:lnTo>
                      <a:pt x="1307" y="404"/>
                    </a:lnTo>
                    <a:lnTo>
                      <a:pt x="1299" y="397"/>
                    </a:lnTo>
                    <a:lnTo>
                      <a:pt x="1292" y="389"/>
                    </a:lnTo>
                    <a:lnTo>
                      <a:pt x="1283" y="384"/>
                    </a:lnTo>
                    <a:lnTo>
                      <a:pt x="1276" y="383"/>
                    </a:lnTo>
                    <a:lnTo>
                      <a:pt x="1268" y="386"/>
                    </a:lnTo>
                    <a:lnTo>
                      <a:pt x="1263" y="390"/>
                    </a:lnTo>
                    <a:lnTo>
                      <a:pt x="1261" y="395"/>
                    </a:lnTo>
                    <a:lnTo>
                      <a:pt x="1263" y="400"/>
                    </a:lnTo>
                    <a:lnTo>
                      <a:pt x="1271" y="404"/>
                    </a:lnTo>
                    <a:lnTo>
                      <a:pt x="1274" y="405"/>
                    </a:lnTo>
                    <a:lnTo>
                      <a:pt x="1277" y="405"/>
                    </a:lnTo>
                    <a:lnTo>
                      <a:pt x="1279" y="407"/>
                    </a:lnTo>
                    <a:lnTo>
                      <a:pt x="1281" y="409"/>
                    </a:lnTo>
                    <a:lnTo>
                      <a:pt x="1282" y="410"/>
                    </a:lnTo>
                    <a:lnTo>
                      <a:pt x="1282" y="413"/>
                    </a:lnTo>
                    <a:lnTo>
                      <a:pt x="1283" y="415"/>
                    </a:lnTo>
                    <a:lnTo>
                      <a:pt x="1289" y="420"/>
                    </a:lnTo>
                    <a:lnTo>
                      <a:pt x="1297" y="420"/>
                    </a:lnTo>
                    <a:lnTo>
                      <a:pt x="1307" y="420"/>
                    </a:lnTo>
                    <a:lnTo>
                      <a:pt x="1312" y="420"/>
                    </a:lnTo>
                    <a:lnTo>
                      <a:pt x="1318" y="420"/>
                    </a:lnTo>
                    <a:lnTo>
                      <a:pt x="1323" y="420"/>
                    </a:lnTo>
                    <a:lnTo>
                      <a:pt x="1328" y="423"/>
                    </a:lnTo>
                    <a:lnTo>
                      <a:pt x="1330" y="428"/>
                    </a:lnTo>
                    <a:lnTo>
                      <a:pt x="1332" y="432"/>
                    </a:lnTo>
                    <a:lnTo>
                      <a:pt x="1330" y="435"/>
                    </a:lnTo>
                    <a:lnTo>
                      <a:pt x="1328" y="439"/>
                    </a:lnTo>
                    <a:lnTo>
                      <a:pt x="1326" y="441"/>
                    </a:lnTo>
                    <a:lnTo>
                      <a:pt x="1317" y="453"/>
                    </a:lnTo>
                    <a:lnTo>
                      <a:pt x="1309" y="465"/>
                    </a:lnTo>
                    <a:lnTo>
                      <a:pt x="1302" y="476"/>
                    </a:lnTo>
                    <a:lnTo>
                      <a:pt x="1293" y="486"/>
                    </a:lnTo>
                    <a:lnTo>
                      <a:pt x="1288" y="487"/>
                    </a:lnTo>
                    <a:lnTo>
                      <a:pt x="1281" y="487"/>
                    </a:lnTo>
                    <a:lnTo>
                      <a:pt x="1273" y="486"/>
                    </a:lnTo>
                    <a:lnTo>
                      <a:pt x="1267" y="486"/>
                    </a:lnTo>
                    <a:lnTo>
                      <a:pt x="1261" y="486"/>
                    </a:lnTo>
                    <a:lnTo>
                      <a:pt x="1257" y="491"/>
                    </a:lnTo>
                    <a:lnTo>
                      <a:pt x="1256" y="496"/>
                    </a:lnTo>
                    <a:lnTo>
                      <a:pt x="1256" y="502"/>
                    </a:lnTo>
                    <a:lnTo>
                      <a:pt x="1257" y="507"/>
                    </a:lnTo>
                    <a:lnTo>
                      <a:pt x="1256" y="511"/>
                    </a:lnTo>
                    <a:lnTo>
                      <a:pt x="1253" y="514"/>
                    </a:lnTo>
                    <a:lnTo>
                      <a:pt x="1247" y="515"/>
                    </a:lnTo>
                    <a:lnTo>
                      <a:pt x="1240" y="514"/>
                    </a:lnTo>
                    <a:lnTo>
                      <a:pt x="1230" y="511"/>
                    </a:lnTo>
                    <a:lnTo>
                      <a:pt x="1221" y="510"/>
                    </a:lnTo>
                    <a:lnTo>
                      <a:pt x="1212" y="510"/>
                    </a:lnTo>
                    <a:lnTo>
                      <a:pt x="1207" y="512"/>
                    </a:lnTo>
                    <a:lnTo>
                      <a:pt x="1206" y="515"/>
                    </a:lnTo>
                    <a:lnTo>
                      <a:pt x="1208" y="517"/>
                    </a:lnTo>
                    <a:lnTo>
                      <a:pt x="1215" y="521"/>
                    </a:lnTo>
                    <a:lnTo>
                      <a:pt x="1221" y="524"/>
                    </a:lnTo>
                    <a:lnTo>
                      <a:pt x="1227" y="525"/>
                    </a:lnTo>
                    <a:lnTo>
                      <a:pt x="1231" y="525"/>
                    </a:lnTo>
                    <a:lnTo>
                      <a:pt x="1236" y="527"/>
                    </a:lnTo>
                    <a:lnTo>
                      <a:pt x="1242" y="531"/>
                    </a:lnTo>
                    <a:lnTo>
                      <a:pt x="1245" y="536"/>
                    </a:lnTo>
                    <a:lnTo>
                      <a:pt x="1245" y="541"/>
                    </a:lnTo>
                    <a:lnTo>
                      <a:pt x="1238" y="546"/>
                    </a:lnTo>
                    <a:lnTo>
                      <a:pt x="1230" y="551"/>
                    </a:lnTo>
                    <a:lnTo>
                      <a:pt x="1220" y="555"/>
                    </a:lnTo>
                    <a:lnTo>
                      <a:pt x="1210" y="560"/>
                    </a:lnTo>
                    <a:lnTo>
                      <a:pt x="1208" y="561"/>
                    </a:lnTo>
                    <a:lnTo>
                      <a:pt x="1207" y="563"/>
                    </a:lnTo>
                    <a:lnTo>
                      <a:pt x="1206" y="566"/>
                    </a:lnTo>
                    <a:lnTo>
                      <a:pt x="1206" y="568"/>
                    </a:lnTo>
                    <a:lnTo>
                      <a:pt x="1206" y="571"/>
                    </a:lnTo>
                    <a:lnTo>
                      <a:pt x="1205" y="572"/>
                    </a:lnTo>
                    <a:lnTo>
                      <a:pt x="1202" y="578"/>
                    </a:lnTo>
                    <a:lnTo>
                      <a:pt x="1200" y="582"/>
                    </a:lnTo>
                    <a:lnTo>
                      <a:pt x="1196" y="587"/>
                    </a:lnTo>
                    <a:lnTo>
                      <a:pt x="1192" y="591"/>
                    </a:lnTo>
                    <a:lnTo>
                      <a:pt x="1181" y="604"/>
                    </a:lnTo>
                    <a:lnTo>
                      <a:pt x="1172" y="618"/>
                    </a:lnTo>
                    <a:lnTo>
                      <a:pt x="1166" y="635"/>
                    </a:lnTo>
                    <a:lnTo>
                      <a:pt x="1159" y="648"/>
                    </a:lnTo>
                    <a:lnTo>
                      <a:pt x="1152" y="660"/>
                    </a:lnTo>
                    <a:lnTo>
                      <a:pt x="1147" y="673"/>
                    </a:lnTo>
                    <a:lnTo>
                      <a:pt x="1145" y="688"/>
                    </a:lnTo>
                    <a:lnTo>
                      <a:pt x="1144" y="699"/>
                    </a:lnTo>
                    <a:lnTo>
                      <a:pt x="1144" y="711"/>
                    </a:lnTo>
                    <a:lnTo>
                      <a:pt x="1144" y="725"/>
                    </a:lnTo>
                    <a:lnTo>
                      <a:pt x="1145" y="736"/>
                    </a:lnTo>
                    <a:lnTo>
                      <a:pt x="1150" y="745"/>
                    </a:lnTo>
                    <a:lnTo>
                      <a:pt x="1156" y="751"/>
                    </a:lnTo>
                    <a:lnTo>
                      <a:pt x="1162" y="752"/>
                    </a:lnTo>
                    <a:lnTo>
                      <a:pt x="1171" y="752"/>
                    </a:lnTo>
                    <a:lnTo>
                      <a:pt x="1179" y="754"/>
                    </a:lnTo>
                    <a:lnTo>
                      <a:pt x="1183" y="759"/>
                    </a:lnTo>
                    <a:lnTo>
                      <a:pt x="1187" y="769"/>
                    </a:lnTo>
                    <a:lnTo>
                      <a:pt x="1187" y="778"/>
                    </a:lnTo>
                    <a:lnTo>
                      <a:pt x="1187" y="788"/>
                    </a:lnTo>
                    <a:lnTo>
                      <a:pt x="1188" y="797"/>
                    </a:lnTo>
                    <a:lnTo>
                      <a:pt x="1193" y="807"/>
                    </a:lnTo>
                    <a:lnTo>
                      <a:pt x="1196" y="815"/>
                    </a:lnTo>
                    <a:lnTo>
                      <a:pt x="1197" y="823"/>
                    </a:lnTo>
                    <a:lnTo>
                      <a:pt x="1197" y="826"/>
                    </a:lnTo>
                    <a:lnTo>
                      <a:pt x="1197" y="828"/>
                    </a:lnTo>
                    <a:lnTo>
                      <a:pt x="1197" y="831"/>
                    </a:lnTo>
                    <a:lnTo>
                      <a:pt x="1198" y="833"/>
                    </a:lnTo>
                    <a:lnTo>
                      <a:pt x="1200" y="834"/>
                    </a:lnTo>
                    <a:lnTo>
                      <a:pt x="1202" y="834"/>
                    </a:lnTo>
                    <a:lnTo>
                      <a:pt x="1205" y="834"/>
                    </a:lnTo>
                    <a:lnTo>
                      <a:pt x="1212" y="832"/>
                    </a:lnTo>
                    <a:lnTo>
                      <a:pt x="1217" y="828"/>
                    </a:lnTo>
                    <a:lnTo>
                      <a:pt x="1222" y="825"/>
                    </a:lnTo>
                    <a:lnTo>
                      <a:pt x="1228" y="825"/>
                    </a:lnTo>
                    <a:lnTo>
                      <a:pt x="1236" y="827"/>
                    </a:lnTo>
                    <a:lnTo>
                      <a:pt x="1242" y="831"/>
                    </a:lnTo>
                    <a:lnTo>
                      <a:pt x="1250" y="834"/>
                    </a:lnTo>
                    <a:lnTo>
                      <a:pt x="1257" y="837"/>
                    </a:lnTo>
                    <a:lnTo>
                      <a:pt x="1269" y="838"/>
                    </a:lnTo>
                    <a:lnTo>
                      <a:pt x="1283" y="834"/>
                    </a:lnTo>
                    <a:lnTo>
                      <a:pt x="1293" y="836"/>
                    </a:lnTo>
                    <a:lnTo>
                      <a:pt x="1299" y="839"/>
                    </a:lnTo>
                    <a:lnTo>
                      <a:pt x="1303" y="846"/>
                    </a:lnTo>
                    <a:lnTo>
                      <a:pt x="1307" y="853"/>
                    </a:lnTo>
                    <a:lnTo>
                      <a:pt x="1312" y="861"/>
                    </a:lnTo>
                    <a:lnTo>
                      <a:pt x="1319" y="869"/>
                    </a:lnTo>
                    <a:lnTo>
                      <a:pt x="1328" y="874"/>
                    </a:lnTo>
                    <a:lnTo>
                      <a:pt x="1338" y="879"/>
                    </a:lnTo>
                    <a:lnTo>
                      <a:pt x="1352" y="887"/>
                    </a:lnTo>
                    <a:lnTo>
                      <a:pt x="1364" y="894"/>
                    </a:lnTo>
                    <a:lnTo>
                      <a:pt x="1379" y="903"/>
                    </a:lnTo>
                    <a:lnTo>
                      <a:pt x="1393" y="908"/>
                    </a:lnTo>
                    <a:lnTo>
                      <a:pt x="1406" y="909"/>
                    </a:lnTo>
                    <a:lnTo>
                      <a:pt x="1421" y="910"/>
                    </a:lnTo>
                    <a:lnTo>
                      <a:pt x="1429" y="910"/>
                    </a:lnTo>
                    <a:lnTo>
                      <a:pt x="1436" y="909"/>
                    </a:lnTo>
                    <a:lnTo>
                      <a:pt x="1443" y="910"/>
                    </a:lnTo>
                    <a:lnTo>
                      <a:pt x="1448" y="913"/>
                    </a:lnTo>
                    <a:lnTo>
                      <a:pt x="1451" y="922"/>
                    </a:lnTo>
                    <a:lnTo>
                      <a:pt x="1454" y="930"/>
                    </a:lnTo>
                    <a:lnTo>
                      <a:pt x="1454" y="939"/>
                    </a:lnTo>
                    <a:lnTo>
                      <a:pt x="1449" y="944"/>
                    </a:lnTo>
                    <a:lnTo>
                      <a:pt x="1445" y="949"/>
                    </a:lnTo>
                    <a:lnTo>
                      <a:pt x="1441" y="954"/>
                    </a:lnTo>
                    <a:lnTo>
                      <a:pt x="1440" y="960"/>
                    </a:lnTo>
                    <a:lnTo>
                      <a:pt x="1440" y="963"/>
                    </a:lnTo>
                    <a:lnTo>
                      <a:pt x="1440" y="965"/>
                    </a:lnTo>
                    <a:lnTo>
                      <a:pt x="1441" y="968"/>
                    </a:lnTo>
                    <a:lnTo>
                      <a:pt x="1444" y="970"/>
                    </a:lnTo>
                    <a:lnTo>
                      <a:pt x="1445" y="974"/>
                    </a:lnTo>
                    <a:lnTo>
                      <a:pt x="1445" y="976"/>
                    </a:lnTo>
                    <a:lnTo>
                      <a:pt x="1446" y="984"/>
                    </a:lnTo>
                    <a:lnTo>
                      <a:pt x="1446" y="992"/>
                    </a:lnTo>
                    <a:lnTo>
                      <a:pt x="1449" y="1001"/>
                    </a:lnTo>
                    <a:lnTo>
                      <a:pt x="1453" y="1007"/>
                    </a:lnTo>
                    <a:lnTo>
                      <a:pt x="1461" y="1012"/>
                    </a:lnTo>
                    <a:lnTo>
                      <a:pt x="1463" y="1012"/>
                    </a:lnTo>
                    <a:lnTo>
                      <a:pt x="1465" y="1012"/>
                    </a:lnTo>
                    <a:lnTo>
                      <a:pt x="1469" y="1014"/>
                    </a:lnTo>
                    <a:lnTo>
                      <a:pt x="1471" y="1014"/>
                    </a:lnTo>
                    <a:lnTo>
                      <a:pt x="1475" y="1012"/>
                    </a:lnTo>
                    <a:lnTo>
                      <a:pt x="1477" y="1012"/>
                    </a:lnTo>
                    <a:lnTo>
                      <a:pt x="1479" y="1010"/>
                    </a:lnTo>
                    <a:lnTo>
                      <a:pt x="1480" y="1007"/>
                    </a:lnTo>
                    <a:lnTo>
                      <a:pt x="1480" y="1005"/>
                    </a:lnTo>
                    <a:lnTo>
                      <a:pt x="1479" y="1004"/>
                    </a:lnTo>
                    <a:lnTo>
                      <a:pt x="1477" y="1001"/>
                    </a:lnTo>
                    <a:lnTo>
                      <a:pt x="1477" y="999"/>
                    </a:lnTo>
                    <a:lnTo>
                      <a:pt x="1476" y="997"/>
                    </a:lnTo>
                    <a:lnTo>
                      <a:pt x="1485" y="996"/>
                    </a:lnTo>
                    <a:lnTo>
                      <a:pt x="1490" y="999"/>
                    </a:lnTo>
                    <a:lnTo>
                      <a:pt x="1494" y="1005"/>
                    </a:lnTo>
                    <a:lnTo>
                      <a:pt x="1496" y="1011"/>
                    </a:lnTo>
                    <a:lnTo>
                      <a:pt x="1497" y="1019"/>
                    </a:lnTo>
                    <a:lnTo>
                      <a:pt x="1497" y="1026"/>
                    </a:lnTo>
                    <a:lnTo>
                      <a:pt x="1496" y="1033"/>
                    </a:lnTo>
                    <a:lnTo>
                      <a:pt x="1494" y="1042"/>
                    </a:lnTo>
                    <a:lnTo>
                      <a:pt x="1492" y="1051"/>
                    </a:lnTo>
                    <a:lnTo>
                      <a:pt x="1491" y="1060"/>
                    </a:lnTo>
                    <a:lnTo>
                      <a:pt x="1494" y="1067"/>
                    </a:lnTo>
                    <a:lnTo>
                      <a:pt x="1500" y="1073"/>
                    </a:lnTo>
                    <a:lnTo>
                      <a:pt x="1511" y="1078"/>
                    </a:lnTo>
                    <a:lnTo>
                      <a:pt x="1517" y="1077"/>
                    </a:lnTo>
                    <a:lnTo>
                      <a:pt x="1522" y="1071"/>
                    </a:lnTo>
                    <a:lnTo>
                      <a:pt x="1524" y="1060"/>
                    </a:lnTo>
                    <a:lnTo>
                      <a:pt x="1524" y="1056"/>
                    </a:lnTo>
                    <a:lnTo>
                      <a:pt x="1524" y="1052"/>
                    </a:lnTo>
                    <a:lnTo>
                      <a:pt x="1525" y="1051"/>
                    </a:lnTo>
                    <a:lnTo>
                      <a:pt x="1527" y="1050"/>
                    </a:lnTo>
                    <a:lnTo>
                      <a:pt x="1529" y="1050"/>
                    </a:lnTo>
                    <a:lnTo>
                      <a:pt x="1531" y="1048"/>
                    </a:lnTo>
                    <a:lnTo>
                      <a:pt x="1534" y="1048"/>
                    </a:lnTo>
                    <a:lnTo>
                      <a:pt x="1536" y="1048"/>
                    </a:lnTo>
                    <a:lnTo>
                      <a:pt x="1539" y="1047"/>
                    </a:lnTo>
                    <a:lnTo>
                      <a:pt x="1541" y="1046"/>
                    </a:lnTo>
                    <a:lnTo>
                      <a:pt x="1542" y="1043"/>
                    </a:lnTo>
                    <a:lnTo>
                      <a:pt x="1547" y="1032"/>
                    </a:lnTo>
                    <a:lnTo>
                      <a:pt x="1547" y="1021"/>
                    </a:lnTo>
                    <a:lnTo>
                      <a:pt x="1544" y="1010"/>
                    </a:lnTo>
                    <a:lnTo>
                      <a:pt x="1540" y="997"/>
                    </a:lnTo>
                    <a:lnTo>
                      <a:pt x="1537" y="986"/>
                    </a:lnTo>
                    <a:lnTo>
                      <a:pt x="1535" y="974"/>
                    </a:lnTo>
                    <a:lnTo>
                      <a:pt x="1534" y="961"/>
                    </a:lnTo>
                    <a:lnTo>
                      <a:pt x="1529" y="949"/>
                    </a:lnTo>
                    <a:lnTo>
                      <a:pt x="1521" y="936"/>
                    </a:lnTo>
                    <a:lnTo>
                      <a:pt x="1519" y="934"/>
                    </a:lnTo>
                    <a:lnTo>
                      <a:pt x="1519" y="931"/>
                    </a:lnTo>
                    <a:lnTo>
                      <a:pt x="1519" y="929"/>
                    </a:lnTo>
                    <a:lnTo>
                      <a:pt x="1520" y="928"/>
                    </a:lnTo>
                    <a:lnTo>
                      <a:pt x="1522" y="926"/>
                    </a:lnTo>
                    <a:lnTo>
                      <a:pt x="1525" y="926"/>
                    </a:lnTo>
                    <a:lnTo>
                      <a:pt x="1529" y="925"/>
                    </a:lnTo>
                    <a:lnTo>
                      <a:pt x="1531" y="925"/>
                    </a:lnTo>
                    <a:lnTo>
                      <a:pt x="1535" y="924"/>
                    </a:lnTo>
                    <a:lnTo>
                      <a:pt x="1537" y="923"/>
                    </a:lnTo>
                    <a:lnTo>
                      <a:pt x="1550" y="918"/>
                    </a:lnTo>
                    <a:lnTo>
                      <a:pt x="1563" y="913"/>
                    </a:lnTo>
                    <a:lnTo>
                      <a:pt x="1570" y="908"/>
                    </a:lnTo>
                    <a:lnTo>
                      <a:pt x="1576" y="902"/>
                    </a:lnTo>
                    <a:lnTo>
                      <a:pt x="1581" y="894"/>
                    </a:lnTo>
                    <a:lnTo>
                      <a:pt x="1585" y="890"/>
                    </a:lnTo>
                    <a:lnTo>
                      <a:pt x="1588" y="887"/>
                    </a:lnTo>
                    <a:lnTo>
                      <a:pt x="1592" y="883"/>
                    </a:lnTo>
                    <a:lnTo>
                      <a:pt x="1595" y="879"/>
                    </a:lnTo>
                    <a:lnTo>
                      <a:pt x="1595" y="864"/>
                    </a:lnTo>
                    <a:lnTo>
                      <a:pt x="1592" y="849"/>
                    </a:lnTo>
                    <a:lnTo>
                      <a:pt x="1590" y="834"/>
                    </a:lnTo>
                    <a:lnTo>
                      <a:pt x="1583" y="807"/>
                    </a:lnTo>
                    <a:lnTo>
                      <a:pt x="1573" y="782"/>
                    </a:lnTo>
                    <a:lnTo>
                      <a:pt x="1566" y="774"/>
                    </a:lnTo>
                    <a:lnTo>
                      <a:pt x="1558" y="765"/>
                    </a:lnTo>
                    <a:lnTo>
                      <a:pt x="1552" y="756"/>
                    </a:lnTo>
                    <a:lnTo>
                      <a:pt x="1547" y="746"/>
                    </a:lnTo>
                    <a:lnTo>
                      <a:pt x="1545" y="735"/>
                    </a:lnTo>
                    <a:lnTo>
                      <a:pt x="1545" y="731"/>
                    </a:lnTo>
                    <a:lnTo>
                      <a:pt x="1546" y="728"/>
                    </a:lnTo>
                    <a:lnTo>
                      <a:pt x="1547" y="724"/>
                    </a:lnTo>
                    <a:lnTo>
                      <a:pt x="1548" y="720"/>
                    </a:lnTo>
                    <a:lnTo>
                      <a:pt x="1552" y="718"/>
                    </a:lnTo>
                    <a:lnTo>
                      <a:pt x="1555" y="716"/>
                    </a:lnTo>
                    <a:lnTo>
                      <a:pt x="1558" y="714"/>
                    </a:lnTo>
                    <a:lnTo>
                      <a:pt x="1561" y="710"/>
                    </a:lnTo>
                    <a:lnTo>
                      <a:pt x="1563" y="706"/>
                    </a:lnTo>
                    <a:lnTo>
                      <a:pt x="1566" y="701"/>
                    </a:lnTo>
                    <a:lnTo>
                      <a:pt x="1568" y="698"/>
                    </a:lnTo>
                    <a:lnTo>
                      <a:pt x="1571" y="691"/>
                    </a:lnTo>
                    <a:lnTo>
                      <a:pt x="1570" y="686"/>
                    </a:lnTo>
                    <a:lnTo>
                      <a:pt x="1568" y="683"/>
                    </a:lnTo>
                    <a:lnTo>
                      <a:pt x="1566" y="677"/>
                    </a:lnTo>
                    <a:lnTo>
                      <a:pt x="1565" y="669"/>
                    </a:lnTo>
                    <a:lnTo>
                      <a:pt x="1563" y="662"/>
                    </a:lnTo>
                    <a:lnTo>
                      <a:pt x="1561" y="657"/>
                    </a:lnTo>
                    <a:lnTo>
                      <a:pt x="1558" y="654"/>
                    </a:lnTo>
                    <a:lnTo>
                      <a:pt x="1556" y="653"/>
                    </a:lnTo>
                    <a:lnTo>
                      <a:pt x="1553" y="653"/>
                    </a:lnTo>
                    <a:lnTo>
                      <a:pt x="1551" y="652"/>
                    </a:lnTo>
                    <a:lnTo>
                      <a:pt x="1548" y="652"/>
                    </a:lnTo>
                    <a:lnTo>
                      <a:pt x="1546" y="652"/>
                    </a:lnTo>
                    <a:lnTo>
                      <a:pt x="1545" y="650"/>
                    </a:lnTo>
                    <a:lnTo>
                      <a:pt x="1544" y="650"/>
                    </a:lnTo>
                    <a:lnTo>
                      <a:pt x="1544" y="648"/>
                    </a:lnTo>
                    <a:lnTo>
                      <a:pt x="1545" y="647"/>
                    </a:lnTo>
                    <a:lnTo>
                      <a:pt x="1547" y="644"/>
                    </a:lnTo>
                    <a:lnTo>
                      <a:pt x="1550" y="640"/>
                    </a:lnTo>
                    <a:lnTo>
                      <a:pt x="1557" y="626"/>
                    </a:lnTo>
                    <a:lnTo>
                      <a:pt x="1557" y="611"/>
                    </a:lnTo>
                    <a:lnTo>
                      <a:pt x="1550" y="596"/>
                    </a:lnTo>
                    <a:lnTo>
                      <a:pt x="1547" y="591"/>
                    </a:lnTo>
                    <a:lnTo>
                      <a:pt x="1548" y="587"/>
                    </a:lnTo>
                    <a:lnTo>
                      <a:pt x="1550" y="582"/>
                    </a:lnTo>
                    <a:lnTo>
                      <a:pt x="1552" y="575"/>
                    </a:lnTo>
                    <a:lnTo>
                      <a:pt x="1555" y="568"/>
                    </a:lnTo>
                    <a:lnTo>
                      <a:pt x="1557" y="561"/>
                    </a:lnTo>
                    <a:lnTo>
                      <a:pt x="1563" y="553"/>
                    </a:lnTo>
                    <a:lnTo>
                      <a:pt x="1565" y="552"/>
                    </a:lnTo>
                    <a:lnTo>
                      <a:pt x="1566" y="553"/>
                    </a:lnTo>
                    <a:lnTo>
                      <a:pt x="1567" y="555"/>
                    </a:lnTo>
                    <a:lnTo>
                      <a:pt x="1570" y="556"/>
                    </a:lnTo>
                    <a:lnTo>
                      <a:pt x="1571" y="558"/>
                    </a:lnTo>
                    <a:lnTo>
                      <a:pt x="1572" y="561"/>
                    </a:lnTo>
                    <a:lnTo>
                      <a:pt x="1573" y="562"/>
                    </a:lnTo>
                    <a:lnTo>
                      <a:pt x="1577" y="565"/>
                    </a:lnTo>
                    <a:lnTo>
                      <a:pt x="1580" y="566"/>
                    </a:lnTo>
                    <a:lnTo>
                      <a:pt x="1583" y="566"/>
                    </a:lnTo>
                    <a:lnTo>
                      <a:pt x="1586" y="566"/>
                    </a:lnTo>
                    <a:lnTo>
                      <a:pt x="1590" y="567"/>
                    </a:lnTo>
                    <a:lnTo>
                      <a:pt x="1602" y="570"/>
                    </a:lnTo>
                    <a:lnTo>
                      <a:pt x="1613" y="575"/>
                    </a:lnTo>
                    <a:lnTo>
                      <a:pt x="1626" y="577"/>
                    </a:lnTo>
                    <a:lnTo>
                      <a:pt x="1632" y="577"/>
                    </a:lnTo>
                    <a:lnTo>
                      <a:pt x="1641" y="577"/>
                    </a:lnTo>
                    <a:lnTo>
                      <a:pt x="1647" y="575"/>
                    </a:lnTo>
                    <a:lnTo>
                      <a:pt x="1648" y="573"/>
                    </a:lnTo>
                    <a:lnTo>
                      <a:pt x="1649" y="571"/>
                    </a:lnTo>
                    <a:lnTo>
                      <a:pt x="1652" y="568"/>
                    </a:lnTo>
                    <a:lnTo>
                      <a:pt x="1654" y="567"/>
                    </a:lnTo>
                    <a:lnTo>
                      <a:pt x="1656" y="565"/>
                    </a:lnTo>
                    <a:lnTo>
                      <a:pt x="1657" y="565"/>
                    </a:lnTo>
                    <a:lnTo>
                      <a:pt x="1662" y="567"/>
                    </a:lnTo>
                    <a:lnTo>
                      <a:pt x="1668" y="573"/>
                    </a:lnTo>
                    <a:lnTo>
                      <a:pt x="1674" y="581"/>
                    </a:lnTo>
                    <a:lnTo>
                      <a:pt x="1681" y="587"/>
                    </a:lnTo>
                    <a:lnTo>
                      <a:pt x="1683" y="591"/>
                    </a:lnTo>
                    <a:lnTo>
                      <a:pt x="1694" y="601"/>
                    </a:lnTo>
                    <a:lnTo>
                      <a:pt x="1704" y="612"/>
                    </a:lnTo>
                    <a:lnTo>
                      <a:pt x="1707" y="616"/>
                    </a:lnTo>
                    <a:lnTo>
                      <a:pt x="1708" y="618"/>
                    </a:lnTo>
                    <a:lnTo>
                      <a:pt x="1712" y="622"/>
                    </a:lnTo>
                    <a:lnTo>
                      <a:pt x="1714" y="624"/>
                    </a:lnTo>
                    <a:lnTo>
                      <a:pt x="1718" y="624"/>
                    </a:lnTo>
                    <a:lnTo>
                      <a:pt x="1719" y="627"/>
                    </a:lnTo>
                    <a:lnTo>
                      <a:pt x="1723" y="627"/>
                    </a:lnTo>
                    <a:lnTo>
                      <a:pt x="1727" y="628"/>
                    </a:lnTo>
                    <a:lnTo>
                      <a:pt x="1730" y="631"/>
                    </a:lnTo>
                    <a:lnTo>
                      <a:pt x="1733" y="631"/>
                    </a:lnTo>
                    <a:lnTo>
                      <a:pt x="1734" y="633"/>
                    </a:lnTo>
                    <a:lnTo>
                      <a:pt x="1737" y="635"/>
                    </a:lnTo>
                    <a:lnTo>
                      <a:pt x="1738" y="638"/>
                    </a:lnTo>
                    <a:lnTo>
                      <a:pt x="1748" y="640"/>
                    </a:lnTo>
                    <a:lnTo>
                      <a:pt x="1759" y="643"/>
                    </a:lnTo>
                    <a:lnTo>
                      <a:pt x="1760" y="643"/>
                    </a:lnTo>
                    <a:lnTo>
                      <a:pt x="1762" y="643"/>
                    </a:lnTo>
                    <a:lnTo>
                      <a:pt x="1763" y="642"/>
                    </a:lnTo>
                    <a:lnTo>
                      <a:pt x="1763" y="640"/>
                    </a:lnTo>
                    <a:lnTo>
                      <a:pt x="1764" y="639"/>
                    </a:lnTo>
                    <a:lnTo>
                      <a:pt x="1765" y="638"/>
                    </a:lnTo>
                    <a:lnTo>
                      <a:pt x="1768" y="638"/>
                    </a:lnTo>
                    <a:lnTo>
                      <a:pt x="1770" y="638"/>
                    </a:lnTo>
                    <a:lnTo>
                      <a:pt x="1773" y="640"/>
                    </a:lnTo>
                    <a:lnTo>
                      <a:pt x="1771" y="645"/>
                    </a:lnTo>
                    <a:lnTo>
                      <a:pt x="1769" y="652"/>
                    </a:lnTo>
                    <a:lnTo>
                      <a:pt x="1765" y="658"/>
                    </a:lnTo>
                    <a:lnTo>
                      <a:pt x="1762" y="663"/>
                    </a:lnTo>
                    <a:lnTo>
                      <a:pt x="1762" y="667"/>
                    </a:lnTo>
                    <a:lnTo>
                      <a:pt x="1763" y="674"/>
                    </a:lnTo>
                    <a:lnTo>
                      <a:pt x="1765" y="680"/>
                    </a:lnTo>
                    <a:lnTo>
                      <a:pt x="1766" y="688"/>
                    </a:lnTo>
                    <a:lnTo>
                      <a:pt x="1766" y="709"/>
                    </a:lnTo>
                    <a:lnTo>
                      <a:pt x="1765" y="710"/>
                    </a:lnTo>
                    <a:lnTo>
                      <a:pt x="1765" y="714"/>
                    </a:lnTo>
                    <a:lnTo>
                      <a:pt x="1765" y="716"/>
                    </a:lnTo>
                    <a:lnTo>
                      <a:pt x="1765" y="720"/>
                    </a:lnTo>
                    <a:lnTo>
                      <a:pt x="1766" y="721"/>
                    </a:lnTo>
                    <a:lnTo>
                      <a:pt x="1771" y="724"/>
                    </a:lnTo>
                    <a:lnTo>
                      <a:pt x="1774" y="728"/>
                    </a:lnTo>
                    <a:lnTo>
                      <a:pt x="1776" y="731"/>
                    </a:lnTo>
                    <a:lnTo>
                      <a:pt x="1778" y="735"/>
                    </a:lnTo>
                    <a:lnTo>
                      <a:pt x="1779" y="737"/>
                    </a:lnTo>
                    <a:lnTo>
                      <a:pt x="1779" y="741"/>
                    </a:lnTo>
                    <a:lnTo>
                      <a:pt x="1779" y="744"/>
                    </a:lnTo>
                    <a:lnTo>
                      <a:pt x="1779" y="746"/>
                    </a:lnTo>
                    <a:lnTo>
                      <a:pt x="1779" y="749"/>
                    </a:lnTo>
                    <a:lnTo>
                      <a:pt x="1780" y="750"/>
                    </a:lnTo>
                    <a:lnTo>
                      <a:pt x="1783" y="752"/>
                    </a:lnTo>
                    <a:lnTo>
                      <a:pt x="1786" y="752"/>
                    </a:lnTo>
                    <a:lnTo>
                      <a:pt x="1789" y="752"/>
                    </a:lnTo>
                    <a:lnTo>
                      <a:pt x="1793" y="751"/>
                    </a:lnTo>
                    <a:lnTo>
                      <a:pt x="1795" y="751"/>
                    </a:lnTo>
                    <a:lnTo>
                      <a:pt x="1799" y="750"/>
                    </a:lnTo>
                    <a:lnTo>
                      <a:pt x="1804" y="754"/>
                    </a:lnTo>
                    <a:lnTo>
                      <a:pt x="1808" y="759"/>
                    </a:lnTo>
                    <a:lnTo>
                      <a:pt x="1810" y="766"/>
                    </a:lnTo>
                    <a:lnTo>
                      <a:pt x="1814" y="771"/>
                    </a:lnTo>
                    <a:lnTo>
                      <a:pt x="1821" y="776"/>
                    </a:lnTo>
                    <a:lnTo>
                      <a:pt x="1828" y="776"/>
                    </a:lnTo>
                    <a:lnTo>
                      <a:pt x="1834" y="771"/>
                    </a:lnTo>
                    <a:lnTo>
                      <a:pt x="1837" y="764"/>
                    </a:lnTo>
                    <a:lnTo>
                      <a:pt x="1840" y="760"/>
                    </a:lnTo>
                    <a:lnTo>
                      <a:pt x="1842" y="756"/>
                    </a:lnTo>
                    <a:lnTo>
                      <a:pt x="1845" y="754"/>
                    </a:lnTo>
                    <a:lnTo>
                      <a:pt x="1847" y="751"/>
                    </a:lnTo>
                    <a:lnTo>
                      <a:pt x="1849" y="750"/>
                    </a:lnTo>
                    <a:lnTo>
                      <a:pt x="1851" y="750"/>
                    </a:lnTo>
                    <a:lnTo>
                      <a:pt x="1852" y="749"/>
                    </a:lnTo>
                    <a:lnTo>
                      <a:pt x="1855" y="749"/>
                    </a:lnTo>
                    <a:lnTo>
                      <a:pt x="1856" y="747"/>
                    </a:lnTo>
                    <a:lnTo>
                      <a:pt x="1860" y="741"/>
                    </a:lnTo>
                    <a:lnTo>
                      <a:pt x="1861" y="731"/>
                    </a:lnTo>
                    <a:lnTo>
                      <a:pt x="1862" y="723"/>
                    </a:lnTo>
                    <a:lnTo>
                      <a:pt x="1864" y="714"/>
                    </a:lnTo>
                    <a:lnTo>
                      <a:pt x="1865" y="706"/>
                    </a:lnTo>
                    <a:lnTo>
                      <a:pt x="1864" y="700"/>
                    </a:lnTo>
                    <a:lnTo>
                      <a:pt x="1864" y="694"/>
                    </a:lnTo>
                    <a:lnTo>
                      <a:pt x="1869" y="688"/>
                    </a:lnTo>
                    <a:lnTo>
                      <a:pt x="1877" y="681"/>
                    </a:lnTo>
                    <a:lnTo>
                      <a:pt x="1881" y="675"/>
                    </a:lnTo>
                    <a:lnTo>
                      <a:pt x="1881" y="669"/>
                    </a:lnTo>
                    <a:lnTo>
                      <a:pt x="1877" y="659"/>
                    </a:lnTo>
                    <a:lnTo>
                      <a:pt x="1876" y="655"/>
                    </a:lnTo>
                    <a:lnTo>
                      <a:pt x="1877" y="652"/>
                    </a:lnTo>
                    <a:lnTo>
                      <a:pt x="1879" y="650"/>
                    </a:lnTo>
                    <a:lnTo>
                      <a:pt x="1880" y="649"/>
                    </a:lnTo>
                    <a:lnTo>
                      <a:pt x="1882" y="649"/>
                    </a:lnTo>
                    <a:lnTo>
                      <a:pt x="1885" y="649"/>
                    </a:lnTo>
                    <a:lnTo>
                      <a:pt x="1887" y="650"/>
                    </a:lnTo>
                    <a:lnTo>
                      <a:pt x="1889" y="653"/>
                    </a:lnTo>
                    <a:lnTo>
                      <a:pt x="1890" y="657"/>
                    </a:lnTo>
                    <a:lnTo>
                      <a:pt x="1889" y="664"/>
                    </a:lnTo>
                    <a:lnTo>
                      <a:pt x="1886" y="673"/>
                    </a:lnTo>
                    <a:lnTo>
                      <a:pt x="1886" y="680"/>
                    </a:lnTo>
                    <a:lnTo>
                      <a:pt x="1887" y="690"/>
                    </a:lnTo>
                    <a:lnTo>
                      <a:pt x="1896" y="708"/>
                    </a:lnTo>
                    <a:lnTo>
                      <a:pt x="1906" y="725"/>
                    </a:lnTo>
                    <a:lnTo>
                      <a:pt x="1913" y="742"/>
                    </a:lnTo>
                    <a:lnTo>
                      <a:pt x="1922" y="760"/>
                    </a:lnTo>
                    <a:lnTo>
                      <a:pt x="1932" y="774"/>
                    </a:lnTo>
                    <a:lnTo>
                      <a:pt x="1938" y="788"/>
                    </a:lnTo>
                    <a:lnTo>
                      <a:pt x="1945" y="803"/>
                    </a:lnTo>
                    <a:lnTo>
                      <a:pt x="1950" y="812"/>
                    </a:lnTo>
                    <a:lnTo>
                      <a:pt x="1956" y="823"/>
                    </a:lnTo>
                    <a:lnTo>
                      <a:pt x="1955" y="832"/>
                    </a:lnTo>
                    <a:lnTo>
                      <a:pt x="1952" y="839"/>
                    </a:lnTo>
                    <a:lnTo>
                      <a:pt x="1950" y="847"/>
                    </a:lnTo>
                    <a:lnTo>
                      <a:pt x="1955" y="862"/>
                    </a:lnTo>
                    <a:lnTo>
                      <a:pt x="1962" y="877"/>
                    </a:lnTo>
                    <a:lnTo>
                      <a:pt x="1971" y="889"/>
                    </a:lnTo>
                    <a:lnTo>
                      <a:pt x="1975" y="893"/>
                    </a:lnTo>
                    <a:lnTo>
                      <a:pt x="1978" y="897"/>
                    </a:lnTo>
                    <a:lnTo>
                      <a:pt x="1983" y="899"/>
                    </a:lnTo>
                    <a:lnTo>
                      <a:pt x="1987" y="900"/>
                    </a:lnTo>
                    <a:lnTo>
                      <a:pt x="1991" y="900"/>
                    </a:lnTo>
                    <a:lnTo>
                      <a:pt x="1994" y="902"/>
                    </a:lnTo>
                    <a:lnTo>
                      <a:pt x="1997" y="904"/>
                    </a:lnTo>
                    <a:lnTo>
                      <a:pt x="1999" y="905"/>
                    </a:lnTo>
                    <a:lnTo>
                      <a:pt x="2002" y="908"/>
                    </a:lnTo>
                    <a:lnTo>
                      <a:pt x="2004" y="909"/>
                    </a:lnTo>
                    <a:lnTo>
                      <a:pt x="2007" y="909"/>
                    </a:lnTo>
                    <a:lnTo>
                      <a:pt x="2009" y="909"/>
                    </a:lnTo>
                    <a:lnTo>
                      <a:pt x="2012" y="910"/>
                    </a:lnTo>
                    <a:lnTo>
                      <a:pt x="2014" y="912"/>
                    </a:lnTo>
                    <a:lnTo>
                      <a:pt x="2017" y="913"/>
                    </a:lnTo>
                    <a:lnTo>
                      <a:pt x="2018" y="915"/>
                    </a:lnTo>
                    <a:lnTo>
                      <a:pt x="2018" y="918"/>
                    </a:lnTo>
                    <a:lnTo>
                      <a:pt x="2019" y="922"/>
                    </a:lnTo>
                    <a:lnTo>
                      <a:pt x="2019" y="924"/>
                    </a:lnTo>
                    <a:lnTo>
                      <a:pt x="2022" y="926"/>
                    </a:lnTo>
                    <a:lnTo>
                      <a:pt x="2023" y="928"/>
                    </a:lnTo>
                    <a:lnTo>
                      <a:pt x="2026" y="929"/>
                    </a:lnTo>
                    <a:lnTo>
                      <a:pt x="2031" y="930"/>
                    </a:lnTo>
                    <a:lnTo>
                      <a:pt x="2037" y="931"/>
                    </a:lnTo>
                    <a:lnTo>
                      <a:pt x="2042" y="934"/>
                    </a:lnTo>
                    <a:lnTo>
                      <a:pt x="2043" y="936"/>
                    </a:lnTo>
                    <a:lnTo>
                      <a:pt x="2046" y="939"/>
                    </a:lnTo>
                    <a:lnTo>
                      <a:pt x="2048" y="943"/>
                    </a:lnTo>
                    <a:lnTo>
                      <a:pt x="2049" y="946"/>
                    </a:lnTo>
                    <a:lnTo>
                      <a:pt x="2049" y="950"/>
                    </a:lnTo>
                    <a:lnTo>
                      <a:pt x="2052" y="956"/>
                    </a:lnTo>
                    <a:lnTo>
                      <a:pt x="2049" y="963"/>
                    </a:lnTo>
                    <a:lnTo>
                      <a:pt x="2047" y="968"/>
                    </a:lnTo>
                    <a:lnTo>
                      <a:pt x="2047" y="971"/>
                    </a:lnTo>
                    <a:lnTo>
                      <a:pt x="2052" y="976"/>
                    </a:lnTo>
                    <a:lnTo>
                      <a:pt x="2063" y="980"/>
                    </a:lnTo>
                    <a:lnTo>
                      <a:pt x="2072" y="985"/>
                    </a:lnTo>
                    <a:lnTo>
                      <a:pt x="2080" y="991"/>
                    </a:lnTo>
                    <a:lnTo>
                      <a:pt x="2083" y="996"/>
                    </a:lnTo>
                    <a:lnTo>
                      <a:pt x="2084" y="1000"/>
                    </a:lnTo>
                    <a:lnTo>
                      <a:pt x="2002" y="975"/>
                    </a:lnTo>
                    <a:lnTo>
                      <a:pt x="1918" y="954"/>
                    </a:lnTo>
                    <a:lnTo>
                      <a:pt x="1835" y="935"/>
                    </a:lnTo>
                    <a:lnTo>
                      <a:pt x="1749" y="922"/>
                    </a:lnTo>
                    <a:lnTo>
                      <a:pt x="1745" y="919"/>
                    </a:lnTo>
                    <a:lnTo>
                      <a:pt x="1727" y="910"/>
                    </a:lnTo>
                    <a:lnTo>
                      <a:pt x="1709" y="909"/>
                    </a:lnTo>
                    <a:lnTo>
                      <a:pt x="1693" y="914"/>
                    </a:lnTo>
                    <a:lnTo>
                      <a:pt x="1679" y="924"/>
                    </a:lnTo>
                    <a:lnTo>
                      <a:pt x="1669" y="939"/>
                    </a:lnTo>
                    <a:lnTo>
                      <a:pt x="1663" y="956"/>
                    </a:lnTo>
                    <a:lnTo>
                      <a:pt x="1662" y="974"/>
                    </a:lnTo>
                    <a:lnTo>
                      <a:pt x="1659" y="989"/>
                    </a:lnTo>
                    <a:lnTo>
                      <a:pt x="1661" y="1002"/>
                    </a:lnTo>
                    <a:lnTo>
                      <a:pt x="1666" y="1016"/>
                    </a:lnTo>
                    <a:lnTo>
                      <a:pt x="1666" y="1028"/>
                    </a:lnTo>
                    <a:lnTo>
                      <a:pt x="1669" y="1042"/>
                    </a:lnTo>
                    <a:lnTo>
                      <a:pt x="1724" y="1194"/>
                    </a:lnTo>
                    <a:lnTo>
                      <a:pt x="1775" y="1347"/>
                    </a:lnTo>
                    <a:lnTo>
                      <a:pt x="1773" y="1349"/>
                    </a:lnTo>
                    <a:lnTo>
                      <a:pt x="1771" y="1351"/>
                    </a:lnTo>
                    <a:lnTo>
                      <a:pt x="1769" y="1351"/>
                    </a:lnTo>
                    <a:lnTo>
                      <a:pt x="1766" y="1351"/>
                    </a:lnTo>
                    <a:lnTo>
                      <a:pt x="1765" y="1351"/>
                    </a:lnTo>
                    <a:lnTo>
                      <a:pt x="1763" y="1349"/>
                    </a:lnTo>
                    <a:lnTo>
                      <a:pt x="1760" y="1348"/>
                    </a:lnTo>
                    <a:lnTo>
                      <a:pt x="1759" y="1347"/>
                    </a:lnTo>
                    <a:lnTo>
                      <a:pt x="1757" y="1347"/>
                    </a:lnTo>
                    <a:lnTo>
                      <a:pt x="1755" y="1348"/>
                    </a:lnTo>
                    <a:lnTo>
                      <a:pt x="1754" y="1351"/>
                    </a:lnTo>
                    <a:lnTo>
                      <a:pt x="1752" y="1354"/>
                    </a:lnTo>
                    <a:lnTo>
                      <a:pt x="1749" y="1358"/>
                    </a:lnTo>
                    <a:lnTo>
                      <a:pt x="1747" y="1362"/>
                    </a:lnTo>
                    <a:lnTo>
                      <a:pt x="1747" y="1367"/>
                    </a:lnTo>
                    <a:lnTo>
                      <a:pt x="1745" y="1369"/>
                    </a:lnTo>
                    <a:lnTo>
                      <a:pt x="1745" y="1372"/>
                    </a:lnTo>
                    <a:lnTo>
                      <a:pt x="1745" y="1374"/>
                    </a:lnTo>
                    <a:lnTo>
                      <a:pt x="1745" y="1375"/>
                    </a:lnTo>
                    <a:lnTo>
                      <a:pt x="1744" y="1377"/>
                    </a:lnTo>
                    <a:lnTo>
                      <a:pt x="1744" y="1378"/>
                    </a:lnTo>
                    <a:lnTo>
                      <a:pt x="1742" y="1379"/>
                    </a:lnTo>
                    <a:lnTo>
                      <a:pt x="1738" y="1379"/>
                    </a:lnTo>
                    <a:lnTo>
                      <a:pt x="1735" y="1379"/>
                    </a:lnTo>
                    <a:lnTo>
                      <a:pt x="1732" y="1380"/>
                    </a:lnTo>
                    <a:lnTo>
                      <a:pt x="1730" y="1382"/>
                    </a:lnTo>
                    <a:lnTo>
                      <a:pt x="1728" y="1384"/>
                    </a:lnTo>
                    <a:lnTo>
                      <a:pt x="1727" y="1389"/>
                    </a:lnTo>
                    <a:lnTo>
                      <a:pt x="1725" y="1393"/>
                    </a:lnTo>
                    <a:lnTo>
                      <a:pt x="1666" y="1375"/>
                    </a:lnTo>
                    <a:lnTo>
                      <a:pt x="1606" y="1357"/>
                    </a:lnTo>
                    <a:lnTo>
                      <a:pt x="1605" y="1357"/>
                    </a:lnTo>
                    <a:lnTo>
                      <a:pt x="1605" y="1353"/>
                    </a:lnTo>
                    <a:lnTo>
                      <a:pt x="1602" y="1344"/>
                    </a:lnTo>
                    <a:lnTo>
                      <a:pt x="1596" y="1339"/>
                    </a:lnTo>
                    <a:lnTo>
                      <a:pt x="1590" y="1338"/>
                    </a:lnTo>
                    <a:lnTo>
                      <a:pt x="1581" y="1341"/>
                    </a:lnTo>
                    <a:lnTo>
                      <a:pt x="1573" y="1344"/>
                    </a:lnTo>
                    <a:lnTo>
                      <a:pt x="1566" y="1348"/>
                    </a:lnTo>
                    <a:lnTo>
                      <a:pt x="1562" y="1347"/>
                    </a:lnTo>
                    <a:lnTo>
                      <a:pt x="1558" y="1346"/>
                    </a:lnTo>
                    <a:lnTo>
                      <a:pt x="1563" y="1343"/>
                    </a:lnTo>
                    <a:lnTo>
                      <a:pt x="1566" y="1343"/>
                    </a:lnTo>
                    <a:lnTo>
                      <a:pt x="1536" y="1333"/>
                    </a:lnTo>
                    <a:lnTo>
                      <a:pt x="1509" y="1323"/>
                    </a:lnTo>
                    <a:lnTo>
                      <a:pt x="1510" y="1311"/>
                    </a:lnTo>
                    <a:lnTo>
                      <a:pt x="1507" y="1298"/>
                    </a:lnTo>
                    <a:lnTo>
                      <a:pt x="1500" y="1287"/>
                    </a:lnTo>
                    <a:lnTo>
                      <a:pt x="1492" y="1285"/>
                    </a:lnTo>
                    <a:lnTo>
                      <a:pt x="1482" y="1282"/>
                    </a:lnTo>
                    <a:lnTo>
                      <a:pt x="1471" y="1283"/>
                    </a:lnTo>
                    <a:lnTo>
                      <a:pt x="1464" y="1287"/>
                    </a:lnTo>
                    <a:lnTo>
                      <a:pt x="1463" y="1290"/>
                    </a:lnTo>
                    <a:lnTo>
                      <a:pt x="1461" y="1293"/>
                    </a:lnTo>
                    <a:lnTo>
                      <a:pt x="1460" y="1296"/>
                    </a:lnTo>
                    <a:lnTo>
                      <a:pt x="1460" y="1298"/>
                    </a:lnTo>
                    <a:lnTo>
                      <a:pt x="1459" y="1300"/>
                    </a:lnTo>
                    <a:lnTo>
                      <a:pt x="1458" y="1302"/>
                    </a:lnTo>
                    <a:lnTo>
                      <a:pt x="1456" y="1303"/>
                    </a:lnTo>
                    <a:lnTo>
                      <a:pt x="1454" y="1303"/>
                    </a:lnTo>
                    <a:lnTo>
                      <a:pt x="1451" y="1302"/>
                    </a:lnTo>
                    <a:lnTo>
                      <a:pt x="1448" y="1301"/>
                    </a:lnTo>
                    <a:lnTo>
                      <a:pt x="1440" y="1295"/>
                    </a:lnTo>
                    <a:lnTo>
                      <a:pt x="1433" y="1290"/>
                    </a:lnTo>
                    <a:lnTo>
                      <a:pt x="1426" y="1285"/>
                    </a:lnTo>
                    <a:lnTo>
                      <a:pt x="1419" y="1281"/>
                    </a:lnTo>
                    <a:lnTo>
                      <a:pt x="1410" y="1278"/>
                    </a:lnTo>
                    <a:lnTo>
                      <a:pt x="1404" y="1275"/>
                    </a:lnTo>
                    <a:lnTo>
                      <a:pt x="1400" y="1277"/>
                    </a:lnTo>
                    <a:lnTo>
                      <a:pt x="1398" y="1280"/>
                    </a:lnTo>
                    <a:lnTo>
                      <a:pt x="1393" y="1282"/>
                    </a:lnTo>
                    <a:lnTo>
                      <a:pt x="1389" y="1280"/>
                    </a:lnTo>
                    <a:lnTo>
                      <a:pt x="1384" y="1278"/>
                    </a:lnTo>
                    <a:lnTo>
                      <a:pt x="1393" y="1278"/>
                    </a:lnTo>
                    <a:lnTo>
                      <a:pt x="1369" y="1267"/>
                    </a:lnTo>
                    <a:lnTo>
                      <a:pt x="1344" y="1256"/>
                    </a:lnTo>
                    <a:lnTo>
                      <a:pt x="1348" y="1255"/>
                    </a:lnTo>
                    <a:lnTo>
                      <a:pt x="1352" y="1254"/>
                    </a:lnTo>
                    <a:lnTo>
                      <a:pt x="1355" y="1252"/>
                    </a:lnTo>
                    <a:lnTo>
                      <a:pt x="1359" y="1254"/>
                    </a:lnTo>
                    <a:lnTo>
                      <a:pt x="1367" y="1254"/>
                    </a:lnTo>
                    <a:lnTo>
                      <a:pt x="1375" y="1255"/>
                    </a:lnTo>
                    <a:lnTo>
                      <a:pt x="1384" y="1255"/>
                    </a:lnTo>
                    <a:lnTo>
                      <a:pt x="1392" y="1254"/>
                    </a:lnTo>
                    <a:lnTo>
                      <a:pt x="1397" y="1250"/>
                    </a:lnTo>
                    <a:lnTo>
                      <a:pt x="1399" y="1245"/>
                    </a:lnTo>
                    <a:lnTo>
                      <a:pt x="1398" y="1235"/>
                    </a:lnTo>
                    <a:lnTo>
                      <a:pt x="1394" y="1226"/>
                    </a:lnTo>
                    <a:lnTo>
                      <a:pt x="1390" y="1220"/>
                    </a:lnTo>
                    <a:lnTo>
                      <a:pt x="1384" y="1216"/>
                    </a:lnTo>
                    <a:lnTo>
                      <a:pt x="1375" y="1214"/>
                    </a:lnTo>
                    <a:lnTo>
                      <a:pt x="1369" y="1214"/>
                    </a:lnTo>
                    <a:lnTo>
                      <a:pt x="1365" y="1214"/>
                    </a:lnTo>
                    <a:lnTo>
                      <a:pt x="1363" y="1213"/>
                    </a:lnTo>
                    <a:lnTo>
                      <a:pt x="1362" y="1211"/>
                    </a:lnTo>
                    <a:lnTo>
                      <a:pt x="1360" y="1209"/>
                    </a:lnTo>
                    <a:lnTo>
                      <a:pt x="1359" y="1206"/>
                    </a:lnTo>
                    <a:lnTo>
                      <a:pt x="1358" y="1203"/>
                    </a:lnTo>
                    <a:lnTo>
                      <a:pt x="1357" y="1199"/>
                    </a:lnTo>
                    <a:lnTo>
                      <a:pt x="1355" y="1196"/>
                    </a:lnTo>
                    <a:lnTo>
                      <a:pt x="1354" y="1193"/>
                    </a:lnTo>
                    <a:lnTo>
                      <a:pt x="1353" y="1190"/>
                    </a:lnTo>
                    <a:lnTo>
                      <a:pt x="1350" y="1188"/>
                    </a:lnTo>
                    <a:lnTo>
                      <a:pt x="1348" y="1185"/>
                    </a:lnTo>
                    <a:lnTo>
                      <a:pt x="1347" y="1184"/>
                    </a:lnTo>
                    <a:lnTo>
                      <a:pt x="1344" y="1183"/>
                    </a:lnTo>
                    <a:lnTo>
                      <a:pt x="1342" y="1184"/>
                    </a:lnTo>
                    <a:lnTo>
                      <a:pt x="1340" y="1185"/>
                    </a:lnTo>
                    <a:lnTo>
                      <a:pt x="1338" y="1188"/>
                    </a:lnTo>
                    <a:lnTo>
                      <a:pt x="1338" y="1190"/>
                    </a:lnTo>
                    <a:lnTo>
                      <a:pt x="1338" y="1191"/>
                    </a:lnTo>
                    <a:lnTo>
                      <a:pt x="1337" y="1190"/>
                    </a:lnTo>
                    <a:lnTo>
                      <a:pt x="1335" y="1190"/>
                    </a:lnTo>
                    <a:lnTo>
                      <a:pt x="1334" y="1188"/>
                    </a:lnTo>
                    <a:lnTo>
                      <a:pt x="1333" y="1185"/>
                    </a:lnTo>
                    <a:lnTo>
                      <a:pt x="1330" y="1181"/>
                    </a:lnTo>
                    <a:lnTo>
                      <a:pt x="1327" y="1179"/>
                    </a:lnTo>
                    <a:lnTo>
                      <a:pt x="1324" y="1178"/>
                    </a:lnTo>
                    <a:lnTo>
                      <a:pt x="1319" y="1178"/>
                    </a:lnTo>
                    <a:lnTo>
                      <a:pt x="1313" y="1178"/>
                    </a:lnTo>
                    <a:lnTo>
                      <a:pt x="1309" y="1180"/>
                    </a:lnTo>
                    <a:lnTo>
                      <a:pt x="1307" y="1185"/>
                    </a:lnTo>
                    <a:lnTo>
                      <a:pt x="1306" y="1191"/>
                    </a:lnTo>
                    <a:lnTo>
                      <a:pt x="1303" y="1196"/>
                    </a:lnTo>
                    <a:lnTo>
                      <a:pt x="1299" y="1201"/>
                    </a:lnTo>
                    <a:lnTo>
                      <a:pt x="1292" y="1204"/>
                    </a:lnTo>
                    <a:lnTo>
                      <a:pt x="1286" y="1206"/>
                    </a:lnTo>
                    <a:lnTo>
                      <a:pt x="1281" y="1209"/>
                    </a:lnTo>
                    <a:lnTo>
                      <a:pt x="1277" y="1211"/>
                    </a:lnTo>
                    <a:lnTo>
                      <a:pt x="1273" y="1214"/>
                    </a:lnTo>
                    <a:lnTo>
                      <a:pt x="1269" y="1216"/>
                    </a:lnTo>
                    <a:lnTo>
                      <a:pt x="1267" y="1219"/>
                    </a:lnTo>
                    <a:lnTo>
                      <a:pt x="1262" y="1222"/>
                    </a:lnTo>
                    <a:lnTo>
                      <a:pt x="1262" y="1222"/>
                    </a:lnTo>
                    <a:lnTo>
                      <a:pt x="1262" y="1222"/>
                    </a:lnTo>
                    <a:lnTo>
                      <a:pt x="1259" y="1222"/>
                    </a:lnTo>
                    <a:lnTo>
                      <a:pt x="1254" y="1220"/>
                    </a:lnTo>
                    <a:lnTo>
                      <a:pt x="1257" y="1219"/>
                    </a:lnTo>
                    <a:lnTo>
                      <a:pt x="1259" y="1217"/>
                    </a:lnTo>
                    <a:lnTo>
                      <a:pt x="1169" y="1174"/>
                    </a:lnTo>
                    <a:lnTo>
                      <a:pt x="1080" y="1129"/>
                    </a:lnTo>
                    <a:lnTo>
                      <a:pt x="984" y="1076"/>
                    </a:lnTo>
                    <a:lnTo>
                      <a:pt x="892" y="1021"/>
                    </a:lnTo>
                    <a:lnTo>
                      <a:pt x="805" y="966"/>
                    </a:lnTo>
                    <a:lnTo>
                      <a:pt x="720" y="912"/>
                    </a:lnTo>
                    <a:lnTo>
                      <a:pt x="640" y="859"/>
                    </a:lnTo>
                    <a:lnTo>
                      <a:pt x="564" y="810"/>
                    </a:lnTo>
                    <a:lnTo>
                      <a:pt x="492" y="764"/>
                    </a:lnTo>
                    <a:lnTo>
                      <a:pt x="426" y="723"/>
                    </a:lnTo>
                    <a:lnTo>
                      <a:pt x="363" y="685"/>
                    </a:lnTo>
                    <a:lnTo>
                      <a:pt x="302" y="654"/>
                    </a:lnTo>
                    <a:lnTo>
                      <a:pt x="244" y="629"/>
                    </a:lnTo>
                    <a:lnTo>
                      <a:pt x="188" y="609"/>
                    </a:lnTo>
                    <a:lnTo>
                      <a:pt x="133" y="596"/>
                    </a:lnTo>
                    <a:lnTo>
                      <a:pt x="81" y="588"/>
                    </a:lnTo>
                    <a:lnTo>
                      <a:pt x="67" y="588"/>
                    </a:lnTo>
                    <a:lnTo>
                      <a:pt x="67" y="588"/>
                    </a:lnTo>
                    <a:lnTo>
                      <a:pt x="66" y="587"/>
                    </a:lnTo>
                    <a:lnTo>
                      <a:pt x="66" y="587"/>
                    </a:lnTo>
                    <a:lnTo>
                      <a:pt x="65" y="588"/>
                    </a:lnTo>
                    <a:lnTo>
                      <a:pt x="65" y="588"/>
                    </a:lnTo>
                    <a:lnTo>
                      <a:pt x="65" y="588"/>
                    </a:lnTo>
                    <a:lnTo>
                      <a:pt x="62" y="588"/>
                    </a:lnTo>
                    <a:lnTo>
                      <a:pt x="62" y="591"/>
                    </a:lnTo>
                    <a:lnTo>
                      <a:pt x="35" y="592"/>
                    </a:lnTo>
                    <a:lnTo>
                      <a:pt x="10" y="596"/>
                    </a:lnTo>
                    <a:lnTo>
                      <a:pt x="10" y="593"/>
                    </a:lnTo>
                    <a:lnTo>
                      <a:pt x="11" y="591"/>
                    </a:lnTo>
                    <a:lnTo>
                      <a:pt x="13" y="588"/>
                    </a:lnTo>
                    <a:lnTo>
                      <a:pt x="14" y="586"/>
                    </a:lnTo>
                    <a:lnTo>
                      <a:pt x="14" y="584"/>
                    </a:lnTo>
                    <a:lnTo>
                      <a:pt x="13" y="583"/>
                    </a:lnTo>
                    <a:lnTo>
                      <a:pt x="13" y="583"/>
                    </a:lnTo>
                    <a:lnTo>
                      <a:pt x="11" y="583"/>
                    </a:lnTo>
                    <a:lnTo>
                      <a:pt x="10" y="583"/>
                    </a:lnTo>
                    <a:lnTo>
                      <a:pt x="5" y="581"/>
                    </a:lnTo>
                    <a:lnTo>
                      <a:pt x="1" y="576"/>
                    </a:lnTo>
                    <a:lnTo>
                      <a:pt x="0" y="571"/>
                    </a:lnTo>
                    <a:lnTo>
                      <a:pt x="1" y="562"/>
                    </a:lnTo>
                    <a:lnTo>
                      <a:pt x="5" y="560"/>
                    </a:lnTo>
                    <a:lnTo>
                      <a:pt x="9" y="557"/>
                    </a:lnTo>
                    <a:lnTo>
                      <a:pt x="13" y="553"/>
                    </a:lnTo>
                    <a:lnTo>
                      <a:pt x="16" y="552"/>
                    </a:lnTo>
                    <a:lnTo>
                      <a:pt x="19" y="548"/>
                    </a:lnTo>
                    <a:lnTo>
                      <a:pt x="21" y="545"/>
                    </a:lnTo>
                    <a:lnTo>
                      <a:pt x="25" y="541"/>
                    </a:lnTo>
                    <a:lnTo>
                      <a:pt x="29" y="536"/>
                    </a:lnTo>
                    <a:lnTo>
                      <a:pt x="34" y="531"/>
                    </a:lnTo>
                    <a:lnTo>
                      <a:pt x="39" y="526"/>
                    </a:lnTo>
                    <a:lnTo>
                      <a:pt x="44" y="524"/>
                    </a:lnTo>
                    <a:lnTo>
                      <a:pt x="46" y="525"/>
                    </a:lnTo>
                    <a:lnTo>
                      <a:pt x="47" y="527"/>
                    </a:lnTo>
                    <a:lnTo>
                      <a:pt x="46" y="529"/>
                    </a:lnTo>
                    <a:lnTo>
                      <a:pt x="46" y="531"/>
                    </a:lnTo>
                    <a:lnTo>
                      <a:pt x="45" y="532"/>
                    </a:lnTo>
                    <a:lnTo>
                      <a:pt x="44" y="535"/>
                    </a:lnTo>
                    <a:lnTo>
                      <a:pt x="44" y="536"/>
                    </a:lnTo>
                    <a:lnTo>
                      <a:pt x="44" y="537"/>
                    </a:lnTo>
                    <a:lnTo>
                      <a:pt x="46" y="537"/>
                    </a:lnTo>
                    <a:lnTo>
                      <a:pt x="47" y="538"/>
                    </a:lnTo>
                    <a:lnTo>
                      <a:pt x="50" y="538"/>
                    </a:lnTo>
                    <a:lnTo>
                      <a:pt x="51" y="538"/>
                    </a:lnTo>
                    <a:lnTo>
                      <a:pt x="51" y="538"/>
                    </a:lnTo>
                    <a:lnTo>
                      <a:pt x="54" y="538"/>
                    </a:lnTo>
                    <a:lnTo>
                      <a:pt x="56" y="538"/>
                    </a:lnTo>
                    <a:lnTo>
                      <a:pt x="59" y="538"/>
                    </a:lnTo>
                    <a:lnTo>
                      <a:pt x="61" y="538"/>
                    </a:lnTo>
                    <a:lnTo>
                      <a:pt x="65" y="537"/>
                    </a:lnTo>
                    <a:lnTo>
                      <a:pt x="66" y="536"/>
                    </a:lnTo>
                    <a:lnTo>
                      <a:pt x="69" y="533"/>
                    </a:lnTo>
                    <a:lnTo>
                      <a:pt x="70" y="530"/>
                    </a:lnTo>
                    <a:lnTo>
                      <a:pt x="70" y="529"/>
                    </a:lnTo>
                    <a:lnTo>
                      <a:pt x="69" y="527"/>
                    </a:lnTo>
                    <a:lnTo>
                      <a:pt x="67" y="526"/>
                    </a:lnTo>
                    <a:lnTo>
                      <a:pt x="66" y="526"/>
                    </a:lnTo>
                    <a:lnTo>
                      <a:pt x="65" y="526"/>
                    </a:lnTo>
                    <a:lnTo>
                      <a:pt x="64" y="526"/>
                    </a:lnTo>
                    <a:lnTo>
                      <a:pt x="64" y="525"/>
                    </a:lnTo>
                    <a:lnTo>
                      <a:pt x="64" y="525"/>
                    </a:lnTo>
                    <a:lnTo>
                      <a:pt x="64" y="522"/>
                    </a:lnTo>
                    <a:lnTo>
                      <a:pt x="65" y="520"/>
                    </a:lnTo>
                    <a:lnTo>
                      <a:pt x="66" y="517"/>
                    </a:lnTo>
                    <a:lnTo>
                      <a:pt x="66" y="514"/>
                    </a:lnTo>
                    <a:lnTo>
                      <a:pt x="65" y="511"/>
                    </a:lnTo>
                    <a:lnTo>
                      <a:pt x="62" y="510"/>
                    </a:lnTo>
                    <a:lnTo>
                      <a:pt x="60" y="507"/>
                    </a:lnTo>
                    <a:lnTo>
                      <a:pt x="57" y="506"/>
                    </a:lnTo>
                    <a:lnTo>
                      <a:pt x="56" y="506"/>
                    </a:lnTo>
                    <a:lnTo>
                      <a:pt x="54" y="507"/>
                    </a:lnTo>
                    <a:lnTo>
                      <a:pt x="50" y="506"/>
                    </a:lnTo>
                    <a:lnTo>
                      <a:pt x="47" y="504"/>
                    </a:lnTo>
                    <a:lnTo>
                      <a:pt x="49" y="499"/>
                    </a:lnTo>
                    <a:lnTo>
                      <a:pt x="50" y="492"/>
                    </a:lnTo>
                    <a:lnTo>
                      <a:pt x="51" y="486"/>
                    </a:lnTo>
                    <a:lnTo>
                      <a:pt x="51" y="481"/>
                    </a:lnTo>
                    <a:lnTo>
                      <a:pt x="50" y="479"/>
                    </a:lnTo>
                    <a:lnTo>
                      <a:pt x="49" y="476"/>
                    </a:lnTo>
                    <a:lnTo>
                      <a:pt x="47" y="474"/>
                    </a:lnTo>
                    <a:lnTo>
                      <a:pt x="46" y="473"/>
                    </a:lnTo>
                    <a:lnTo>
                      <a:pt x="45" y="469"/>
                    </a:lnTo>
                    <a:lnTo>
                      <a:pt x="42" y="465"/>
                    </a:lnTo>
                    <a:lnTo>
                      <a:pt x="40" y="463"/>
                    </a:lnTo>
                    <a:lnTo>
                      <a:pt x="39" y="463"/>
                    </a:lnTo>
                    <a:lnTo>
                      <a:pt x="36" y="460"/>
                    </a:lnTo>
                    <a:lnTo>
                      <a:pt x="34" y="459"/>
                    </a:lnTo>
                    <a:lnTo>
                      <a:pt x="31" y="458"/>
                    </a:lnTo>
                    <a:lnTo>
                      <a:pt x="29" y="456"/>
                    </a:lnTo>
                    <a:lnTo>
                      <a:pt x="27" y="456"/>
                    </a:lnTo>
                    <a:lnTo>
                      <a:pt x="27" y="455"/>
                    </a:lnTo>
                    <a:lnTo>
                      <a:pt x="27" y="455"/>
                    </a:lnTo>
                    <a:lnTo>
                      <a:pt x="27" y="454"/>
                    </a:lnTo>
                    <a:lnTo>
                      <a:pt x="30" y="453"/>
                    </a:lnTo>
                    <a:lnTo>
                      <a:pt x="32" y="451"/>
                    </a:lnTo>
                    <a:lnTo>
                      <a:pt x="34" y="449"/>
                    </a:lnTo>
                    <a:lnTo>
                      <a:pt x="35" y="445"/>
                    </a:lnTo>
                    <a:lnTo>
                      <a:pt x="36" y="441"/>
                    </a:lnTo>
                    <a:lnTo>
                      <a:pt x="36" y="439"/>
                    </a:lnTo>
                    <a:lnTo>
                      <a:pt x="37" y="435"/>
                    </a:lnTo>
                    <a:lnTo>
                      <a:pt x="39" y="432"/>
                    </a:lnTo>
                    <a:lnTo>
                      <a:pt x="41" y="428"/>
                    </a:lnTo>
                    <a:lnTo>
                      <a:pt x="44" y="427"/>
                    </a:lnTo>
                    <a:lnTo>
                      <a:pt x="46" y="425"/>
                    </a:lnTo>
                    <a:lnTo>
                      <a:pt x="49" y="425"/>
                    </a:lnTo>
                    <a:lnTo>
                      <a:pt x="51" y="425"/>
                    </a:lnTo>
                    <a:lnTo>
                      <a:pt x="54" y="423"/>
                    </a:lnTo>
                    <a:lnTo>
                      <a:pt x="56" y="420"/>
                    </a:lnTo>
                    <a:lnTo>
                      <a:pt x="67" y="409"/>
                    </a:lnTo>
                    <a:lnTo>
                      <a:pt x="75" y="394"/>
                    </a:lnTo>
                    <a:lnTo>
                      <a:pt x="76" y="390"/>
                    </a:lnTo>
                    <a:lnTo>
                      <a:pt x="76" y="387"/>
                    </a:lnTo>
                    <a:lnTo>
                      <a:pt x="76" y="382"/>
                    </a:lnTo>
                    <a:lnTo>
                      <a:pt x="77" y="378"/>
                    </a:lnTo>
                    <a:lnTo>
                      <a:pt x="80" y="376"/>
                    </a:lnTo>
                    <a:lnTo>
                      <a:pt x="82" y="372"/>
                    </a:lnTo>
                    <a:lnTo>
                      <a:pt x="86" y="368"/>
                    </a:lnTo>
                    <a:lnTo>
                      <a:pt x="87" y="366"/>
                    </a:lnTo>
                    <a:lnTo>
                      <a:pt x="88" y="363"/>
                    </a:lnTo>
                    <a:lnTo>
                      <a:pt x="90" y="359"/>
                    </a:lnTo>
                    <a:lnTo>
                      <a:pt x="91" y="354"/>
                    </a:lnTo>
                    <a:lnTo>
                      <a:pt x="92" y="352"/>
                    </a:lnTo>
                    <a:lnTo>
                      <a:pt x="93" y="349"/>
                    </a:lnTo>
                    <a:lnTo>
                      <a:pt x="96" y="349"/>
                    </a:lnTo>
                    <a:lnTo>
                      <a:pt x="98" y="349"/>
                    </a:lnTo>
                    <a:lnTo>
                      <a:pt x="101" y="347"/>
                    </a:lnTo>
                    <a:lnTo>
                      <a:pt x="108" y="339"/>
                    </a:lnTo>
                    <a:lnTo>
                      <a:pt x="110" y="337"/>
                    </a:lnTo>
                    <a:lnTo>
                      <a:pt x="112" y="333"/>
                    </a:lnTo>
                    <a:lnTo>
                      <a:pt x="113" y="331"/>
                    </a:lnTo>
                    <a:lnTo>
                      <a:pt x="116" y="327"/>
                    </a:lnTo>
                    <a:lnTo>
                      <a:pt x="117" y="325"/>
                    </a:lnTo>
                    <a:lnTo>
                      <a:pt x="120" y="322"/>
                    </a:lnTo>
                    <a:lnTo>
                      <a:pt x="121" y="321"/>
                    </a:lnTo>
                    <a:lnTo>
                      <a:pt x="122" y="321"/>
                    </a:lnTo>
                    <a:lnTo>
                      <a:pt x="123" y="322"/>
                    </a:lnTo>
                    <a:lnTo>
                      <a:pt x="125" y="323"/>
                    </a:lnTo>
                    <a:lnTo>
                      <a:pt x="125" y="325"/>
                    </a:lnTo>
                    <a:lnTo>
                      <a:pt x="126" y="325"/>
                    </a:lnTo>
                    <a:lnTo>
                      <a:pt x="128" y="325"/>
                    </a:lnTo>
                    <a:lnTo>
                      <a:pt x="130" y="323"/>
                    </a:lnTo>
                    <a:lnTo>
                      <a:pt x="132" y="321"/>
                    </a:lnTo>
                    <a:lnTo>
                      <a:pt x="136" y="318"/>
                    </a:lnTo>
                    <a:lnTo>
                      <a:pt x="141" y="316"/>
                    </a:lnTo>
                    <a:lnTo>
                      <a:pt x="145" y="310"/>
                    </a:lnTo>
                    <a:lnTo>
                      <a:pt x="150" y="302"/>
                    </a:lnTo>
                    <a:lnTo>
                      <a:pt x="155" y="295"/>
                    </a:lnTo>
                    <a:lnTo>
                      <a:pt x="158" y="292"/>
                    </a:lnTo>
                    <a:lnTo>
                      <a:pt x="162" y="295"/>
                    </a:lnTo>
                    <a:lnTo>
                      <a:pt x="162" y="300"/>
                    </a:lnTo>
                    <a:lnTo>
                      <a:pt x="161" y="305"/>
                    </a:lnTo>
                    <a:lnTo>
                      <a:pt x="158" y="311"/>
                    </a:lnTo>
                    <a:lnTo>
                      <a:pt x="158" y="316"/>
                    </a:lnTo>
                    <a:lnTo>
                      <a:pt x="161" y="318"/>
                    </a:lnTo>
                    <a:lnTo>
                      <a:pt x="162" y="321"/>
                    </a:lnTo>
                    <a:lnTo>
                      <a:pt x="164" y="323"/>
                    </a:lnTo>
                    <a:lnTo>
                      <a:pt x="164" y="323"/>
                    </a:lnTo>
                    <a:lnTo>
                      <a:pt x="166" y="323"/>
                    </a:lnTo>
                    <a:lnTo>
                      <a:pt x="167" y="323"/>
                    </a:lnTo>
                    <a:lnTo>
                      <a:pt x="168" y="322"/>
                    </a:lnTo>
                    <a:lnTo>
                      <a:pt x="169" y="321"/>
                    </a:lnTo>
                    <a:lnTo>
                      <a:pt x="169" y="318"/>
                    </a:lnTo>
                    <a:lnTo>
                      <a:pt x="168" y="317"/>
                    </a:lnTo>
                    <a:lnTo>
                      <a:pt x="167" y="316"/>
                    </a:lnTo>
                    <a:lnTo>
                      <a:pt x="167" y="315"/>
                    </a:lnTo>
                    <a:lnTo>
                      <a:pt x="167" y="313"/>
                    </a:lnTo>
                    <a:lnTo>
                      <a:pt x="167" y="311"/>
                    </a:lnTo>
                    <a:lnTo>
                      <a:pt x="167" y="307"/>
                    </a:lnTo>
                    <a:lnTo>
                      <a:pt x="168" y="305"/>
                    </a:lnTo>
                    <a:lnTo>
                      <a:pt x="169" y="302"/>
                    </a:lnTo>
                    <a:lnTo>
                      <a:pt x="171" y="298"/>
                    </a:lnTo>
                    <a:lnTo>
                      <a:pt x="172" y="296"/>
                    </a:lnTo>
                    <a:lnTo>
                      <a:pt x="173" y="295"/>
                    </a:lnTo>
                    <a:lnTo>
                      <a:pt x="174" y="296"/>
                    </a:lnTo>
                    <a:lnTo>
                      <a:pt x="176" y="297"/>
                    </a:lnTo>
                    <a:lnTo>
                      <a:pt x="176" y="298"/>
                    </a:lnTo>
                    <a:lnTo>
                      <a:pt x="177" y="301"/>
                    </a:lnTo>
                    <a:lnTo>
                      <a:pt x="177" y="302"/>
                    </a:lnTo>
                    <a:lnTo>
                      <a:pt x="177" y="306"/>
                    </a:lnTo>
                    <a:lnTo>
                      <a:pt x="178" y="308"/>
                    </a:lnTo>
                    <a:lnTo>
                      <a:pt x="179" y="310"/>
                    </a:lnTo>
                    <a:lnTo>
                      <a:pt x="181" y="310"/>
                    </a:lnTo>
                    <a:lnTo>
                      <a:pt x="182" y="310"/>
                    </a:lnTo>
                    <a:lnTo>
                      <a:pt x="183" y="308"/>
                    </a:lnTo>
                    <a:lnTo>
                      <a:pt x="184" y="307"/>
                    </a:lnTo>
                    <a:lnTo>
                      <a:pt x="187" y="305"/>
                    </a:lnTo>
                    <a:lnTo>
                      <a:pt x="188" y="303"/>
                    </a:lnTo>
                    <a:lnTo>
                      <a:pt x="191" y="302"/>
                    </a:lnTo>
                    <a:lnTo>
                      <a:pt x="192" y="302"/>
                    </a:lnTo>
                    <a:lnTo>
                      <a:pt x="194" y="302"/>
                    </a:lnTo>
                    <a:lnTo>
                      <a:pt x="196" y="303"/>
                    </a:lnTo>
                    <a:lnTo>
                      <a:pt x="197" y="303"/>
                    </a:lnTo>
                    <a:lnTo>
                      <a:pt x="198" y="305"/>
                    </a:lnTo>
                    <a:lnTo>
                      <a:pt x="198" y="311"/>
                    </a:lnTo>
                    <a:lnTo>
                      <a:pt x="199" y="312"/>
                    </a:lnTo>
                    <a:lnTo>
                      <a:pt x="201" y="313"/>
                    </a:lnTo>
                    <a:lnTo>
                      <a:pt x="201" y="313"/>
                    </a:lnTo>
                    <a:lnTo>
                      <a:pt x="202" y="313"/>
                    </a:lnTo>
                    <a:lnTo>
                      <a:pt x="203" y="313"/>
                    </a:lnTo>
                    <a:lnTo>
                      <a:pt x="206" y="313"/>
                    </a:lnTo>
                    <a:lnTo>
                      <a:pt x="207" y="315"/>
                    </a:lnTo>
                    <a:lnTo>
                      <a:pt x="208" y="316"/>
                    </a:lnTo>
                    <a:lnTo>
                      <a:pt x="208" y="317"/>
                    </a:lnTo>
                    <a:lnTo>
                      <a:pt x="208" y="320"/>
                    </a:lnTo>
                    <a:lnTo>
                      <a:pt x="208" y="321"/>
                    </a:lnTo>
                    <a:lnTo>
                      <a:pt x="209" y="322"/>
                    </a:lnTo>
                    <a:lnTo>
                      <a:pt x="212" y="321"/>
                    </a:lnTo>
                    <a:lnTo>
                      <a:pt x="213" y="320"/>
                    </a:lnTo>
                    <a:lnTo>
                      <a:pt x="216" y="318"/>
                    </a:lnTo>
                    <a:lnTo>
                      <a:pt x="217" y="316"/>
                    </a:lnTo>
                    <a:lnTo>
                      <a:pt x="219" y="313"/>
                    </a:lnTo>
                    <a:lnTo>
                      <a:pt x="224" y="306"/>
                    </a:lnTo>
                    <a:lnTo>
                      <a:pt x="231" y="305"/>
                    </a:lnTo>
                    <a:lnTo>
                      <a:pt x="235" y="307"/>
                    </a:lnTo>
                    <a:lnTo>
                      <a:pt x="239" y="311"/>
                    </a:lnTo>
                    <a:lnTo>
                      <a:pt x="245" y="312"/>
                    </a:lnTo>
                    <a:lnTo>
                      <a:pt x="250" y="315"/>
                    </a:lnTo>
                    <a:lnTo>
                      <a:pt x="257" y="315"/>
                    </a:lnTo>
                    <a:lnTo>
                      <a:pt x="263" y="313"/>
                    </a:lnTo>
                    <a:lnTo>
                      <a:pt x="267" y="311"/>
                    </a:lnTo>
                    <a:lnTo>
                      <a:pt x="269" y="311"/>
                    </a:lnTo>
                    <a:lnTo>
                      <a:pt x="272" y="312"/>
                    </a:lnTo>
                    <a:lnTo>
                      <a:pt x="274" y="313"/>
                    </a:lnTo>
                    <a:lnTo>
                      <a:pt x="275" y="315"/>
                    </a:lnTo>
                    <a:lnTo>
                      <a:pt x="279" y="315"/>
                    </a:lnTo>
                    <a:lnTo>
                      <a:pt x="282" y="316"/>
                    </a:lnTo>
                    <a:lnTo>
                      <a:pt x="290" y="313"/>
                    </a:lnTo>
                    <a:lnTo>
                      <a:pt x="299" y="310"/>
                    </a:lnTo>
                    <a:lnTo>
                      <a:pt x="308" y="307"/>
                    </a:lnTo>
                    <a:lnTo>
                      <a:pt x="311" y="307"/>
                    </a:lnTo>
                    <a:lnTo>
                      <a:pt x="314" y="307"/>
                    </a:lnTo>
                    <a:lnTo>
                      <a:pt x="316" y="310"/>
                    </a:lnTo>
                    <a:lnTo>
                      <a:pt x="319" y="311"/>
                    </a:lnTo>
                    <a:lnTo>
                      <a:pt x="321" y="313"/>
                    </a:lnTo>
                    <a:lnTo>
                      <a:pt x="323" y="315"/>
                    </a:lnTo>
                    <a:lnTo>
                      <a:pt x="326" y="317"/>
                    </a:lnTo>
                    <a:lnTo>
                      <a:pt x="329" y="318"/>
                    </a:lnTo>
                    <a:lnTo>
                      <a:pt x="331" y="318"/>
                    </a:lnTo>
                    <a:lnTo>
                      <a:pt x="335" y="320"/>
                    </a:lnTo>
                    <a:lnTo>
                      <a:pt x="339" y="320"/>
                    </a:lnTo>
                    <a:lnTo>
                      <a:pt x="343" y="320"/>
                    </a:lnTo>
                    <a:lnTo>
                      <a:pt x="348" y="321"/>
                    </a:lnTo>
                    <a:lnTo>
                      <a:pt x="349" y="321"/>
                    </a:lnTo>
                    <a:lnTo>
                      <a:pt x="350" y="322"/>
                    </a:lnTo>
                    <a:lnTo>
                      <a:pt x="351" y="323"/>
                    </a:lnTo>
                    <a:lnTo>
                      <a:pt x="354" y="325"/>
                    </a:lnTo>
                    <a:lnTo>
                      <a:pt x="355" y="323"/>
                    </a:lnTo>
                    <a:lnTo>
                      <a:pt x="363" y="326"/>
                    </a:lnTo>
                    <a:lnTo>
                      <a:pt x="370" y="331"/>
                    </a:lnTo>
                    <a:lnTo>
                      <a:pt x="376" y="337"/>
                    </a:lnTo>
                    <a:lnTo>
                      <a:pt x="376" y="339"/>
                    </a:lnTo>
                    <a:lnTo>
                      <a:pt x="378" y="342"/>
                    </a:lnTo>
                    <a:lnTo>
                      <a:pt x="380" y="344"/>
                    </a:lnTo>
                    <a:lnTo>
                      <a:pt x="384" y="344"/>
                    </a:lnTo>
                    <a:lnTo>
                      <a:pt x="387" y="344"/>
                    </a:lnTo>
                    <a:lnTo>
                      <a:pt x="391" y="344"/>
                    </a:lnTo>
                    <a:lnTo>
                      <a:pt x="395" y="344"/>
                    </a:lnTo>
                    <a:lnTo>
                      <a:pt x="397" y="346"/>
                    </a:lnTo>
                    <a:lnTo>
                      <a:pt x="402" y="347"/>
                    </a:lnTo>
                    <a:lnTo>
                      <a:pt x="405" y="337"/>
                    </a:lnTo>
                    <a:lnTo>
                      <a:pt x="404" y="335"/>
                    </a:lnTo>
                    <a:lnTo>
                      <a:pt x="404" y="333"/>
                    </a:lnTo>
                    <a:lnTo>
                      <a:pt x="401" y="332"/>
                    </a:lnTo>
                    <a:lnTo>
                      <a:pt x="400" y="331"/>
                    </a:lnTo>
                    <a:lnTo>
                      <a:pt x="399" y="330"/>
                    </a:lnTo>
                    <a:lnTo>
                      <a:pt x="396" y="328"/>
                    </a:lnTo>
                    <a:lnTo>
                      <a:pt x="397" y="325"/>
                    </a:lnTo>
                    <a:lnTo>
                      <a:pt x="404" y="320"/>
                    </a:lnTo>
                    <a:lnTo>
                      <a:pt x="410" y="315"/>
                    </a:lnTo>
                    <a:lnTo>
                      <a:pt x="416" y="311"/>
                    </a:lnTo>
                    <a:lnTo>
                      <a:pt x="420" y="307"/>
                    </a:lnTo>
                    <a:lnTo>
                      <a:pt x="422" y="305"/>
                    </a:lnTo>
                    <a:lnTo>
                      <a:pt x="424" y="302"/>
                    </a:lnTo>
                    <a:lnTo>
                      <a:pt x="426" y="300"/>
                    </a:lnTo>
                    <a:lnTo>
                      <a:pt x="429" y="297"/>
                    </a:lnTo>
                    <a:lnTo>
                      <a:pt x="430" y="295"/>
                    </a:lnTo>
                    <a:lnTo>
                      <a:pt x="432" y="295"/>
                    </a:lnTo>
                    <a:lnTo>
                      <a:pt x="434" y="295"/>
                    </a:lnTo>
                    <a:lnTo>
                      <a:pt x="435" y="296"/>
                    </a:lnTo>
                    <a:lnTo>
                      <a:pt x="436" y="300"/>
                    </a:lnTo>
                    <a:lnTo>
                      <a:pt x="436" y="301"/>
                    </a:lnTo>
                    <a:lnTo>
                      <a:pt x="436" y="302"/>
                    </a:lnTo>
                    <a:lnTo>
                      <a:pt x="436" y="303"/>
                    </a:lnTo>
                    <a:lnTo>
                      <a:pt x="437" y="305"/>
                    </a:lnTo>
                    <a:lnTo>
                      <a:pt x="439" y="305"/>
                    </a:lnTo>
                    <a:lnTo>
                      <a:pt x="440" y="305"/>
                    </a:lnTo>
                    <a:lnTo>
                      <a:pt x="442" y="303"/>
                    </a:lnTo>
                    <a:lnTo>
                      <a:pt x="445" y="301"/>
                    </a:lnTo>
                    <a:lnTo>
                      <a:pt x="447" y="298"/>
                    </a:lnTo>
                    <a:lnTo>
                      <a:pt x="449" y="297"/>
                    </a:lnTo>
                    <a:lnTo>
                      <a:pt x="450" y="296"/>
                    </a:lnTo>
                    <a:lnTo>
                      <a:pt x="450" y="295"/>
                    </a:lnTo>
                    <a:lnTo>
                      <a:pt x="451" y="293"/>
                    </a:lnTo>
                    <a:lnTo>
                      <a:pt x="451" y="291"/>
                    </a:lnTo>
                    <a:lnTo>
                      <a:pt x="452" y="290"/>
                    </a:lnTo>
                    <a:lnTo>
                      <a:pt x="455" y="287"/>
                    </a:lnTo>
                    <a:lnTo>
                      <a:pt x="456" y="285"/>
                    </a:lnTo>
                    <a:lnTo>
                      <a:pt x="460" y="284"/>
                    </a:lnTo>
                    <a:lnTo>
                      <a:pt x="462" y="284"/>
                    </a:lnTo>
                    <a:lnTo>
                      <a:pt x="465" y="281"/>
                    </a:lnTo>
                    <a:lnTo>
                      <a:pt x="468" y="281"/>
                    </a:lnTo>
                    <a:lnTo>
                      <a:pt x="471" y="280"/>
                    </a:lnTo>
                    <a:lnTo>
                      <a:pt x="473" y="277"/>
                    </a:lnTo>
                    <a:lnTo>
                      <a:pt x="476" y="275"/>
                    </a:lnTo>
                    <a:lnTo>
                      <a:pt x="477" y="271"/>
                    </a:lnTo>
                    <a:lnTo>
                      <a:pt x="480" y="267"/>
                    </a:lnTo>
                    <a:lnTo>
                      <a:pt x="483" y="264"/>
                    </a:lnTo>
                    <a:lnTo>
                      <a:pt x="487" y="260"/>
                    </a:lnTo>
                    <a:lnTo>
                      <a:pt x="491" y="259"/>
                    </a:lnTo>
                    <a:lnTo>
                      <a:pt x="493" y="259"/>
                    </a:lnTo>
                    <a:lnTo>
                      <a:pt x="496" y="261"/>
                    </a:lnTo>
                    <a:lnTo>
                      <a:pt x="498" y="261"/>
                    </a:lnTo>
                    <a:lnTo>
                      <a:pt x="498" y="262"/>
                    </a:lnTo>
                    <a:lnTo>
                      <a:pt x="500" y="264"/>
                    </a:lnTo>
                    <a:lnTo>
                      <a:pt x="500" y="266"/>
                    </a:lnTo>
                    <a:lnTo>
                      <a:pt x="500" y="267"/>
                    </a:lnTo>
                    <a:lnTo>
                      <a:pt x="498" y="270"/>
                    </a:lnTo>
                    <a:lnTo>
                      <a:pt x="498" y="271"/>
                    </a:lnTo>
                    <a:lnTo>
                      <a:pt x="500" y="275"/>
                    </a:lnTo>
                    <a:lnTo>
                      <a:pt x="503" y="274"/>
                    </a:lnTo>
                    <a:lnTo>
                      <a:pt x="507" y="271"/>
                    </a:lnTo>
                    <a:lnTo>
                      <a:pt x="511" y="266"/>
                    </a:lnTo>
                    <a:lnTo>
                      <a:pt x="516" y="261"/>
                    </a:lnTo>
                    <a:lnTo>
                      <a:pt x="518" y="256"/>
                    </a:lnTo>
                    <a:lnTo>
                      <a:pt x="520" y="252"/>
                    </a:lnTo>
                    <a:lnTo>
                      <a:pt x="522" y="247"/>
                    </a:lnTo>
                    <a:lnTo>
                      <a:pt x="522" y="241"/>
                    </a:lnTo>
                    <a:lnTo>
                      <a:pt x="523" y="234"/>
                    </a:lnTo>
                    <a:lnTo>
                      <a:pt x="524" y="228"/>
                    </a:lnTo>
                    <a:lnTo>
                      <a:pt x="527" y="225"/>
                    </a:lnTo>
                    <a:lnTo>
                      <a:pt x="533" y="226"/>
                    </a:lnTo>
                    <a:lnTo>
                      <a:pt x="537" y="233"/>
                    </a:lnTo>
                    <a:lnTo>
                      <a:pt x="539" y="240"/>
                    </a:lnTo>
                    <a:lnTo>
                      <a:pt x="542" y="249"/>
                    </a:lnTo>
                    <a:lnTo>
                      <a:pt x="543" y="257"/>
                    </a:lnTo>
                    <a:lnTo>
                      <a:pt x="544" y="262"/>
                    </a:lnTo>
                    <a:lnTo>
                      <a:pt x="546" y="270"/>
                    </a:lnTo>
                    <a:lnTo>
                      <a:pt x="549" y="277"/>
                    </a:lnTo>
                    <a:lnTo>
                      <a:pt x="553" y="281"/>
                    </a:lnTo>
                    <a:lnTo>
                      <a:pt x="556" y="281"/>
                    </a:lnTo>
                    <a:lnTo>
                      <a:pt x="561" y="277"/>
                    </a:lnTo>
                    <a:lnTo>
                      <a:pt x="564" y="272"/>
                    </a:lnTo>
                    <a:lnTo>
                      <a:pt x="567" y="266"/>
                    </a:lnTo>
                    <a:lnTo>
                      <a:pt x="567" y="261"/>
                    </a:lnTo>
                    <a:lnTo>
                      <a:pt x="568" y="260"/>
                    </a:lnTo>
                    <a:lnTo>
                      <a:pt x="569" y="259"/>
                    </a:lnTo>
                    <a:lnTo>
                      <a:pt x="571" y="256"/>
                    </a:lnTo>
                    <a:lnTo>
                      <a:pt x="571" y="254"/>
                    </a:lnTo>
                    <a:lnTo>
                      <a:pt x="572" y="251"/>
                    </a:lnTo>
                    <a:lnTo>
                      <a:pt x="573" y="249"/>
                    </a:lnTo>
                    <a:lnTo>
                      <a:pt x="576" y="246"/>
                    </a:lnTo>
                    <a:lnTo>
                      <a:pt x="577" y="244"/>
                    </a:lnTo>
                    <a:lnTo>
                      <a:pt x="579" y="244"/>
                    </a:lnTo>
                    <a:lnTo>
                      <a:pt x="582" y="244"/>
                    </a:lnTo>
                    <a:lnTo>
                      <a:pt x="586" y="245"/>
                    </a:lnTo>
                    <a:lnTo>
                      <a:pt x="588" y="249"/>
                    </a:lnTo>
                    <a:lnTo>
                      <a:pt x="588" y="255"/>
                    </a:lnTo>
                    <a:lnTo>
                      <a:pt x="586" y="261"/>
                    </a:lnTo>
                    <a:lnTo>
                      <a:pt x="582" y="269"/>
                    </a:lnTo>
                    <a:lnTo>
                      <a:pt x="582" y="272"/>
                    </a:lnTo>
                    <a:lnTo>
                      <a:pt x="581" y="276"/>
                    </a:lnTo>
                    <a:lnTo>
                      <a:pt x="582" y="277"/>
                    </a:lnTo>
                    <a:lnTo>
                      <a:pt x="583" y="279"/>
                    </a:lnTo>
                    <a:lnTo>
                      <a:pt x="584" y="279"/>
                    </a:lnTo>
                    <a:lnTo>
                      <a:pt x="586" y="279"/>
                    </a:lnTo>
                    <a:lnTo>
                      <a:pt x="588" y="277"/>
                    </a:lnTo>
                    <a:lnTo>
                      <a:pt x="591" y="276"/>
                    </a:lnTo>
                    <a:lnTo>
                      <a:pt x="593" y="275"/>
                    </a:lnTo>
                    <a:lnTo>
                      <a:pt x="596" y="274"/>
                    </a:lnTo>
                    <a:lnTo>
                      <a:pt x="598" y="270"/>
                    </a:lnTo>
                    <a:lnTo>
                      <a:pt x="600" y="267"/>
                    </a:lnTo>
                    <a:lnTo>
                      <a:pt x="603" y="264"/>
                    </a:lnTo>
                    <a:lnTo>
                      <a:pt x="605" y="261"/>
                    </a:lnTo>
                    <a:lnTo>
                      <a:pt x="609" y="256"/>
                    </a:lnTo>
                    <a:lnTo>
                      <a:pt x="612" y="252"/>
                    </a:lnTo>
                    <a:lnTo>
                      <a:pt x="617" y="250"/>
                    </a:lnTo>
                    <a:lnTo>
                      <a:pt x="624" y="247"/>
                    </a:lnTo>
                    <a:lnTo>
                      <a:pt x="632" y="246"/>
                    </a:lnTo>
                    <a:lnTo>
                      <a:pt x="638" y="247"/>
                    </a:lnTo>
                    <a:lnTo>
                      <a:pt x="642" y="250"/>
                    </a:lnTo>
                    <a:lnTo>
                      <a:pt x="645" y="252"/>
                    </a:lnTo>
                    <a:lnTo>
                      <a:pt x="649" y="255"/>
                    </a:lnTo>
                    <a:lnTo>
                      <a:pt x="653" y="255"/>
                    </a:lnTo>
                    <a:lnTo>
                      <a:pt x="655" y="257"/>
                    </a:lnTo>
                    <a:lnTo>
                      <a:pt x="658" y="260"/>
                    </a:lnTo>
                    <a:lnTo>
                      <a:pt x="660" y="260"/>
                    </a:lnTo>
                    <a:lnTo>
                      <a:pt x="663" y="261"/>
                    </a:lnTo>
                    <a:lnTo>
                      <a:pt x="667" y="261"/>
                    </a:lnTo>
                    <a:lnTo>
                      <a:pt x="670" y="261"/>
                    </a:lnTo>
                    <a:lnTo>
                      <a:pt x="674" y="261"/>
                    </a:lnTo>
                    <a:lnTo>
                      <a:pt x="676" y="262"/>
                    </a:lnTo>
                    <a:lnTo>
                      <a:pt x="679" y="264"/>
                    </a:lnTo>
                    <a:lnTo>
                      <a:pt x="681" y="266"/>
                    </a:lnTo>
                    <a:lnTo>
                      <a:pt x="688" y="272"/>
                    </a:lnTo>
                    <a:lnTo>
                      <a:pt x="695" y="277"/>
                    </a:lnTo>
                    <a:lnTo>
                      <a:pt x="705" y="282"/>
                    </a:lnTo>
                    <a:lnTo>
                      <a:pt x="715" y="284"/>
                    </a:lnTo>
                    <a:lnTo>
                      <a:pt x="725" y="280"/>
                    </a:lnTo>
                    <a:lnTo>
                      <a:pt x="736" y="276"/>
                    </a:lnTo>
                    <a:lnTo>
                      <a:pt x="739" y="276"/>
                    </a:lnTo>
                    <a:lnTo>
                      <a:pt x="741" y="276"/>
                    </a:lnTo>
                    <a:lnTo>
                      <a:pt x="744" y="277"/>
                    </a:lnTo>
                    <a:lnTo>
                      <a:pt x="745" y="279"/>
                    </a:lnTo>
                    <a:lnTo>
                      <a:pt x="747" y="280"/>
                    </a:lnTo>
                    <a:lnTo>
                      <a:pt x="750" y="281"/>
                    </a:lnTo>
                    <a:lnTo>
                      <a:pt x="752" y="284"/>
                    </a:lnTo>
                    <a:lnTo>
                      <a:pt x="756" y="289"/>
                    </a:lnTo>
                    <a:lnTo>
                      <a:pt x="760" y="293"/>
                    </a:lnTo>
                    <a:lnTo>
                      <a:pt x="764" y="300"/>
                    </a:lnTo>
                    <a:lnTo>
                      <a:pt x="762" y="305"/>
                    </a:lnTo>
                    <a:lnTo>
                      <a:pt x="757" y="307"/>
                    </a:lnTo>
                    <a:lnTo>
                      <a:pt x="751" y="308"/>
                    </a:lnTo>
                    <a:lnTo>
                      <a:pt x="745" y="310"/>
                    </a:lnTo>
                    <a:lnTo>
                      <a:pt x="739" y="312"/>
                    </a:lnTo>
                    <a:lnTo>
                      <a:pt x="734" y="318"/>
                    </a:lnTo>
                    <a:lnTo>
                      <a:pt x="734" y="322"/>
                    </a:lnTo>
                    <a:lnTo>
                      <a:pt x="734" y="326"/>
                    </a:lnTo>
                    <a:lnTo>
                      <a:pt x="736" y="328"/>
                    </a:lnTo>
                    <a:lnTo>
                      <a:pt x="738" y="331"/>
                    </a:lnTo>
                    <a:lnTo>
                      <a:pt x="740" y="332"/>
                    </a:lnTo>
                    <a:lnTo>
                      <a:pt x="744" y="332"/>
                    </a:lnTo>
                    <a:lnTo>
                      <a:pt x="746" y="332"/>
                    </a:lnTo>
                    <a:lnTo>
                      <a:pt x="750" y="331"/>
                    </a:lnTo>
                    <a:lnTo>
                      <a:pt x="757" y="332"/>
                    </a:lnTo>
                    <a:lnTo>
                      <a:pt x="765" y="335"/>
                    </a:lnTo>
                    <a:lnTo>
                      <a:pt x="771" y="337"/>
                    </a:lnTo>
                    <a:lnTo>
                      <a:pt x="780" y="338"/>
                    </a:lnTo>
                    <a:lnTo>
                      <a:pt x="789" y="337"/>
                    </a:lnTo>
                    <a:lnTo>
                      <a:pt x="799" y="331"/>
                    </a:lnTo>
                    <a:lnTo>
                      <a:pt x="810" y="325"/>
                    </a:lnTo>
                    <a:lnTo>
                      <a:pt x="821" y="320"/>
                    </a:lnTo>
                    <a:lnTo>
                      <a:pt x="833" y="318"/>
                    </a:lnTo>
                    <a:lnTo>
                      <a:pt x="846" y="322"/>
                    </a:lnTo>
                    <a:lnTo>
                      <a:pt x="857" y="328"/>
                    </a:lnTo>
                    <a:lnTo>
                      <a:pt x="867" y="337"/>
                    </a:lnTo>
                    <a:lnTo>
                      <a:pt x="871" y="338"/>
                    </a:lnTo>
                    <a:lnTo>
                      <a:pt x="872" y="338"/>
                    </a:lnTo>
                    <a:lnTo>
                      <a:pt x="875" y="337"/>
                    </a:lnTo>
                    <a:lnTo>
                      <a:pt x="875" y="336"/>
                    </a:lnTo>
                    <a:lnTo>
                      <a:pt x="876" y="333"/>
                    </a:lnTo>
                    <a:lnTo>
                      <a:pt x="876" y="331"/>
                    </a:lnTo>
                    <a:lnTo>
                      <a:pt x="875" y="328"/>
                    </a:lnTo>
                    <a:lnTo>
                      <a:pt x="875" y="325"/>
                    </a:lnTo>
                    <a:lnTo>
                      <a:pt x="875" y="322"/>
                    </a:lnTo>
                    <a:lnTo>
                      <a:pt x="875" y="320"/>
                    </a:lnTo>
                    <a:lnTo>
                      <a:pt x="876" y="318"/>
                    </a:lnTo>
                    <a:lnTo>
                      <a:pt x="877" y="316"/>
                    </a:lnTo>
                    <a:lnTo>
                      <a:pt x="881" y="313"/>
                    </a:lnTo>
                    <a:lnTo>
                      <a:pt x="885" y="311"/>
                    </a:lnTo>
                    <a:lnTo>
                      <a:pt x="887" y="308"/>
                    </a:lnTo>
                    <a:lnTo>
                      <a:pt x="891" y="305"/>
                    </a:lnTo>
                    <a:lnTo>
                      <a:pt x="893" y="303"/>
                    </a:lnTo>
                    <a:lnTo>
                      <a:pt x="894" y="301"/>
                    </a:lnTo>
                    <a:lnTo>
                      <a:pt x="897" y="300"/>
                    </a:lnTo>
                    <a:lnTo>
                      <a:pt x="899" y="298"/>
                    </a:lnTo>
                    <a:lnTo>
                      <a:pt x="902" y="297"/>
                    </a:lnTo>
                    <a:lnTo>
                      <a:pt x="904" y="295"/>
                    </a:lnTo>
                    <a:lnTo>
                      <a:pt x="908" y="290"/>
                    </a:lnTo>
                    <a:lnTo>
                      <a:pt x="914" y="285"/>
                    </a:lnTo>
                    <a:lnTo>
                      <a:pt x="923" y="281"/>
                    </a:lnTo>
                    <a:lnTo>
                      <a:pt x="931" y="279"/>
                    </a:lnTo>
                    <a:lnTo>
                      <a:pt x="936" y="279"/>
                    </a:lnTo>
                    <a:lnTo>
                      <a:pt x="942" y="281"/>
                    </a:lnTo>
                    <a:lnTo>
                      <a:pt x="946" y="287"/>
                    </a:lnTo>
                    <a:lnTo>
                      <a:pt x="951" y="292"/>
                    </a:lnTo>
                    <a:lnTo>
                      <a:pt x="957" y="295"/>
                    </a:lnTo>
                    <a:lnTo>
                      <a:pt x="958" y="295"/>
                    </a:lnTo>
                    <a:lnTo>
                      <a:pt x="961" y="293"/>
                    </a:lnTo>
                    <a:lnTo>
                      <a:pt x="963" y="292"/>
                    </a:lnTo>
                    <a:lnTo>
                      <a:pt x="965" y="291"/>
                    </a:lnTo>
                    <a:lnTo>
                      <a:pt x="968" y="289"/>
                    </a:lnTo>
                    <a:lnTo>
                      <a:pt x="970" y="287"/>
                    </a:lnTo>
                    <a:lnTo>
                      <a:pt x="972" y="286"/>
                    </a:lnTo>
                    <a:lnTo>
                      <a:pt x="973" y="286"/>
                    </a:lnTo>
                    <a:lnTo>
                      <a:pt x="974" y="287"/>
                    </a:lnTo>
                    <a:lnTo>
                      <a:pt x="977" y="289"/>
                    </a:lnTo>
                    <a:lnTo>
                      <a:pt x="978" y="291"/>
                    </a:lnTo>
                    <a:lnTo>
                      <a:pt x="979" y="293"/>
                    </a:lnTo>
                    <a:lnTo>
                      <a:pt x="980" y="296"/>
                    </a:lnTo>
                    <a:lnTo>
                      <a:pt x="982" y="298"/>
                    </a:lnTo>
                    <a:lnTo>
                      <a:pt x="983" y="300"/>
                    </a:lnTo>
                    <a:lnTo>
                      <a:pt x="984" y="302"/>
                    </a:lnTo>
                    <a:lnTo>
                      <a:pt x="988" y="305"/>
                    </a:lnTo>
                    <a:lnTo>
                      <a:pt x="992" y="306"/>
                    </a:lnTo>
                    <a:lnTo>
                      <a:pt x="995" y="307"/>
                    </a:lnTo>
                    <a:lnTo>
                      <a:pt x="998" y="307"/>
                    </a:lnTo>
                    <a:lnTo>
                      <a:pt x="1012" y="305"/>
                    </a:lnTo>
                    <a:lnTo>
                      <a:pt x="1025" y="301"/>
                    </a:lnTo>
                    <a:lnTo>
                      <a:pt x="1039" y="298"/>
                    </a:lnTo>
                    <a:lnTo>
                      <a:pt x="1053" y="300"/>
                    </a:lnTo>
                    <a:lnTo>
                      <a:pt x="1056" y="300"/>
                    </a:lnTo>
                    <a:lnTo>
                      <a:pt x="1059" y="301"/>
                    </a:lnTo>
                    <a:lnTo>
                      <a:pt x="1061" y="301"/>
                    </a:lnTo>
                    <a:lnTo>
                      <a:pt x="1065" y="301"/>
                    </a:lnTo>
                    <a:lnTo>
                      <a:pt x="1068" y="301"/>
                    </a:lnTo>
                    <a:lnTo>
                      <a:pt x="1069" y="300"/>
                    </a:lnTo>
                    <a:lnTo>
                      <a:pt x="1073" y="298"/>
                    </a:lnTo>
                    <a:lnTo>
                      <a:pt x="1075" y="296"/>
                    </a:lnTo>
                    <a:lnTo>
                      <a:pt x="1076" y="295"/>
                    </a:lnTo>
                    <a:lnTo>
                      <a:pt x="1078" y="292"/>
                    </a:lnTo>
                    <a:lnTo>
                      <a:pt x="1078" y="289"/>
                    </a:lnTo>
                    <a:lnTo>
                      <a:pt x="1079" y="286"/>
                    </a:lnTo>
                    <a:lnTo>
                      <a:pt x="1079" y="284"/>
                    </a:lnTo>
                    <a:lnTo>
                      <a:pt x="1084" y="279"/>
                    </a:lnTo>
                    <a:lnTo>
                      <a:pt x="1091" y="276"/>
                    </a:lnTo>
                    <a:lnTo>
                      <a:pt x="1100" y="275"/>
                    </a:lnTo>
                    <a:lnTo>
                      <a:pt x="1107" y="274"/>
                    </a:lnTo>
                    <a:lnTo>
                      <a:pt x="1111" y="274"/>
                    </a:lnTo>
                    <a:lnTo>
                      <a:pt x="1116" y="272"/>
                    </a:lnTo>
                    <a:lnTo>
                      <a:pt x="1110" y="272"/>
                    </a:lnTo>
                    <a:lnTo>
                      <a:pt x="1105" y="271"/>
                    </a:lnTo>
                    <a:lnTo>
                      <a:pt x="1100" y="270"/>
                    </a:lnTo>
                    <a:lnTo>
                      <a:pt x="1096" y="267"/>
                    </a:lnTo>
                    <a:lnTo>
                      <a:pt x="1093" y="262"/>
                    </a:lnTo>
                    <a:lnTo>
                      <a:pt x="1090" y="256"/>
                    </a:lnTo>
                    <a:lnTo>
                      <a:pt x="1088" y="250"/>
                    </a:lnTo>
                    <a:lnTo>
                      <a:pt x="1085" y="246"/>
                    </a:lnTo>
                    <a:lnTo>
                      <a:pt x="1080" y="245"/>
                    </a:lnTo>
                    <a:lnTo>
                      <a:pt x="1079" y="245"/>
                    </a:lnTo>
                    <a:lnTo>
                      <a:pt x="1078" y="245"/>
                    </a:lnTo>
                    <a:lnTo>
                      <a:pt x="1075" y="245"/>
                    </a:lnTo>
                    <a:lnTo>
                      <a:pt x="1073" y="245"/>
                    </a:lnTo>
                    <a:lnTo>
                      <a:pt x="1071" y="245"/>
                    </a:lnTo>
                    <a:lnTo>
                      <a:pt x="1069" y="244"/>
                    </a:lnTo>
                    <a:lnTo>
                      <a:pt x="1068" y="242"/>
                    </a:lnTo>
                    <a:lnTo>
                      <a:pt x="1068" y="240"/>
                    </a:lnTo>
                    <a:lnTo>
                      <a:pt x="1068" y="235"/>
                    </a:lnTo>
                    <a:lnTo>
                      <a:pt x="1069" y="231"/>
                    </a:lnTo>
                    <a:lnTo>
                      <a:pt x="1071" y="228"/>
                    </a:lnTo>
                    <a:lnTo>
                      <a:pt x="1075" y="225"/>
                    </a:lnTo>
                    <a:lnTo>
                      <a:pt x="1089" y="204"/>
                    </a:lnTo>
                    <a:lnTo>
                      <a:pt x="1101" y="183"/>
                    </a:lnTo>
                    <a:lnTo>
                      <a:pt x="1105" y="179"/>
                    </a:lnTo>
                    <a:lnTo>
                      <a:pt x="1107" y="178"/>
                    </a:lnTo>
                    <a:lnTo>
                      <a:pt x="1111" y="177"/>
                    </a:lnTo>
                    <a:lnTo>
                      <a:pt x="1114" y="177"/>
                    </a:lnTo>
                    <a:lnTo>
                      <a:pt x="1116" y="179"/>
                    </a:lnTo>
                    <a:lnTo>
                      <a:pt x="1117" y="182"/>
                    </a:lnTo>
                    <a:lnTo>
                      <a:pt x="1120" y="185"/>
                    </a:lnTo>
                    <a:lnTo>
                      <a:pt x="1119" y="189"/>
                    </a:lnTo>
                    <a:lnTo>
                      <a:pt x="1119" y="193"/>
                    </a:lnTo>
                    <a:lnTo>
                      <a:pt x="1119" y="195"/>
                    </a:lnTo>
                    <a:lnTo>
                      <a:pt x="1120" y="199"/>
                    </a:lnTo>
                    <a:lnTo>
                      <a:pt x="1122" y="203"/>
                    </a:lnTo>
                    <a:lnTo>
                      <a:pt x="1126" y="206"/>
                    </a:lnTo>
                    <a:lnTo>
                      <a:pt x="1130" y="210"/>
                    </a:lnTo>
                    <a:lnTo>
                      <a:pt x="1132" y="213"/>
                    </a:lnTo>
                    <a:lnTo>
                      <a:pt x="1135" y="216"/>
                    </a:lnTo>
                    <a:lnTo>
                      <a:pt x="1141" y="225"/>
                    </a:lnTo>
                    <a:lnTo>
                      <a:pt x="1149" y="235"/>
                    </a:lnTo>
                    <a:lnTo>
                      <a:pt x="1154" y="245"/>
                    </a:lnTo>
                    <a:lnTo>
                      <a:pt x="1152" y="251"/>
                    </a:lnTo>
                    <a:lnTo>
                      <a:pt x="1149" y="257"/>
                    </a:lnTo>
                    <a:lnTo>
                      <a:pt x="1141" y="264"/>
                    </a:lnTo>
                    <a:lnTo>
                      <a:pt x="1134" y="269"/>
                    </a:lnTo>
                    <a:lnTo>
                      <a:pt x="1127" y="271"/>
                    </a:lnTo>
                    <a:lnTo>
                      <a:pt x="1122" y="271"/>
                    </a:lnTo>
                    <a:lnTo>
                      <a:pt x="1117" y="272"/>
                    </a:lnTo>
                    <a:lnTo>
                      <a:pt x="1120" y="272"/>
                    </a:lnTo>
                    <a:lnTo>
                      <a:pt x="1122" y="274"/>
                    </a:lnTo>
                    <a:lnTo>
                      <a:pt x="1124" y="276"/>
                    </a:lnTo>
                    <a:lnTo>
                      <a:pt x="1125" y="279"/>
                    </a:lnTo>
                    <a:lnTo>
                      <a:pt x="1126" y="281"/>
                    </a:lnTo>
                    <a:lnTo>
                      <a:pt x="1127" y="284"/>
                    </a:lnTo>
                    <a:lnTo>
                      <a:pt x="1129" y="286"/>
                    </a:lnTo>
                    <a:lnTo>
                      <a:pt x="1131" y="290"/>
                    </a:lnTo>
                    <a:lnTo>
                      <a:pt x="1132" y="293"/>
                    </a:lnTo>
                    <a:lnTo>
                      <a:pt x="1132" y="297"/>
                    </a:lnTo>
                    <a:lnTo>
                      <a:pt x="1131" y="301"/>
                    </a:lnTo>
                    <a:lnTo>
                      <a:pt x="1129" y="305"/>
                    </a:lnTo>
                    <a:lnTo>
                      <a:pt x="1127" y="313"/>
                    </a:lnTo>
                    <a:lnTo>
                      <a:pt x="1130" y="321"/>
                    </a:lnTo>
                    <a:lnTo>
                      <a:pt x="1136" y="326"/>
                    </a:lnTo>
                    <a:lnTo>
                      <a:pt x="1142" y="328"/>
                    </a:lnTo>
                    <a:lnTo>
                      <a:pt x="1150" y="323"/>
                    </a:lnTo>
                    <a:lnTo>
                      <a:pt x="1152" y="315"/>
                    </a:lnTo>
                    <a:lnTo>
                      <a:pt x="1150" y="307"/>
                    </a:lnTo>
                    <a:lnTo>
                      <a:pt x="1147" y="301"/>
                    </a:lnTo>
                    <a:lnTo>
                      <a:pt x="1145" y="293"/>
                    </a:lnTo>
                    <a:lnTo>
                      <a:pt x="1147" y="287"/>
                    </a:lnTo>
                    <a:lnTo>
                      <a:pt x="1150" y="284"/>
                    </a:lnTo>
                    <a:lnTo>
                      <a:pt x="1155" y="279"/>
                    </a:lnTo>
                    <a:lnTo>
                      <a:pt x="1162" y="272"/>
                    </a:lnTo>
                    <a:lnTo>
                      <a:pt x="1170" y="266"/>
                    </a:lnTo>
                    <a:lnTo>
                      <a:pt x="1177" y="260"/>
                    </a:lnTo>
                    <a:lnTo>
                      <a:pt x="1182" y="255"/>
                    </a:lnTo>
                    <a:lnTo>
                      <a:pt x="1186" y="249"/>
                    </a:lnTo>
                    <a:lnTo>
                      <a:pt x="1185" y="245"/>
                    </a:lnTo>
                    <a:lnTo>
                      <a:pt x="1179" y="242"/>
                    </a:lnTo>
                    <a:lnTo>
                      <a:pt x="1175" y="242"/>
                    </a:lnTo>
                    <a:lnTo>
                      <a:pt x="1172" y="241"/>
                    </a:lnTo>
                    <a:lnTo>
                      <a:pt x="1169" y="240"/>
                    </a:lnTo>
                    <a:lnTo>
                      <a:pt x="1167" y="238"/>
                    </a:lnTo>
                    <a:lnTo>
                      <a:pt x="1166" y="235"/>
                    </a:lnTo>
                    <a:lnTo>
                      <a:pt x="1166" y="231"/>
                    </a:lnTo>
                    <a:lnTo>
                      <a:pt x="1166" y="229"/>
                    </a:lnTo>
                    <a:lnTo>
                      <a:pt x="1167" y="225"/>
                    </a:lnTo>
                    <a:lnTo>
                      <a:pt x="1169" y="223"/>
                    </a:lnTo>
                    <a:lnTo>
                      <a:pt x="1172" y="220"/>
                    </a:lnTo>
                    <a:lnTo>
                      <a:pt x="1176" y="219"/>
                    </a:lnTo>
                    <a:lnTo>
                      <a:pt x="1179" y="218"/>
                    </a:lnTo>
                    <a:lnTo>
                      <a:pt x="1181" y="215"/>
                    </a:lnTo>
                    <a:lnTo>
                      <a:pt x="1183" y="214"/>
                    </a:lnTo>
                    <a:lnTo>
                      <a:pt x="1187" y="211"/>
                    </a:lnTo>
                    <a:lnTo>
                      <a:pt x="1188" y="208"/>
                    </a:lnTo>
                    <a:lnTo>
                      <a:pt x="1190" y="206"/>
                    </a:lnTo>
                    <a:lnTo>
                      <a:pt x="1188" y="205"/>
                    </a:lnTo>
                    <a:lnTo>
                      <a:pt x="1187" y="203"/>
                    </a:lnTo>
                    <a:lnTo>
                      <a:pt x="1185" y="201"/>
                    </a:lnTo>
                    <a:lnTo>
                      <a:pt x="1182" y="199"/>
                    </a:lnTo>
                    <a:lnTo>
                      <a:pt x="1181" y="198"/>
                    </a:lnTo>
                    <a:lnTo>
                      <a:pt x="1170" y="195"/>
                    </a:lnTo>
                    <a:lnTo>
                      <a:pt x="1159" y="193"/>
                    </a:lnTo>
                    <a:lnTo>
                      <a:pt x="1150" y="188"/>
                    </a:lnTo>
                    <a:lnTo>
                      <a:pt x="1142" y="179"/>
                    </a:lnTo>
                    <a:lnTo>
                      <a:pt x="1136" y="173"/>
                    </a:lnTo>
                    <a:lnTo>
                      <a:pt x="1130" y="167"/>
                    </a:lnTo>
                    <a:lnTo>
                      <a:pt x="1126" y="159"/>
                    </a:lnTo>
                    <a:lnTo>
                      <a:pt x="1126" y="150"/>
                    </a:lnTo>
                    <a:lnTo>
                      <a:pt x="1127" y="148"/>
                    </a:lnTo>
                    <a:lnTo>
                      <a:pt x="1130" y="147"/>
                    </a:lnTo>
                    <a:lnTo>
                      <a:pt x="1132" y="145"/>
                    </a:lnTo>
                    <a:lnTo>
                      <a:pt x="1135" y="144"/>
                    </a:lnTo>
                    <a:lnTo>
                      <a:pt x="1137" y="142"/>
                    </a:lnTo>
                    <a:lnTo>
                      <a:pt x="1140" y="141"/>
                    </a:lnTo>
                    <a:lnTo>
                      <a:pt x="1141" y="138"/>
                    </a:lnTo>
                    <a:lnTo>
                      <a:pt x="1141" y="134"/>
                    </a:lnTo>
                    <a:lnTo>
                      <a:pt x="1141" y="133"/>
                    </a:lnTo>
                    <a:lnTo>
                      <a:pt x="1140" y="131"/>
                    </a:lnTo>
                    <a:lnTo>
                      <a:pt x="1139" y="128"/>
                    </a:lnTo>
                    <a:lnTo>
                      <a:pt x="1136" y="127"/>
                    </a:lnTo>
                    <a:lnTo>
                      <a:pt x="1135" y="117"/>
                    </a:lnTo>
                    <a:lnTo>
                      <a:pt x="1136" y="106"/>
                    </a:lnTo>
                    <a:lnTo>
                      <a:pt x="1139" y="103"/>
                    </a:lnTo>
                    <a:lnTo>
                      <a:pt x="1141" y="102"/>
                    </a:lnTo>
                    <a:lnTo>
                      <a:pt x="1144" y="101"/>
                    </a:lnTo>
                    <a:lnTo>
                      <a:pt x="1146" y="99"/>
                    </a:lnTo>
                    <a:lnTo>
                      <a:pt x="1150" y="98"/>
                    </a:lnTo>
                    <a:lnTo>
                      <a:pt x="1154" y="94"/>
                    </a:lnTo>
                    <a:lnTo>
                      <a:pt x="1156" y="87"/>
                    </a:lnTo>
                    <a:lnTo>
                      <a:pt x="1157" y="80"/>
                    </a:lnTo>
                    <a:lnTo>
                      <a:pt x="1160" y="75"/>
                    </a:lnTo>
                    <a:lnTo>
                      <a:pt x="1162" y="73"/>
                    </a:lnTo>
                    <a:lnTo>
                      <a:pt x="1164" y="71"/>
                    </a:lnTo>
                    <a:lnTo>
                      <a:pt x="1166" y="70"/>
                    </a:lnTo>
                    <a:lnTo>
                      <a:pt x="1169" y="68"/>
                    </a:lnTo>
                    <a:lnTo>
                      <a:pt x="1171" y="67"/>
                    </a:lnTo>
                    <a:close/>
                    <a:moveTo>
                      <a:pt x="970" y="0"/>
                    </a:moveTo>
                    <a:lnTo>
                      <a:pt x="980" y="0"/>
                    </a:lnTo>
                    <a:lnTo>
                      <a:pt x="984" y="4"/>
                    </a:lnTo>
                    <a:lnTo>
                      <a:pt x="984" y="10"/>
                    </a:lnTo>
                    <a:lnTo>
                      <a:pt x="983" y="17"/>
                    </a:lnTo>
                    <a:lnTo>
                      <a:pt x="983" y="24"/>
                    </a:lnTo>
                    <a:lnTo>
                      <a:pt x="980" y="26"/>
                    </a:lnTo>
                    <a:lnTo>
                      <a:pt x="979" y="27"/>
                    </a:lnTo>
                    <a:lnTo>
                      <a:pt x="977" y="29"/>
                    </a:lnTo>
                    <a:lnTo>
                      <a:pt x="974" y="30"/>
                    </a:lnTo>
                    <a:lnTo>
                      <a:pt x="973" y="32"/>
                    </a:lnTo>
                    <a:lnTo>
                      <a:pt x="972" y="34"/>
                    </a:lnTo>
                    <a:lnTo>
                      <a:pt x="972" y="36"/>
                    </a:lnTo>
                    <a:lnTo>
                      <a:pt x="972" y="36"/>
                    </a:lnTo>
                    <a:lnTo>
                      <a:pt x="970" y="37"/>
                    </a:lnTo>
                    <a:lnTo>
                      <a:pt x="969" y="39"/>
                    </a:lnTo>
                    <a:lnTo>
                      <a:pt x="969" y="41"/>
                    </a:lnTo>
                    <a:lnTo>
                      <a:pt x="967" y="44"/>
                    </a:lnTo>
                    <a:lnTo>
                      <a:pt x="965" y="45"/>
                    </a:lnTo>
                    <a:lnTo>
                      <a:pt x="964" y="47"/>
                    </a:lnTo>
                    <a:lnTo>
                      <a:pt x="963" y="50"/>
                    </a:lnTo>
                    <a:lnTo>
                      <a:pt x="964" y="52"/>
                    </a:lnTo>
                    <a:lnTo>
                      <a:pt x="965" y="55"/>
                    </a:lnTo>
                    <a:lnTo>
                      <a:pt x="967" y="57"/>
                    </a:lnTo>
                    <a:lnTo>
                      <a:pt x="967" y="60"/>
                    </a:lnTo>
                    <a:lnTo>
                      <a:pt x="967" y="63"/>
                    </a:lnTo>
                    <a:lnTo>
                      <a:pt x="965" y="67"/>
                    </a:lnTo>
                    <a:lnTo>
                      <a:pt x="964" y="72"/>
                    </a:lnTo>
                    <a:lnTo>
                      <a:pt x="964" y="77"/>
                    </a:lnTo>
                    <a:lnTo>
                      <a:pt x="964" y="81"/>
                    </a:lnTo>
                    <a:lnTo>
                      <a:pt x="965" y="85"/>
                    </a:lnTo>
                    <a:lnTo>
                      <a:pt x="967" y="87"/>
                    </a:lnTo>
                    <a:lnTo>
                      <a:pt x="967" y="91"/>
                    </a:lnTo>
                    <a:lnTo>
                      <a:pt x="967" y="101"/>
                    </a:lnTo>
                    <a:lnTo>
                      <a:pt x="968" y="104"/>
                    </a:lnTo>
                    <a:lnTo>
                      <a:pt x="969" y="108"/>
                    </a:lnTo>
                    <a:lnTo>
                      <a:pt x="970" y="111"/>
                    </a:lnTo>
                    <a:lnTo>
                      <a:pt x="973" y="113"/>
                    </a:lnTo>
                    <a:lnTo>
                      <a:pt x="974" y="116"/>
                    </a:lnTo>
                    <a:lnTo>
                      <a:pt x="973" y="124"/>
                    </a:lnTo>
                    <a:lnTo>
                      <a:pt x="972" y="131"/>
                    </a:lnTo>
                    <a:lnTo>
                      <a:pt x="972" y="137"/>
                    </a:lnTo>
                    <a:lnTo>
                      <a:pt x="975" y="147"/>
                    </a:lnTo>
                    <a:lnTo>
                      <a:pt x="980" y="158"/>
                    </a:lnTo>
                    <a:lnTo>
                      <a:pt x="984" y="162"/>
                    </a:lnTo>
                    <a:lnTo>
                      <a:pt x="990" y="163"/>
                    </a:lnTo>
                    <a:lnTo>
                      <a:pt x="998" y="163"/>
                    </a:lnTo>
                    <a:lnTo>
                      <a:pt x="1005" y="163"/>
                    </a:lnTo>
                    <a:lnTo>
                      <a:pt x="1013" y="164"/>
                    </a:lnTo>
                    <a:lnTo>
                      <a:pt x="1018" y="167"/>
                    </a:lnTo>
                    <a:lnTo>
                      <a:pt x="1020" y="172"/>
                    </a:lnTo>
                    <a:lnTo>
                      <a:pt x="1022" y="177"/>
                    </a:lnTo>
                    <a:lnTo>
                      <a:pt x="1024" y="183"/>
                    </a:lnTo>
                    <a:lnTo>
                      <a:pt x="1027" y="185"/>
                    </a:lnTo>
                    <a:lnTo>
                      <a:pt x="1028" y="187"/>
                    </a:lnTo>
                    <a:lnTo>
                      <a:pt x="1030" y="189"/>
                    </a:lnTo>
                    <a:lnTo>
                      <a:pt x="1032" y="190"/>
                    </a:lnTo>
                    <a:lnTo>
                      <a:pt x="1032" y="193"/>
                    </a:lnTo>
                    <a:lnTo>
                      <a:pt x="1030" y="195"/>
                    </a:lnTo>
                    <a:lnTo>
                      <a:pt x="1029" y="199"/>
                    </a:lnTo>
                    <a:lnTo>
                      <a:pt x="1029" y="201"/>
                    </a:lnTo>
                    <a:lnTo>
                      <a:pt x="1028" y="204"/>
                    </a:lnTo>
                    <a:lnTo>
                      <a:pt x="1027" y="206"/>
                    </a:lnTo>
                    <a:lnTo>
                      <a:pt x="1024" y="208"/>
                    </a:lnTo>
                    <a:lnTo>
                      <a:pt x="1022" y="209"/>
                    </a:lnTo>
                    <a:lnTo>
                      <a:pt x="1019" y="209"/>
                    </a:lnTo>
                    <a:lnTo>
                      <a:pt x="1018" y="209"/>
                    </a:lnTo>
                    <a:lnTo>
                      <a:pt x="1015" y="208"/>
                    </a:lnTo>
                    <a:lnTo>
                      <a:pt x="1014" y="205"/>
                    </a:lnTo>
                    <a:lnTo>
                      <a:pt x="1013" y="204"/>
                    </a:lnTo>
                    <a:lnTo>
                      <a:pt x="1012" y="203"/>
                    </a:lnTo>
                    <a:lnTo>
                      <a:pt x="1012" y="204"/>
                    </a:lnTo>
                    <a:lnTo>
                      <a:pt x="1007" y="205"/>
                    </a:lnTo>
                    <a:lnTo>
                      <a:pt x="1004" y="208"/>
                    </a:lnTo>
                    <a:lnTo>
                      <a:pt x="1002" y="210"/>
                    </a:lnTo>
                    <a:lnTo>
                      <a:pt x="999" y="213"/>
                    </a:lnTo>
                    <a:lnTo>
                      <a:pt x="995" y="214"/>
                    </a:lnTo>
                    <a:lnTo>
                      <a:pt x="992" y="216"/>
                    </a:lnTo>
                    <a:lnTo>
                      <a:pt x="989" y="218"/>
                    </a:lnTo>
                    <a:lnTo>
                      <a:pt x="989" y="220"/>
                    </a:lnTo>
                    <a:lnTo>
                      <a:pt x="989" y="223"/>
                    </a:lnTo>
                    <a:lnTo>
                      <a:pt x="990" y="224"/>
                    </a:lnTo>
                    <a:lnTo>
                      <a:pt x="993" y="225"/>
                    </a:lnTo>
                    <a:lnTo>
                      <a:pt x="995" y="225"/>
                    </a:lnTo>
                    <a:lnTo>
                      <a:pt x="998" y="225"/>
                    </a:lnTo>
                    <a:lnTo>
                      <a:pt x="1000" y="225"/>
                    </a:lnTo>
                    <a:lnTo>
                      <a:pt x="1003" y="224"/>
                    </a:lnTo>
                    <a:lnTo>
                      <a:pt x="1007" y="228"/>
                    </a:lnTo>
                    <a:lnTo>
                      <a:pt x="1009" y="234"/>
                    </a:lnTo>
                    <a:lnTo>
                      <a:pt x="1010" y="240"/>
                    </a:lnTo>
                    <a:lnTo>
                      <a:pt x="1008" y="245"/>
                    </a:lnTo>
                    <a:lnTo>
                      <a:pt x="1002" y="250"/>
                    </a:lnTo>
                    <a:lnTo>
                      <a:pt x="995" y="254"/>
                    </a:lnTo>
                    <a:lnTo>
                      <a:pt x="987" y="256"/>
                    </a:lnTo>
                    <a:lnTo>
                      <a:pt x="977" y="257"/>
                    </a:lnTo>
                    <a:lnTo>
                      <a:pt x="970" y="259"/>
                    </a:lnTo>
                    <a:lnTo>
                      <a:pt x="961" y="260"/>
                    </a:lnTo>
                    <a:lnTo>
                      <a:pt x="952" y="260"/>
                    </a:lnTo>
                    <a:lnTo>
                      <a:pt x="947" y="257"/>
                    </a:lnTo>
                    <a:lnTo>
                      <a:pt x="944" y="255"/>
                    </a:lnTo>
                    <a:lnTo>
                      <a:pt x="944" y="252"/>
                    </a:lnTo>
                    <a:lnTo>
                      <a:pt x="943" y="251"/>
                    </a:lnTo>
                    <a:lnTo>
                      <a:pt x="941" y="250"/>
                    </a:lnTo>
                    <a:lnTo>
                      <a:pt x="938" y="250"/>
                    </a:lnTo>
                    <a:lnTo>
                      <a:pt x="934" y="249"/>
                    </a:lnTo>
                    <a:lnTo>
                      <a:pt x="931" y="249"/>
                    </a:lnTo>
                    <a:lnTo>
                      <a:pt x="927" y="250"/>
                    </a:lnTo>
                    <a:lnTo>
                      <a:pt x="923" y="250"/>
                    </a:lnTo>
                    <a:lnTo>
                      <a:pt x="919" y="250"/>
                    </a:lnTo>
                    <a:lnTo>
                      <a:pt x="918" y="249"/>
                    </a:lnTo>
                    <a:lnTo>
                      <a:pt x="917" y="246"/>
                    </a:lnTo>
                    <a:lnTo>
                      <a:pt x="916" y="244"/>
                    </a:lnTo>
                    <a:lnTo>
                      <a:pt x="914" y="242"/>
                    </a:lnTo>
                    <a:lnTo>
                      <a:pt x="913" y="240"/>
                    </a:lnTo>
                    <a:lnTo>
                      <a:pt x="912" y="238"/>
                    </a:lnTo>
                    <a:lnTo>
                      <a:pt x="912" y="234"/>
                    </a:lnTo>
                    <a:lnTo>
                      <a:pt x="911" y="233"/>
                    </a:lnTo>
                    <a:lnTo>
                      <a:pt x="908" y="233"/>
                    </a:lnTo>
                    <a:lnTo>
                      <a:pt x="907" y="234"/>
                    </a:lnTo>
                    <a:lnTo>
                      <a:pt x="906" y="235"/>
                    </a:lnTo>
                    <a:lnTo>
                      <a:pt x="904" y="238"/>
                    </a:lnTo>
                    <a:lnTo>
                      <a:pt x="903" y="240"/>
                    </a:lnTo>
                    <a:lnTo>
                      <a:pt x="902" y="242"/>
                    </a:lnTo>
                    <a:lnTo>
                      <a:pt x="902" y="245"/>
                    </a:lnTo>
                    <a:lnTo>
                      <a:pt x="899" y="254"/>
                    </a:lnTo>
                    <a:lnTo>
                      <a:pt x="897" y="259"/>
                    </a:lnTo>
                    <a:lnTo>
                      <a:pt x="891" y="262"/>
                    </a:lnTo>
                    <a:lnTo>
                      <a:pt x="881" y="265"/>
                    </a:lnTo>
                    <a:lnTo>
                      <a:pt x="877" y="266"/>
                    </a:lnTo>
                    <a:lnTo>
                      <a:pt x="873" y="267"/>
                    </a:lnTo>
                    <a:lnTo>
                      <a:pt x="871" y="270"/>
                    </a:lnTo>
                    <a:lnTo>
                      <a:pt x="867" y="272"/>
                    </a:lnTo>
                    <a:lnTo>
                      <a:pt x="863" y="276"/>
                    </a:lnTo>
                    <a:lnTo>
                      <a:pt x="857" y="279"/>
                    </a:lnTo>
                    <a:lnTo>
                      <a:pt x="851" y="281"/>
                    </a:lnTo>
                    <a:lnTo>
                      <a:pt x="845" y="284"/>
                    </a:lnTo>
                    <a:lnTo>
                      <a:pt x="828" y="289"/>
                    </a:lnTo>
                    <a:lnTo>
                      <a:pt x="811" y="293"/>
                    </a:lnTo>
                    <a:lnTo>
                      <a:pt x="794" y="298"/>
                    </a:lnTo>
                    <a:lnTo>
                      <a:pt x="785" y="301"/>
                    </a:lnTo>
                    <a:lnTo>
                      <a:pt x="779" y="300"/>
                    </a:lnTo>
                    <a:lnTo>
                      <a:pt x="774" y="295"/>
                    </a:lnTo>
                    <a:lnTo>
                      <a:pt x="771" y="289"/>
                    </a:lnTo>
                    <a:lnTo>
                      <a:pt x="770" y="281"/>
                    </a:lnTo>
                    <a:lnTo>
                      <a:pt x="770" y="276"/>
                    </a:lnTo>
                    <a:lnTo>
                      <a:pt x="770" y="271"/>
                    </a:lnTo>
                    <a:lnTo>
                      <a:pt x="769" y="267"/>
                    </a:lnTo>
                    <a:lnTo>
                      <a:pt x="767" y="265"/>
                    </a:lnTo>
                    <a:lnTo>
                      <a:pt x="766" y="264"/>
                    </a:lnTo>
                    <a:lnTo>
                      <a:pt x="764" y="262"/>
                    </a:lnTo>
                    <a:lnTo>
                      <a:pt x="760" y="262"/>
                    </a:lnTo>
                    <a:lnTo>
                      <a:pt x="754" y="262"/>
                    </a:lnTo>
                    <a:lnTo>
                      <a:pt x="745" y="266"/>
                    </a:lnTo>
                    <a:lnTo>
                      <a:pt x="736" y="266"/>
                    </a:lnTo>
                    <a:lnTo>
                      <a:pt x="729" y="264"/>
                    </a:lnTo>
                    <a:lnTo>
                      <a:pt x="724" y="257"/>
                    </a:lnTo>
                    <a:lnTo>
                      <a:pt x="718" y="254"/>
                    </a:lnTo>
                    <a:lnTo>
                      <a:pt x="713" y="249"/>
                    </a:lnTo>
                    <a:lnTo>
                      <a:pt x="708" y="245"/>
                    </a:lnTo>
                    <a:lnTo>
                      <a:pt x="705" y="238"/>
                    </a:lnTo>
                    <a:lnTo>
                      <a:pt x="709" y="231"/>
                    </a:lnTo>
                    <a:lnTo>
                      <a:pt x="718" y="225"/>
                    </a:lnTo>
                    <a:lnTo>
                      <a:pt x="729" y="220"/>
                    </a:lnTo>
                    <a:lnTo>
                      <a:pt x="740" y="216"/>
                    </a:lnTo>
                    <a:lnTo>
                      <a:pt x="750" y="213"/>
                    </a:lnTo>
                    <a:lnTo>
                      <a:pt x="757" y="211"/>
                    </a:lnTo>
                    <a:lnTo>
                      <a:pt x="772" y="210"/>
                    </a:lnTo>
                    <a:lnTo>
                      <a:pt x="789" y="206"/>
                    </a:lnTo>
                    <a:lnTo>
                      <a:pt x="791" y="206"/>
                    </a:lnTo>
                    <a:lnTo>
                      <a:pt x="796" y="206"/>
                    </a:lnTo>
                    <a:lnTo>
                      <a:pt x="800" y="205"/>
                    </a:lnTo>
                    <a:lnTo>
                      <a:pt x="804" y="205"/>
                    </a:lnTo>
                    <a:lnTo>
                      <a:pt x="806" y="204"/>
                    </a:lnTo>
                    <a:lnTo>
                      <a:pt x="810" y="201"/>
                    </a:lnTo>
                    <a:lnTo>
                      <a:pt x="811" y="200"/>
                    </a:lnTo>
                    <a:lnTo>
                      <a:pt x="811" y="199"/>
                    </a:lnTo>
                    <a:lnTo>
                      <a:pt x="810" y="198"/>
                    </a:lnTo>
                    <a:lnTo>
                      <a:pt x="807" y="196"/>
                    </a:lnTo>
                    <a:lnTo>
                      <a:pt x="805" y="195"/>
                    </a:lnTo>
                    <a:lnTo>
                      <a:pt x="802" y="194"/>
                    </a:lnTo>
                    <a:lnTo>
                      <a:pt x="800" y="194"/>
                    </a:lnTo>
                    <a:lnTo>
                      <a:pt x="796" y="194"/>
                    </a:lnTo>
                    <a:lnTo>
                      <a:pt x="795" y="194"/>
                    </a:lnTo>
                    <a:lnTo>
                      <a:pt x="794" y="193"/>
                    </a:lnTo>
                    <a:lnTo>
                      <a:pt x="776" y="193"/>
                    </a:lnTo>
                    <a:lnTo>
                      <a:pt x="761" y="193"/>
                    </a:lnTo>
                    <a:lnTo>
                      <a:pt x="746" y="196"/>
                    </a:lnTo>
                    <a:lnTo>
                      <a:pt x="736" y="200"/>
                    </a:lnTo>
                    <a:lnTo>
                      <a:pt x="728" y="205"/>
                    </a:lnTo>
                    <a:lnTo>
                      <a:pt x="720" y="206"/>
                    </a:lnTo>
                    <a:lnTo>
                      <a:pt x="713" y="204"/>
                    </a:lnTo>
                    <a:lnTo>
                      <a:pt x="708" y="196"/>
                    </a:lnTo>
                    <a:lnTo>
                      <a:pt x="704" y="189"/>
                    </a:lnTo>
                    <a:lnTo>
                      <a:pt x="703" y="180"/>
                    </a:lnTo>
                    <a:lnTo>
                      <a:pt x="708" y="174"/>
                    </a:lnTo>
                    <a:lnTo>
                      <a:pt x="718" y="168"/>
                    </a:lnTo>
                    <a:lnTo>
                      <a:pt x="728" y="164"/>
                    </a:lnTo>
                    <a:lnTo>
                      <a:pt x="736" y="160"/>
                    </a:lnTo>
                    <a:lnTo>
                      <a:pt x="738" y="159"/>
                    </a:lnTo>
                    <a:lnTo>
                      <a:pt x="739" y="159"/>
                    </a:lnTo>
                    <a:lnTo>
                      <a:pt x="741" y="158"/>
                    </a:lnTo>
                    <a:lnTo>
                      <a:pt x="743" y="157"/>
                    </a:lnTo>
                    <a:lnTo>
                      <a:pt x="745" y="155"/>
                    </a:lnTo>
                    <a:lnTo>
                      <a:pt x="746" y="154"/>
                    </a:lnTo>
                    <a:lnTo>
                      <a:pt x="747" y="153"/>
                    </a:lnTo>
                    <a:lnTo>
                      <a:pt x="747" y="152"/>
                    </a:lnTo>
                    <a:lnTo>
                      <a:pt x="746" y="152"/>
                    </a:lnTo>
                    <a:lnTo>
                      <a:pt x="744" y="152"/>
                    </a:lnTo>
                    <a:lnTo>
                      <a:pt x="740" y="153"/>
                    </a:lnTo>
                    <a:lnTo>
                      <a:pt x="736" y="154"/>
                    </a:lnTo>
                    <a:lnTo>
                      <a:pt x="733" y="155"/>
                    </a:lnTo>
                    <a:lnTo>
                      <a:pt x="729" y="157"/>
                    </a:lnTo>
                    <a:lnTo>
                      <a:pt x="726" y="158"/>
                    </a:lnTo>
                    <a:lnTo>
                      <a:pt x="716" y="158"/>
                    </a:lnTo>
                    <a:lnTo>
                      <a:pt x="708" y="157"/>
                    </a:lnTo>
                    <a:lnTo>
                      <a:pt x="700" y="154"/>
                    </a:lnTo>
                    <a:lnTo>
                      <a:pt x="696" y="149"/>
                    </a:lnTo>
                    <a:lnTo>
                      <a:pt x="696" y="142"/>
                    </a:lnTo>
                    <a:lnTo>
                      <a:pt x="698" y="133"/>
                    </a:lnTo>
                    <a:lnTo>
                      <a:pt x="703" y="127"/>
                    </a:lnTo>
                    <a:lnTo>
                      <a:pt x="704" y="126"/>
                    </a:lnTo>
                    <a:lnTo>
                      <a:pt x="705" y="126"/>
                    </a:lnTo>
                    <a:lnTo>
                      <a:pt x="708" y="124"/>
                    </a:lnTo>
                    <a:lnTo>
                      <a:pt x="709" y="123"/>
                    </a:lnTo>
                    <a:lnTo>
                      <a:pt x="711" y="121"/>
                    </a:lnTo>
                    <a:lnTo>
                      <a:pt x="714" y="119"/>
                    </a:lnTo>
                    <a:lnTo>
                      <a:pt x="715" y="117"/>
                    </a:lnTo>
                    <a:lnTo>
                      <a:pt x="716" y="116"/>
                    </a:lnTo>
                    <a:lnTo>
                      <a:pt x="718" y="114"/>
                    </a:lnTo>
                    <a:lnTo>
                      <a:pt x="716" y="113"/>
                    </a:lnTo>
                    <a:lnTo>
                      <a:pt x="715" y="113"/>
                    </a:lnTo>
                    <a:lnTo>
                      <a:pt x="713" y="113"/>
                    </a:lnTo>
                    <a:lnTo>
                      <a:pt x="711" y="113"/>
                    </a:lnTo>
                    <a:lnTo>
                      <a:pt x="710" y="114"/>
                    </a:lnTo>
                    <a:lnTo>
                      <a:pt x="709" y="114"/>
                    </a:lnTo>
                    <a:lnTo>
                      <a:pt x="708" y="114"/>
                    </a:lnTo>
                    <a:lnTo>
                      <a:pt x="706" y="113"/>
                    </a:lnTo>
                    <a:lnTo>
                      <a:pt x="706" y="113"/>
                    </a:lnTo>
                    <a:lnTo>
                      <a:pt x="706" y="111"/>
                    </a:lnTo>
                    <a:lnTo>
                      <a:pt x="708" y="108"/>
                    </a:lnTo>
                    <a:lnTo>
                      <a:pt x="710" y="104"/>
                    </a:lnTo>
                    <a:lnTo>
                      <a:pt x="715" y="101"/>
                    </a:lnTo>
                    <a:lnTo>
                      <a:pt x="720" y="97"/>
                    </a:lnTo>
                    <a:lnTo>
                      <a:pt x="726" y="93"/>
                    </a:lnTo>
                    <a:lnTo>
                      <a:pt x="735" y="85"/>
                    </a:lnTo>
                    <a:lnTo>
                      <a:pt x="746" y="75"/>
                    </a:lnTo>
                    <a:lnTo>
                      <a:pt x="760" y="67"/>
                    </a:lnTo>
                    <a:lnTo>
                      <a:pt x="771" y="61"/>
                    </a:lnTo>
                    <a:lnTo>
                      <a:pt x="782" y="52"/>
                    </a:lnTo>
                    <a:lnTo>
                      <a:pt x="785" y="50"/>
                    </a:lnTo>
                    <a:lnTo>
                      <a:pt x="789" y="47"/>
                    </a:lnTo>
                    <a:lnTo>
                      <a:pt x="791" y="44"/>
                    </a:lnTo>
                    <a:lnTo>
                      <a:pt x="794" y="41"/>
                    </a:lnTo>
                    <a:lnTo>
                      <a:pt x="796" y="41"/>
                    </a:lnTo>
                    <a:lnTo>
                      <a:pt x="800" y="41"/>
                    </a:lnTo>
                    <a:lnTo>
                      <a:pt x="801" y="42"/>
                    </a:lnTo>
                    <a:lnTo>
                      <a:pt x="802" y="45"/>
                    </a:lnTo>
                    <a:lnTo>
                      <a:pt x="804" y="47"/>
                    </a:lnTo>
                    <a:lnTo>
                      <a:pt x="804" y="50"/>
                    </a:lnTo>
                    <a:lnTo>
                      <a:pt x="805" y="52"/>
                    </a:lnTo>
                    <a:lnTo>
                      <a:pt x="804" y="53"/>
                    </a:lnTo>
                    <a:lnTo>
                      <a:pt x="804" y="56"/>
                    </a:lnTo>
                    <a:lnTo>
                      <a:pt x="802" y="57"/>
                    </a:lnTo>
                    <a:lnTo>
                      <a:pt x="801" y="60"/>
                    </a:lnTo>
                    <a:lnTo>
                      <a:pt x="801" y="62"/>
                    </a:lnTo>
                    <a:lnTo>
                      <a:pt x="799" y="65"/>
                    </a:lnTo>
                    <a:lnTo>
                      <a:pt x="795" y="70"/>
                    </a:lnTo>
                    <a:lnTo>
                      <a:pt x="790" y="75"/>
                    </a:lnTo>
                    <a:lnTo>
                      <a:pt x="786" y="78"/>
                    </a:lnTo>
                    <a:lnTo>
                      <a:pt x="784" y="83"/>
                    </a:lnTo>
                    <a:lnTo>
                      <a:pt x="784" y="85"/>
                    </a:lnTo>
                    <a:lnTo>
                      <a:pt x="789" y="86"/>
                    </a:lnTo>
                    <a:lnTo>
                      <a:pt x="804" y="77"/>
                    </a:lnTo>
                    <a:lnTo>
                      <a:pt x="805" y="73"/>
                    </a:lnTo>
                    <a:lnTo>
                      <a:pt x="806" y="71"/>
                    </a:lnTo>
                    <a:lnTo>
                      <a:pt x="807" y="67"/>
                    </a:lnTo>
                    <a:lnTo>
                      <a:pt x="809" y="65"/>
                    </a:lnTo>
                    <a:lnTo>
                      <a:pt x="815" y="60"/>
                    </a:lnTo>
                    <a:lnTo>
                      <a:pt x="822" y="57"/>
                    </a:lnTo>
                    <a:lnTo>
                      <a:pt x="830" y="58"/>
                    </a:lnTo>
                    <a:lnTo>
                      <a:pt x="835" y="60"/>
                    </a:lnTo>
                    <a:lnTo>
                      <a:pt x="838" y="61"/>
                    </a:lnTo>
                    <a:lnTo>
                      <a:pt x="841" y="62"/>
                    </a:lnTo>
                    <a:lnTo>
                      <a:pt x="842" y="65"/>
                    </a:lnTo>
                    <a:lnTo>
                      <a:pt x="845" y="67"/>
                    </a:lnTo>
                    <a:lnTo>
                      <a:pt x="845" y="70"/>
                    </a:lnTo>
                    <a:lnTo>
                      <a:pt x="845" y="73"/>
                    </a:lnTo>
                    <a:lnTo>
                      <a:pt x="842" y="77"/>
                    </a:lnTo>
                    <a:lnTo>
                      <a:pt x="842" y="80"/>
                    </a:lnTo>
                    <a:lnTo>
                      <a:pt x="841" y="81"/>
                    </a:lnTo>
                    <a:lnTo>
                      <a:pt x="840" y="83"/>
                    </a:lnTo>
                    <a:lnTo>
                      <a:pt x="840" y="85"/>
                    </a:lnTo>
                    <a:lnTo>
                      <a:pt x="838" y="86"/>
                    </a:lnTo>
                    <a:lnTo>
                      <a:pt x="838" y="87"/>
                    </a:lnTo>
                    <a:lnTo>
                      <a:pt x="840" y="87"/>
                    </a:lnTo>
                    <a:lnTo>
                      <a:pt x="841" y="87"/>
                    </a:lnTo>
                    <a:lnTo>
                      <a:pt x="842" y="86"/>
                    </a:lnTo>
                    <a:lnTo>
                      <a:pt x="845" y="83"/>
                    </a:lnTo>
                    <a:lnTo>
                      <a:pt x="848" y="80"/>
                    </a:lnTo>
                    <a:lnTo>
                      <a:pt x="852" y="77"/>
                    </a:lnTo>
                    <a:lnTo>
                      <a:pt x="855" y="76"/>
                    </a:lnTo>
                    <a:lnTo>
                      <a:pt x="858" y="75"/>
                    </a:lnTo>
                    <a:lnTo>
                      <a:pt x="860" y="75"/>
                    </a:lnTo>
                    <a:lnTo>
                      <a:pt x="863" y="75"/>
                    </a:lnTo>
                    <a:lnTo>
                      <a:pt x="866" y="73"/>
                    </a:lnTo>
                    <a:lnTo>
                      <a:pt x="867" y="71"/>
                    </a:lnTo>
                    <a:lnTo>
                      <a:pt x="868" y="70"/>
                    </a:lnTo>
                    <a:lnTo>
                      <a:pt x="868" y="63"/>
                    </a:lnTo>
                    <a:lnTo>
                      <a:pt x="865" y="56"/>
                    </a:lnTo>
                    <a:lnTo>
                      <a:pt x="863" y="50"/>
                    </a:lnTo>
                    <a:lnTo>
                      <a:pt x="863" y="48"/>
                    </a:lnTo>
                    <a:lnTo>
                      <a:pt x="865" y="47"/>
                    </a:lnTo>
                    <a:lnTo>
                      <a:pt x="866" y="47"/>
                    </a:lnTo>
                    <a:lnTo>
                      <a:pt x="868" y="47"/>
                    </a:lnTo>
                    <a:lnTo>
                      <a:pt x="872" y="47"/>
                    </a:lnTo>
                    <a:lnTo>
                      <a:pt x="875" y="48"/>
                    </a:lnTo>
                    <a:lnTo>
                      <a:pt x="878" y="48"/>
                    </a:lnTo>
                    <a:lnTo>
                      <a:pt x="880" y="50"/>
                    </a:lnTo>
                    <a:lnTo>
                      <a:pt x="881" y="50"/>
                    </a:lnTo>
                    <a:lnTo>
                      <a:pt x="888" y="55"/>
                    </a:lnTo>
                    <a:lnTo>
                      <a:pt x="892" y="62"/>
                    </a:lnTo>
                    <a:lnTo>
                      <a:pt x="893" y="70"/>
                    </a:lnTo>
                    <a:lnTo>
                      <a:pt x="894" y="77"/>
                    </a:lnTo>
                    <a:lnTo>
                      <a:pt x="896" y="90"/>
                    </a:lnTo>
                    <a:lnTo>
                      <a:pt x="897" y="101"/>
                    </a:lnTo>
                    <a:lnTo>
                      <a:pt x="897" y="111"/>
                    </a:lnTo>
                    <a:lnTo>
                      <a:pt x="897" y="112"/>
                    </a:lnTo>
                    <a:lnTo>
                      <a:pt x="898" y="113"/>
                    </a:lnTo>
                    <a:lnTo>
                      <a:pt x="899" y="114"/>
                    </a:lnTo>
                    <a:lnTo>
                      <a:pt x="899" y="116"/>
                    </a:lnTo>
                    <a:lnTo>
                      <a:pt x="902" y="116"/>
                    </a:lnTo>
                    <a:lnTo>
                      <a:pt x="904" y="114"/>
                    </a:lnTo>
                    <a:lnTo>
                      <a:pt x="907" y="113"/>
                    </a:lnTo>
                    <a:lnTo>
                      <a:pt x="909" y="111"/>
                    </a:lnTo>
                    <a:lnTo>
                      <a:pt x="912" y="107"/>
                    </a:lnTo>
                    <a:lnTo>
                      <a:pt x="913" y="104"/>
                    </a:lnTo>
                    <a:lnTo>
                      <a:pt x="913" y="101"/>
                    </a:lnTo>
                    <a:lnTo>
                      <a:pt x="913" y="98"/>
                    </a:lnTo>
                    <a:lnTo>
                      <a:pt x="913" y="96"/>
                    </a:lnTo>
                    <a:lnTo>
                      <a:pt x="912" y="93"/>
                    </a:lnTo>
                    <a:lnTo>
                      <a:pt x="911" y="86"/>
                    </a:lnTo>
                    <a:lnTo>
                      <a:pt x="911" y="80"/>
                    </a:lnTo>
                    <a:lnTo>
                      <a:pt x="909" y="72"/>
                    </a:lnTo>
                    <a:lnTo>
                      <a:pt x="909" y="45"/>
                    </a:lnTo>
                    <a:lnTo>
                      <a:pt x="909" y="42"/>
                    </a:lnTo>
                    <a:lnTo>
                      <a:pt x="911" y="40"/>
                    </a:lnTo>
                    <a:lnTo>
                      <a:pt x="911" y="37"/>
                    </a:lnTo>
                    <a:lnTo>
                      <a:pt x="912" y="35"/>
                    </a:lnTo>
                    <a:lnTo>
                      <a:pt x="913" y="34"/>
                    </a:lnTo>
                    <a:lnTo>
                      <a:pt x="916" y="31"/>
                    </a:lnTo>
                    <a:lnTo>
                      <a:pt x="919" y="30"/>
                    </a:lnTo>
                    <a:lnTo>
                      <a:pt x="922" y="30"/>
                    </a:lnTo>
                    <a:lnTo>
                      <a:pt x="924" y="31"/>
                    </a:lnTo>
                    <a:lnTo>
                      <a:pt x="927" y="32"/>
                    </a:lnTo>
                    <a:lnTo>
                      <a:pt x="928" y="34"/>
                    </a:lnTo>
                    <a:lnTo>
                      <a:pt x="932" y="35"/>
                    </a:lnTo>
                    <a:lnTo>
                      <a:pt x="936" y="35"/>
                    </a:lnTo>
                    <a:lnTo>
                      <a:pt x="939" y="35"/>
                    </a:lnTo>
                    <a:lnTo>
                      <a:pt x="943" y="36"/>
                    </a:lnTo>
                    <a:lnTo>
                      <a:pt x="947" y="36"/>
                    </a:lnTo>
                    <a:lnTo>
                      <a:pt x="948" y="39"/>
                    </a:lnTo>
                    <a:lnTo>
                      <a:pt x="951" y="40"/>
                    </a:lnTo>
                    <a:lnTo>
                      <a:pt x="952" y="42"/>
                    </a:lnTo>
                    <a:lnTo>
                      <a:pt x="953" y="45"/>
                    </a:lnTo>
                    <a:lnTo>
                      <a:pt x="954" y="46"/>
                    </a:lnTo>
                    <a:lnTo>
                      <a:pt x="957" y="47"/>
                    </a:lnTo>
                    <a:lnTo>
                      <a:pt x="959" y="46"/>
                    </a:lnTo>
                    <a:lnTo>
                      <a:pt x="961" y="45"/>
                    </a:lnTo>
                    <a:lnTo>
                      <a:pt x="961" y="42"/>
                    </a:lnTo>
                    <a:lnTo>
                      <a:pt x="961" y="40"/>
                    </a:lnTo>
                    <a:lnTo>
                      <a:pt x="961" y="37"/>
                    </a:lnTo>
                    <a:lnTo>
                      <a:pt x="959" y="35"/>
                    </a:lnTo>
                    <a:lnTo>
                      <a:pt x="959" y="32"/>
                    </a:lnTo>
                    <a:lnTo>
                      <a:pt x="959" y="31"/>
                    </a:lnTo>
                    <a:lnTo>
                      <a:pt x="957" y="27"/>
                    </a:lnTo>
                    <a:lnTo>
                      <a:pt x="953" y="25"/>
                    </a:lnTo>
                    <a:lnTo>
                      <a:pt x="951" y="24"/>
                    </a:lnTo>
                    <a:lnTo>
                      <a:pt x="947" y="21"/>
                    </a:lnTo>
                    <a:lnTo>
                      <a:pt x="944" y="20"/>
                    </a:lnTo>
                    <a:lnTo>
                      <a:pt x="943" y="20"/>
                    </a:lnTo>
                    <a:lnTo>
                      <a:pt x="942" y="19"/>
                    </a:lnTo>
                    <a:lnTo>
                      <a:pt x="939" y="17"/>
                    </a:lnTo>
                    <a:lnTo>
                      <a:pt x="938" y="16"/>
                    </a:lnTo>
                    <a:lnTo>
                      <a:pt x="938" y="15"/>
                    </a:lnTo>
                    <a:lnTo>
                      <a:pt x="938" y="14"/>
                    </a:lnTo>
                    <a:lnTo>
                      <a:pt x="941" y="10"/>
                    </a:lnTo>
                    <a:lnTo>
                      <a:pt x="942" y="7"/>
                    </a:lnTo>
                    <a:lnTo>
                      <a:pt x="944" y="5"/>
                    </a:lnTo>
                    <a:lnTo>
                      <a:pt x="947" y="4"/>
                    </a:lnTo>
                    <a:lnTo>
                      <a:pt x="952" y="2"/>
                    </a:lnTo>
                    <a:lnTo>
                      <a:pt x="961" y="1"/>
                    </a:lnTo>
                    <a:lnTo>
                      <a:pt x="970"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6" name="Freeform 9"/>
              <p:cNvSpPr>
                <a:spLocks noEditPoints="1"/>
              </p:cNvSpPr>
              <p:nvPr/>
            </p:nvSpPr>
            <p:spPr bwMode="auto">
              <a:xfrm>
                <a:off x="5219" y="221"/>
                <a:ext cx="879" cy="262"/>
              </a:xfrm>
              <a:custGeom>
                <a:avLst/>
                <a:gdLst>
                  <a:gd name="T0" fmla="*/ 173 w 2635"/>
                  <a:gd name="T1" fmla="*/ 185 h 786"/>
                  <a:gd name="T2" fmla="*/ 107 w 2635"/>
                  <a:gd name="T3" fmla="*/ 304 h 786"/>
                  <a:gd name="T4" fmla="*/ 17 w 2635"/>
                  <a:gd name="T5" fmla="*/ 317 h 786"/>
                  <a:gd name="T6" fmla="*/ 80 w 2635"/>
                  <a:gd name="T7" fmla="*/ 190 h 786"/>
                  <a:gd name="T8" fmla="*/ 2397 w 2635"/>
                  <a:gd name="T9" fmla="*/ 219 h 786"/>
                  <a:gd name="T10" fmla="*/ 2386 w 2635"/>
                  <a:gd name="T11" fmla="*/ 229 h 786"/>
                  <a:gd name="T12" fmla="*/ 558 w 2635"/>
                  <a:gd name="T13" fmla="*/ 176 h 786"/>
                  <a:gd name="T14" fmla="*/ 516 w 2635"/>
                  <a:gd name="T15" fmla="*/ 302 h 786"/>
                  <a:gd name="T16" fmla="*/ 479 w 2635"/>
                  <a:gd name="T17" fmla="*/ 227 h 786"/>
                  <a:gd name="T18" fmla="*/ 526 w 2635"/>
                  <a:gd name="T19" fmla="*/ 169 h 786"/>
                  <a:gd name="T20" fmla="*/ 789 w 2635"/>
                  <a:gd name="T21" fmla="*/ 215 h 786"/>
                  <a:gd name="T22" fmla="*/ 816 w 2635"/>
                  <a:gd name="T23" fmla="*/ 224 h 786"/>
                  <a:gd name="T24" fmla="*/ 862 w 2635"/>
                  <a:gd name="T25" fmla="*/ 148 h 786"/>
                  <a:gd name="T26" fmla="*/ 936 w 2635"/>
                  <a:gd name="T27" fmla="*/ 236 h 786"/>
                  <a:gd name="T28" fmla="*/ 971 w 2635"/>
                  <a:gd name="T29" fmla="*/ 200 h 786"/>
                  <a:gd name="T30" fmla="*/ 998 w 2635"/>
                  <a:gd name="T31" fmla="*/ 195 h 786"/>
                  <a:gd name="T32" fmla="*/ 1043 w 2635"/>
                  <a:gd name="T33" fmla="*/ 268 h 786"/>
                  <a:gd name="T34" fmla="*/ 1097 w 2635"/>
                  <a:gd name="T35" fmla="*/ 306 h 786"/>
                  <a:gd name="T36" fmla="*/ 1151 w 2635"/>
                  <a:gd name="T37" fmla="*/ 365 h 786"/>
                  <a:gd name="T38" fmla="*/ 1197 w 2635"/>
                  <a:gd name="T39" fmla="*/ 394 h 786"/>
                  <a:gd name="T40" fmla="*/ 1344 w 2635"/>
                  <a:gd name="T41" fmla="*/ 524 h 786"/>
                  <a:gd name="T42" fmla="*/ 1301 w 2635"/>
                  <a:gd name="T43" fmla="*/ 625 h 786"/>
                  <a:gd name="T44" fmla="*/ 1235 w 2635"/>
                  <a:gd name="T45" fmla="*/ 612 h 786"/>
                  <a:gd name="T46" fmla="*/ 1200 w 2635"/>
                  <a:gd name="T47" fmla="*/ 695 h 786"/>
                  <a:gd name="T48" fmla="*/ 1131 w 2635"/>
                  <a:gd name="T49" fmla="*/ 712 h 786"/>
                  <a:gd name="T50" fmla="*/ 1036 w 2635"/>
                  <a:gd name="T51" fmla="*/ 658 h 786"/>
                  <a:gd name="T52" fmla="*/ 1077 w 2635"/>
                  <a:gd name="T53" fmla="*/ 579 h 786"/>
                  <a:gd name="T54" fmla="*/ 1158 w 2635"/>
                  <a:gd name="T55" fmla="*/ 526 h 786"/>
                  <a:gd name="T56" fmla="*/ 1065 w 2635"/>
                  <a:gd name="T57" fmla="*/ 437 h 786"/>
                  <a:gd name="T58" fmla="*/ 1009 w 2635"/>
                  <a:gd name="T59" fmla="*/ 394 h 786"/>
                  <a:gd name="T60" fmla="*/ 976 w 2635"/>
                  <a:gd name="T61" fmla="*/ 335 h 786"/>
                  <a:gd name="T62" fmla="*/ 815 w 2635"/>
                  <a:gd name="T63" fmla="*/ 357 h 786"/>
                  <a:gd name="T64" fmla="*/ 737 w 2635"/>
                  <a:gd name="T65" fmla="*/ 289 h 786"/>
                  <a:gd name="T66" fmla="*/ 693 w 2635"/>
                  <a:gd name="T67" fmla="*/ 158 h 786"/>
                  <a:gd name="T68" fmla="*/ 634 w 2635"/>
                  <a:gd name="T69" fmla="*/ 216 h 786"/>
                  <a:gd name="T70" fmla="*/ 627 w 2635"/>
                  <a:gd name="T71" fmla="*/ 133 h 786"/>
                  <a:gd name="T72" fmla="*/ 2595 w 2635"/>
                  <a:gd name="T73" fmla="*/ 108 h 786"/>
                  <a:gd name="T74" fmla="*/ 2616 w 2635"/>
                  <a:gd name="T75" fmla="*/ 141 h 786"/>
                  <a:gd name="T76" fmla="*/ 2633 w 2635"/>
                  <a:gd name="T77" fmla="*/ 184 h 786"/>
                  <a:gd name="T78" fmla="*/ 2596 w 2635"/>
                  <a:gd name="T79" fmla="*/ 164 h 786"/>
                  <a:gd name="T80" fmla="*/ 2584 w 2635"/>
                  <a:gd name="T81" fmla="*/ 125 h 786"/>
                  <a:gd name="T82" fmla="*/ 2269 w 2635"/>
                  <a:gd name="T83" fmla="*/ 67 h 786"/>
                  <a:gd name="T84" fmla="*/ 2301 w 2635"/>
                  <a:gd name="T85" fmla="*/ 95 h 786"/>
                  <a:gd name="T86" fmla="*/ 2341 w 2635"/>
                  <a:gd name="T87" fmla="*/ 128 h 786"/>
                  <a:gd name="T88" fmla="*/ 2356 w 2635"/>
                  <a:gd name="T89" fmla="*/ 176 h 786"/>
                  <a:gd name="T90" fmla="*/ 2345 w 2635"/>
                  <a:gd name="T91" fmla="*/ 236 h 786"/>
                  <a:gd name="T92" fmla="*/ 2315 w 2635"/>
                  <a:gd name="T93" fmla="*/ 175 h 786"/>
                  <a:gd name="T94" fmla="*/ 2321 w 2635"/>
                  <a:gd name="T95" fmla="*/ 151 h 786"/>
                  <a:gd name="T96" fmla="*/ 2269 w 2635"/>
                  <a:gd name="T97" fmla="*/ 92 h 786"/>
                  <a:gd name="T98" fmla="*/ 2344 w 2635"/>
                  <a:gd name="T99" fmla="*/ 73 h 786"/>
                  <a:gd name="T100" fmla="*/ 2380 w 2635"/>
                  <a:gd name="T101" fmla="*/ 93 h 786"/>
                  <a:gd name="T102" fmla="*/ 2387 w 2635"/>
                  <a:gd name="T103" fmla="*/ 146 h 786"/>
                  <a:gd name="T104" fmla="*/ 2341 w 2635"/>
                  <a:gd name="T105" fmla="*/ 98 h 786"/>
                  <a:gd name="T106" fmla="*/ 2307 w 2635"/>
                  <a:gd name="T107" fmla="*/ 66 h 786"/>
                  <a:gd name="T108" fmla="*/ 2305 w 2635"/>
                  <a:gd name="T109" fmla="*/ 44 h 786"/>
                  <a:gd name="T110" fmla="*/ 393 w 2635"/>
                  <a:gd name="T111" fmla="*/ 44 h 786"/>
                  <a:gd name="T112" fmla="*/ 284 w 2635"/>
                  <a:gd name="T113" fmla="*/ 150 h 786"/>
                  <a:gd name="T114" fmla="*/ 251 w 2635"/>
                  <a:gd name="T115" fmla="*/ 123 h 786"/>
                  <a:gd name="T116" fmla="*/ 182 w 2635"/>
                  <a:gd name="T117" fmla="*/ 119 h 786"/>
                  <a:gd name="T118" fmla="*/ 218 w 2635"/>
                  <a:gd name="T119" fmla="*/ 68 h 786"/>
                  <a:gd name="T120" fmla="*/ 296 w 2635"/>
                  <a:gd name="T121" fmla="*/ 68 h 786"/>
                  <a:gd name="T122" fmla="*/ 337 w 2635"/>
                  <a:gd name="T123" fmla="*/ 46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5" h="786">
                    <a:moveTo>
                      <a:pt x="2415" y="182"/>
                    </a:moveTo>
                    <a:lnTo>
                      <a:pt x="2423" y="189"/>
                    </a:lnTo>
                    <a:lnTo>
                      <a:pt x="2423" y="190"/>
                    </a:lnTo>
                    <a:lnTo>
                      <a:pt x="2423" y="190"/>
                    </a:lnTo>
                    <a:lnTo>
                      <a:pt x="2423" y="191"/>
                    </a:lnTo>
                    <a:lnTo>
                      <a:pt x="2425" y="192"/>
                    </a:lnTo>
                    <a:lnTo>
                      <a:pt x="2423" y="191"/>
                    </a:lnTo>
                    <a:lnTo>
                      <a:pt x="2423" y="190"/>
                    </a:lnTo>
                    <a:lnTo>
                      <a:pt x="2420" y="187"/>
                    </a:lnTo>
                    <a:lnTo>
                      <a:pt x="2417" y="186"/>
                    </a:lnTo>
                    <a:lnTo>
                      <a:pt x="2415" y="185"/>
                    </a:lnTo>
                    <a:lnTo>
                      <a:pt x="2415" y="182"/>
                    </a:lnTo>
                    <a:close/>
                    <a:moveTo>
                      <a:pt x="110" y="178"/>
                    </a:moveTo>
                    <a:lnTo>
                      <a:pt x="112" y="178"/>
                    </a:lnTo>
                    <a:lnTo>
                      <a:pt x="114" y="180"/>
                    </a:lnTo>
                    <a:lnTo>
                      <a:pt x="115" y="181"/>
                    </a:lnTo>
                    <a:lnTo>
                      <a:pt x="116" y="184"/>
                    </a:lnTo>
                    <a:lnTo>
                      <a:pt x="116" y="186"/>
                    </a:lnTo>
                    <a:lnTo>
                      <a:pt x="117" y="187"/>
                    </a:lnTo>
                    <a:lnTo>
                      <a:pt x="121" y="190"/>
                    </a:lnTo>
                    <a:lnTo>
                      <a:pt x="125" y="190"/>
                    </a:lnTo>
                    <a:lnTo>
                      <a:pt x="127" y="191"/>
                    </a:lnTo>
                    <a:lnTo>
                      <a:pt x="131" y="194"/>
                    </a:lnTo>
                    <a:lnTo>
                      <a:pt x="135" y="195"/>
                    </a:lnTo>
                    <a:lnTo>
                      <a:pt x="137" y="197"/>
                    </a:lnTo>
                    <a:lnTo>
                      <a:pt x="141" y="197"/>
                    </a:lnTo>
                    <a:lnTo>
                      <a:pt x="145" y="199"/>
                    </a:lnTo>
                    <a:lnTo>
                      <a:pt x="147" y="197"/>
                    </a:lnTo>
                    <a:lnTo>
                      <a:pt x="150" y="196"/>
                    </a:lnTo>
                    <a:lnTo>
                      <a:pt x="152" y="195"/>
                    </a:lnTo>
                    <a:lnTo>
                      <a:pt x="154" y="192"/>
                    </a:lnTo>
                    <a:lnTo>
                      <a:pt x="155" y="190"/>
                    </a:lnTo>
                    <a:lnTo>
                      <a:pt x="165" y="185"/>
                    </a:lnTo>
                    <a:lnTo>
                      <a:pt x="173" y="185"/>
                    </a:lnTo>
                    <a:lnTo>
                      <a:pt x="181" y="189"/>
                    </a:lnTo>
                    <a:lnTo>
                      <a:pt x="187" y="194"/>
                    </a:lnTo>
                    <a:lnTo>
                      <a:pt x="192" y="200"/>
                    </a:lnTo>
                    <a:lnTo>
                      <a:pt x="196" y="204"/>
                    </a:lnTo>
                    <a:lnTo>
                      <a:pt x="197" y="206"/>
                    </a:lnTo>
                    <a:lnTo>
                      <a:pt x="200" y="209"/>
                    </a:lnTo>
                    <a:lnTo>
                      <a:pt x="202" y="212"/>
                    </a:lnTo>
                    <a:lnTo>
                      <a:pt x="203" y="215"/>
                    </a:lnTo>
                    <a:lnTo>
                      <a:pt x="205" y="217"/>
                    </a:lnTo>
                    <a:lnTo>
                      <a:pt x="203" y="220"/>
                    </a:lnTo>
                    <a:lnTo>
                      <a:pt x="202" y="224"/>
                    </a:lnTo>
                    <a:lnTo>
                      <a:pt x="200" y="226"/>
                    </a:lnTo>
                    <a:lnTo>
                      <a:pt x="197" y="229"/>
                    </a:lnTo>
                    <a:lnTo>
                      <a:pt x="193" y="231"/>
                    </a:lnTo>
                    <a:lnTo>
                      <a:pt x="191" y="233"/>
                    </a:lnTo>
                    <a:lnTo>
                      <a:pt x="187" y="236"/>
                    </a:lnTo>
                    <a:lnTo>
                      <a:pt x="175" y="241"/>
                    </a:lnTo>
                    <a:lnTo>
                      <a:pt x="164" y="248"/>
                    </a:lnTo>
                    <a:lnTo>
                      <a:pt x="160" y="251"/>
                    </a:lnTo>
                    <a:lnTo>
                      <a:pt x="157" y="255"/>
                    </a:lnTo>
                    <a:lnTo>
                      <a:pt x="155" y="258"/>
                    </a:lnTo>
                    <a:lnTo>
                      <a:pt x="152" y="262"/>
                    </a:lnTo>
                    <a:lnTo>
                      <a:pt x="147" y="265"/>
                    </a:lnTo>
                    <a:lnTo>
                      <a:pt x="142" y="268"/>
                    </a:lnTo>
                    <a:lnTo>
                      <a:pt x="137" y="272"/>
                    </a:lnTo>
                    <a:lnTo>
                      <a:pt x="134" y="276"/>
                    </a:lnTo>
                    <a:lnTo>
                      <a:pt x="130" y="279"/>
                    </a:lnTo>
                    <a:lnTo>
                      <a:pt x="127" y="284"/>
                    </a:lnTo>
                    <a:lnTo>
                      <a:pt x="124" y="289"/>
                    </a:lnTo>
                    <a:lnTo>
                      <a:pt x="120" y="294"/>
                    </a:lnTo>
                    <a:lnTo>
                      <a:pt x="117" y="298"/>
                    </a:lnTo>
                    <a:lnTo>
                      <a:pt x="115" y="301"/>
                    </a:lnTo>
                    <a:lnTo>
                      <a:pt x="111" y="303"/>
                    </a:lnTo>
                    <a:lnTo>
                      <a:pt x="107" y="304"/>
                    </a:lnTo>
                    <a:lnTo>
                      <a:pt x="100" y="311"/>
                    </a:lnTo>
                    <a:lnTo>
                      <a:pt x="97" y="318"/>
                    </a:lnTo>
                    <a:lnTo>
                      <a:pt x="95" y="327"/>
                    </a:lnTo>
                    <a:lnTo>
                      <a:pt x="94" y="335"/>
                    </a:lnTo>
                    <a:lnTo>
                      <a:pt x="91" y="344"/>
                    </a:lnTo>
                    <a:lnTo>
                      <a:pt x="84" y="354"/>
                    </a:lnTo>
                    <a:lnTo>
                      <a:pt x="76" y="359"/>
                    </a:lnTo>
                    <a:lnTo>
                      <a:pt x="68" y="364"/>
                    </a:lnTo>
                    <a:lnTo>
                      <a:pt x="59" y="369"/>
                    </a:lnTo>
                    <a:lnTo>
                      <a:pt x="48" y="378"/>
                    </a:lnTo>
                    <a:lnTo>
                      <a:pt x="40" y="390"/>
                    </a:lnTo>
                    <a:lnTo>
                      <a:pt x="36" y="390"/>
                    </a:lnTo>
                    <a:lnTo>
                      <a:pt x="34" y="390"/>
                    </a:lnTo>
                    <a:lnTo>
                      <a:pt x="33" y="389"/>
                    </a:lnTo>
                    <a:lnTo>
                      <a:pt x="33" y="386"/>
                    </a:lnTo>
                    <a:lnTo>
                      <a:pt x="31" y="385"/>
                    </a:lnTo>
                    <a:lnTo>
                      <a:pt x="31" y="383"/>
                    </a:lnTo>
                    <a:lnTo>
                      <a:pt x="31" y="381"/>
                    </a:lnTo>
                    <a:lnTo>
                      <a:pt x="30" y="376"/>
                    </a:lnTo>
                    <a:lnTo>
                      <a:pt x="29" y="372"/>
                    </a:lnTo>
                    <a:lnTo>
                      <a:pt x="26" y="365"/>
                    </a:lnTo>
                    <a:lnTo>
                      <a:pt x="22" y="359"/>
                    </a:lnTo>
                    <a:lnTo>
                      <a:pt x="18" y="353"/>
                    </a:lnTo>
                    <a:lnTo>
                      <a:pt x="13" y="348"/>
                    </a:lnTo>
                    <a:lnTo>
                      <a:pt x="5" y="344"/>
                    </a:lnTo>
                    <a:lnTo>
                      <a:pt x="3" y="344"/>
                    </a:lnTo>
                    <a:lnTo>
                      <a:pt x="2" y="343"/>
                    </a:lnTo>
                    <a:lnTo>
                      <a:pt x="0" y="340"/>
                    </a:lnTo>
                    <a:lnTo>
                      <a:pt x="2" y="338"/>
                    </a:lnTo>
                    <a:lnTo>
                      <a:pt x="2" y="335"/>
                    </a:lnTo>
                    <a:lnTo>
                      <a:pt x="4" y="333"/>
                    </a:lnTo>
                    <a:lnTo>
                      <a:pt x="5" y="330"/>
                    </a:lnTo>
                    <a:lnTo>
                      <a:pt x="8" y="328"/>
                    </a:lnTo>
                    <a:lnTo>
                      <a:pt x="17" y="317"/>
                    </a:lnTo>
                    <a:lnTo>
                      <a:pt x="22" y="302"/>
                    </a:lnTo>
                    <a:lnTo>
                      <a:pt x="28" y="286"/>
                    </a:lnTo>
                    <a:lnTo>
                      <a:pt x="31" y="271"/>
                    </a:lnTo>
                    <a:lnTo>
                      <a:pt x="31" y="262"/>
                    </a:lnTo>
                    <a:lnTo>
                      <a:pt x="31" y="253"/>
                    </a:lnTo>
                    <a:lnTo>
                      <a:pt x="34" y="243"/>
                    </a:lnTo>
                    <a:lnTo>
                      <a:pt x="36" y="245"/>
                    </a:lnTo>
                    <a:lnTo>
                      <a:pt x="38" y="246"/>
                    </a:lnTo>
                    <a:lnTo>
                      <a:pt x="40" y="247"/>
                    </a:lnTo>
                    <a:lnTo>
                      <a:pt x="41" y="248"/>
                    </a:lnTo>
                    <a:lnTo>
                      <a:pt x="44" y="250"/>
                    </a:lnTo>
                    <a:lnTo>
                      <a:pt x="45" y="248"/>
                    </a:lnTo>
                    <a:lnTo>
                      <a:pt x="48" y="246"/>
                    </a:lnTo>
                    <a:lnTo>
                      <a:pt x="50" y="242"/>
                    </a:lnTo>
                    <a:lnTo>
                      <a:pt x="51" y="238"/>
                    </a:lnTo>
                    <a:lnTo>
                      <a:pt x="53" y="235"/>
                    </a:lnTo>
                    <a:lnTo>
                      <a:pt x="53" y="233"/>
                    </a:lnTo>
                    <a:lnTo>
                      <a:pt x="51" y="231"/>
                    </a:lnTo>
                    <a:lnTo>
                      <a:pt x="50" y="230"/>
                    </a:lnTo>
                    <a:lnTo>
                      <a:pt x="48" y="229"/>
                    </a:lnTo>
                    <a:lnTo>
                      <a:pt x="46" y="226"/>
                    </a:lnTo>
                    <a:lnTo>
                      <a:pt x="45" y="225"/>
                    </a:lnTo>
                    <a:lnTo>
                      <a:pt x="44" y="222"/>
                    </a:lnTo>
                    <a:lnTo>
                      <a:pt x="45" y="220"/>
                    </a:lnTo>
                    <a:lnTo>
                      <a:pt x="46" y="217"/>
                    </a:lnTo>
                    <a:lnTo>
                      <a:pt x="46" y="215"/>
                    </a:lnTo>
                    <a:lnTo>
                      <a:pt x="46" y="214"/>
                    </a:lnTo>
                    <a:lnTo>
                      <a:pt x="48" y="211"/>
                    </a:lnTo>
                    <a:lnTo>
                      <a:pt x="49" y="209"/>
                    </a:lnTo>
                    <a:lnTo>
                      <a:pt x="50" y="206"/>
                    </a:lnTo>
                    <a:lnTo>
                      <a:pt x="55" y="204"/>
                    </a:lnTo>
                    <a:lnTo>
                      <a:pt x="59" y="201"/>
                    </a:lnTo>
                    <a:lnTo>
                      <a:pt x="64" y="199"/>
                    </a:lnTo>
                    <a:lnTo>
                      <a:pt x="80" y="190"/>
                    </a:lnTo>
                    <a:lnTo>
                      <a:pt x="83" y="190"/>
                    </a:lnTo>
                    <a:lnTo>
                      <a:pt x="85" y="190"/>
                    </a:lnTo>
                    <a:lnTo>
                      <a:pt x="89" y="190"/>
                    </a:lnTo>
                    <a:lnTo>
                      <a:pt x="93" y="187"/>
                    </a:lnTo>
                    <a:lnTo>
                      <a:pt x="96" y="185"/>
                    </a:lnTo>
                    <a:lnTo>
                      <a:pt x="99" y="181"/>
                    </a:lnTo>
                    <a:lnTo>
                      <a:pt x="102" y="179"/>
                    </a:lnTo>
                    <a:lnTo>
                      <a:pt x="106" y="178"/>
                    </a:lnTo>
                    <a:lnTo>
                      <a:pt x="110" y="178"/>
                    </a:lnTo>
                    <a:close/>
                    <a:moveTo>
                      <a:pt x="2376" y="174"/>
                    </a:moveTo>
                    <a:lnTo>
                      <a:pt x="2378" y="174"/>
                    </a:lnTo>
                    <a:lnTo>
                      <a:pt x="2380" y="175"/>
                    </a:lnTo>
                    <a:lnTo>
                      <a:pt x="2381" y="176"/>
                    </a:lnTo>
                    <a:lnTo>
                      <a:pt x="2381" y="179"/>
                    </a:lnTo>
                    <a:lnTo>
                      <a:pt x="2383" y="182"/>
                    </a:lnTo>
                    <a:lnTo>
                      <a:pt x="2385" y="186"/>
                    </a:lnTo>
                    <a:lnTo>
                      <a:pt x="2386" y="189"/>
                    </a:lnTo>
                    <a:lnTo>
                      <a:pt x="2386" y="191"/>
                    </a:lnTo>
                    <a:lnTo>
                      <a:pt x="2385" y="194"/>
                    </a:lnTo>
                    <a:lnTo>
                      <a:pt x="2385" y="195"/>
                    </a:lnTo>
                    <a:lnTo>
                      <a:pt x="2386" y="197"/>
                    </a:lnTo>
                    <a:lnTo>
                      <a:pt x="2388" y="199"/>
                    </a:lnTo>
                    <a:lnTo>
                      <a:pt x="2388" y="199"/>
                    </a:lnTo>
                    <a:lnTo>
                      <a:pt x="2390" y="199"/>
                    </a:lnTo>
                    <a:lnTo>
                      <a:pt x="2391" y="200"/>
                    </a:lnTo>
                    <a:lnTo>
                      <a:pt x="2393" y="201"/>
                    </a:lnTo>
                    <a:lnTo>
                      <a:pt x="2395" y="204"/>
                    </a:lnTo>
                    <a:lnTo>
                      <a:pt x="2396" y="206"/>
                    </a:lnTo>
                    <a:lnTo>
                      <a:pt x="2397" y="209"/>
                    </a:lnTo>
                    <a:lnTo>
                      <a:pt x="2397" y="210"/>
                    </a:lnTo>
                    <a:lnTo>
                      <a:pt x="2396" y="212"/>
                    </a:lnTo>
                    <a:lnTo>
                      <a:pt x="2396" y="214"/>
                    </a:lnTo>
                    <a:lnTo>
                      <a:pt x="2396" y="216"/>
                    </a:lnTo>
                    <a:lnTo>
                      <a:pt x="2397" y="219"/>
                    </a:lnTo>
                    <a:lnTo>
                      <a:pt x="2398" y="221"/>
                    </a:lnTo>
                    <a:lnTo>
                      <a:pt x="2401" y="222"/>
                    </a:lnTo>
                    <a:lnTo>
                      <a:pt x="2405" y="225"/>
                    </a:lnTo>
                    <a:lnTo>
                      <a:pt x="2408" y="227"/>
                    </a:lnTo>
                    <a:lnTo>
                      <a:pt x="2411" y="230"/>
                    </a:lnTo>
                    <a:lnTo>
                      <a:pt x="2412" y="232"/>
                    </a:lnTo>
                    <a:lnTo>
                      <a:pt x="2412" y="236"/>
                    </a:lnTo>
                    <a:lnTo>
                      <a:pt x="2412" y="238"/>
                    </a:lnTo>
                    <a:lnTo>
                      <a:pt x="2411" y="240"/>
                    </a:lnTo>
                    <a:lnTo>
                      <a:pt x="2411" y="241"/>
                    </a:lnTo>
                    <a:lnTo>
                      <a:pt x="2410" y="242"/>
                    </a:lnTo>
                    <a:lnTo>
                      <a:pt x="2410" y="243"/>
                    </a:lnTo>
                    <a:lnTo>
                      <a:pt x="2410" y="245"/>
                    </a:lnTo>
                    <a:lnTo>
                      <a:pt x="2410" y="247"/>
                    </a:lnTo>
                    <a:lnTo>
                      <a:pt x="2410" y="248"/>
                    </a:lnTo>
                    <a:lnTo>
                      <a:pt x="2410" y="250"/>
                    </a:lnTo>
                    <a:lnTo>
                      <a:pt x="2410" y="257"/>
                    </a:lnTo>
                    <a:lnTo>
                      <a:pt x="2410" y="258"/>
                    </a:lnTo>
                    <a:lnTo>
                      <a:pt x="2408" y="260"/>
                    </a:lnTo>
                    <a:lnTo>
                      <a:pt x="2407" y="258"/>
                    </a:lnTo>
                    <a:lnTo>
                      <a:pt x="2406" y="257"/>
                    </a:lnTo>
                    <a:lnTo>
                      <a:pt x="2406" y="255"/>
                    </a:lnTo>
                    <a:lnTo>
                      <a:pt x="2403" y="252"/>
                    </a:lnTo>
                    <a:lnTo>
                      <a:pt x="2402" y="250"/>
                    </a:lnTo>
                    <a:lnTo>
                      <a:pt x="2401" y="246"/>
                    </a:lnTo>
                    <a:lnTo>
                      <a:pt x="2400" y="243"/>
                    </a:lnTo>
                    <a:lnTo>
                      <a:pt x="2397" y="241"/>
                    </a:lnTo>
                    <a:lnTo>
                      <a:pt x="2395" y="241"/>
                    </a:lnTo>
                    <a:lnTo>
                      <a:pt x="2393" y="240"/>
                    </a:lnTo>
                    <a:lnTo>
                      <a:pt x="2392" y="238"/>
                    </a:lnTo>
                    <a:lnTo>
                      <a:pt x="2390" y="236"/>
                    </a:lnTo>
                    <a:lnTo>
                      <a:pt x="2388" y="233"/>
                    </a:lnTo>
                    <a:lnTo>
                      <a:pt x="2387" y="231"/>
                    </a:lnTo>
                    <a:lnTo>
                      <a:pt x="2386" y="229"/>
                    </a:lnTo>
                    <a:lnTo>
                      <a:pt x="2386" y="225"/>
                    </a:lnTo>
                    <a:lnTo>
                      <a:pt x="2386" y="224"/>
                    </a:lnTo>
                    <a:lnTo>
                      <a:pt x="2386" y="220"/>
                    </a:lnTo>
                    <a:lnTo>
                      <a:pt x="2386" y="216"/>
                    </a:lnTo>
                    <a:lnTo>
                      <a:pt x="2385" y="214"/>
                    </a:lnTo>
                    <a:lnTo>
                      <a:pt x="2383" y="210"/>
                    </a:lnTo>
                    <a:lnTo>
                      <a:pt x="2381" y="206"/>
                    </a:lnTo>
                    <a:lnTo>
                      <a:pt x="2380" y="202"/>
                    </a:lnTo>
                    <a:lnTo>
                      <a:pt x="2380" y="200"/>
                    </a:lnTo>
                    <a:lnTo>
                      <a:pt x="2380" y="199"/>
                    </a:lnTo>
                    <a:lnTo>
                      <a:pt x="2380" y="196"/>
                    </a:lnTo>
                    <a:lnTo>
                      <a:pt x="2380" y="196"/>
                    </a:lnTo>
                    <a:lnTo>
                      <a:pt x="2380" y="195"/>
                    </a:lnTo>
                    <a:lnTo>
                      <a:pt x="2380" y="194"/>
                    </a:lnTo>
                    <a:lnTo>
                      <a:pt x="2380" y="191"/>
                    </a:lnTo>
                    <a:lnTo>
                      <a:pt x="2377" y="189"/>
                    </a:lnTo>
                    <a:lnTo>
                      <a:pt x="2376" y="187"/>
                    </a:lnTo>
                    <a:lnTo>
                      <a:pt x="2373" y="186"/>
                    </a:lnTo>
                    <a:lnTo>
                      <a:pt x="2372" y="184"/>
                    </a:lnTo>
                    <a:lnTo>
                      <a:pt x="2370" y="181"/>
                    </a:lnTo>
                    <a:lnTo>
                      <a:pt x="2371" y="179"/>
                    </a:lnTo>
                    <a:lnTo>
                      <a:pt x="2372" y="178"/>
                    </a:lnTo>
                    <a:lnTo>
                      <a:pt x="2373" y="176"/>
                    </a:lnTo>
                    <a:lnTo>
                      <a:pt x="2375" y="175"/>
                    </a:lnTo>
                    <a:lnTo>
                      <a:pt x="2375" y="174"/>
                    </a:lnTo>
                    <a:lnTo>
                      <a:pt x="2376" y="174"/>
                    </a:lnTo>
                    <a:close/>
                    <a:moveTo>
                      <a:pt x="555" y="153"/>
                    </a:moveTo>
                    <a:lnTo>
                      <a:pt x="563" y="153"/>
                    </a:lnTo>
                    <a:lnTo>
                      <a:pt x="566" y="155"/>
                    </a:lnTo>
                    <a:lnTo>
                      <a:pt x="568" y="158"/>
                    </a:lnTo>
                    <a:lnTo>
                      <a:pt x="570" y="161"/>
                    </a:lnTo>
                    <a:lnTo>
                      <a:pt x="568" y="165"/>
                    </a:lnTo>
                    <a:lnTo>
                      <a:pt x="565" y="170"/>
                    </a:lnTo>
                    <a:lnTo>
                      <a:pt x="558" y="176"/>
                    </a:lnTo>
                    <a:lnTo>
                      <a:pt x="551" y="182"/>
                    </a:lnTo>
                    <a:lnTo>
                      <a:pt x="545" y="190"/>
                    </a:lnTo>
                    <a:lnTo>
                      <a:pt x="542" y="196"/>
                    </a:lnTo>
                    <a:lnTo>
                      <a:pt x="545" y="202"/>
                    </a:lnTo>
                    <a:lnTo>
                      <a:pt x="550" y="204"/>
                    </a:lnTo>
                    <a:lnTo>
                      <a:pt x="553" y="201"/>
                    </a:lnTo>
                    <a:lnTo>
                      <a:pt x="558" y="199"/>
                    </a:lnTo>
                    <a:lnTo>
                      <a:pt x="562" y="197"/>
                    </a:lnTo>
                    <a:lnTo>
                      <a:pt x="566" y="197"/>
                    </a:lnTo>
                    <a:lnTo>
                      <a:pt x="568" y="202"/>
                    </a:lnTo>
                    <a:lnTo>
                      <a:pt x="567" y="207"/>
                    </a:lnTo>
                    <a:lnTo>
                      <a:pt x="566" y="212"/>
                    </a:lnTo>
                    <a:lnTo>
                      <a:pt x="566" y="217"/>
                    </a:lnTo>
                    <a:lnTo>
                      <a:pt x="565" y="221"/>
                    </a:lnTo>
                    <a:lnTo>
                      <a:pt x="565" y="224"/>
                    </a:lnTo>
                    <a:lnTo>
                      <a:pt x="566" y="226"/>
                    </a:lnTo>
                    <a:lnTo>
                      <a:pt x="567" y="229"/>
                    </a:lnTo>
                    <a:lnTo>
                      <a:pt x="568" y="231"/>
                    </a:lnTo>
                    <a:lnTo>
                      <a:pt x="570" y="238"/>
                    </a:lnTo>
                    <a:lnTo>
                      <a:pt x="570" y="247"/>
                    </a:lnTo>
                    <a:lnTo>
                      <a:pt x="568" y="255"/>
                    </a:lnTo>
                    <a:lnTo>
                      <a:pt x="563" y="263"/>
                    </a:lnTo>
                    <a:lnTo>
                      <a:pt x="555" y="273"/>
                    </a:lnTo>
                    <a:lnTo>
                      <a:pt x="545" y="281"/>
                    </a:lnTo>
                    <a:lnTo>
                      <a:pt x="542" y="281"/>
                    </a:lnTo>
                    <a:lnTo>
                      <a:pt x="538" y="281"/>
                    </a:lnTo>
                    <a:lnTo>
                      <a:pt x="536" y="282"/>
                    </a:lnTo>
                    <a:lnTo>
                      <a:pt x="533" y="283"/>
                    </a:lnTo>
                    <a:lnTo>
                      <a:pt x="532" y="286"/>
                    </a:lnTo>
                    <a:lnTo>
                      <a:pt x="531" y="288"/>
                    </a:lnTo>
                    <a:lnTo>
                      <a:pt x="530" y="291"/>
                    </a:lnTo>
                    <a:lnTo>
                      <a:pt x="530" y="293"/>
                    </a:lnTo>
                    <a:lnTo>
                      <a:pt x="524" y="299"/>
                    </a:lnTo>
                    <a:lnTo>
                      <a:pt x="516" y="302"/>
                    </a:lnTo>
                    <a:lnTo>
                      <a:pt x="509" y="299"/>
                    </a:lnTo>
                    <a:lnTo>
                      <a:pt x="505" y="296"/>
                    </a:lnTo>
                    <a:lnTo>
                      <a:pt x="502" y="292"/>
                    </a:lnTo>
                    <a:lnTo>
                      <a:pt x="500" y="289"/>
                    </a:lnTo>
                    <a:lnTo>
                      <a:pt x="499" y="284"/>
                    </a:lnTo>
                    <a:lnTo>
                      <a:pt x="496" y="281"/>
                    </a:lnTo>
                    <a:lnTo>
                      <a:pt x="491" y="275"/>
                    </a:lnTo>
                    <a:lnTo>
                      <a:pt x="485" y="271"/>
                    </a:lnTo>
                    <a:lnTo>
                      <a:pt x="475" y="267"/>
                    </a:lnTo>
                    <a:lnTo>
                      <a:pt x="471" y="265"/>
                    </a:lnTo>
                    <a:lnTo>
                      <a:pt x="469" y="262"/>
                    </a:lnTo>
                    <a:lnTo>
                      <a:pt x="467" y="260"/>
                    </a:lnTo>
                    <a:lnTo>
                      <a:pt x="467" y="257"/>
                    </a:lnTo>
                    <a:lnTo>
                      <a:pt x="465" y="255"/>
                    </a:lnTo>
                    <a:lnTo>
                      <a:pt x="464" y="252"/>
                    </a:lnTo>
                    <a:lnTo>
                      <a:pt x="461" y="251"/>
                    </a:lnTo>
                    <a:lnTo>
                      <a:pt x="459" y="250"/>
                    </a:lnTo>
                    <a:lnTo>
                      <a:pt x="458" y="247"/>
                    </a:lnTo>
                    <a:lnTo>
                      <a:pt x="453" y="241"/>
                    </a:lnTo>
                    <a:lnTo>
                      <a:pt x="451" y="233"/>
                    </a:lnTo>
                    <a:lnTo>
                      <a:pt x="455" y="226"/>
                    </a:lnTo>
                    <a:lnTo>
                      <a:pt x="455" y="224"/>
                    </a:lnTo>
                    <a:lnTo>
                      <a:pt x="456" y="221"/>
                    </a:lnTo>
                    <a:lnTo>
                      <a:pt x="458" y="219"/>
                    </a:lnTo>
                    <a:lnTo>
                      <a:pt x="459" y="217"/>
                    </a:lnTo>
                    <a:lnTo>
                      <a:pt x="460" y="216"/>
                    </a:lnTo>
                    <a:lnTo>
                      <a:pt x="462" y="215"/>
                    </a:lnTo>
                    <a:lnTo>
                      <a:pt x="464" y="216"/>
                    </a:lnTo>
                    <a:lnTo>
                      <a:pt x="465" y="217"/>
                    </a:lnTo>
                    <a:lnTo>
                      <a:pt x="466" y="221"/>
                    </a:lnTo>
                    <a:lnTo>
                      <a:pt x="469" y="224"/>
                    </a:lnTo>
                    <a:lnTo>
                      <a:pt x="472" y="226"/>
                    </a:lnTo>
                    <a:lnTo>
                      <a:pt x="475" y="227"/>
                    </a:lnTo>
                    <a:lnTo>
                      <a:pt x="479" y="227"/>
                    </a:lnTo>
                    <a:lnTo>
                      <a:pt x="482" y="226"/>
                    </a:lnTo>
                    <a:lnTo>
                      <a:pt x="489" y="219"/>
                    </a:lnTo>
                    <a:lnTo>
                      <a:pt x="491" y="211"/>
                    </a:lnTo>
                    <a:lnTo>
                      <a:pt x="491" y="205"/>
                    </a:lnTo>
                    <a:lnTo>
                      <a:pt x="490" y="202"/>
                    </a:lnTo>
                    <a:lnTo>
                      <a:pt x="489" y="200"/>
                    </a:lnTo>
                    <a:lnTo>
                      <a:pt x="486" y="199"/>
                    </a:lnTo>
                    <a:lnTo>
                      <a:pt x="484" y="196"/>
                    </a:lnTo>
                    <a:lnTo>
                      <a:pt x="482" y="194"/>
                    </a:lnTo>
                    <a:lnTo>
                      <a:pt x="481" y="191"/>
                    </a:lnTo>
                    <a:lnTo>
                      <a:pt x="481" y="189"/>
                    </a:lnTo>
                    <a:lnTo>
                      <a:pt x="482" y="186"/>
                    </a:lnTo>
                    <a:lnTo>
                      <a:pt x="486" y="185"/>
                    </a:lnTo>
                    <a:lnTo>
                      <a:pt x="489" y="184"/>
                    </a:lnTo>
                    <a:lnTo>
                      <a:pt x="489" y="184"/>
                    </a:lnTo>
                    <a:lnTo>
                      <a:pt x="487" y="182"/>
                    </a:lnTo>
                    <a:lnTo>
                      <a:pt x="485" y="181"/>
                    </a:lnTo>
                    <a:lnTo>
                      <a:pt x="484" y="180"/>
                    </a:lnTo>
                    <a:lnTo>
                      <a:pt x="482" y="178"/>
                    </a:lnTo>
                    <a:lnTo>
                      <a:pt x="482" y="174"/>
                    </a:lnTo>
                    <a:lnTo>
                      <a:pt x="482" y="171"/>
                    </a:lnTo>
                    <a:lnTo>
                      <a:pt x="485" y="169"/>
                    </a:lnTo>
                    <a:lnTo>
                      <a:pt x="489" y="165"/>
                    </a:lnTo>
                    <a:lnTo>
                      <a:pt x="495" y="161"/>
                    </a:lnTo>
                    <a:lnTo>
                      <a:pt x="501" y="160"/>
                    </a:lnTo>
                    <a:lnTo>
                      <a:pt x="509" y="160"/>
                    </a:lnTo>
                    <a:lnTo>
                      <a:pt x="512" y="160"/>
                    </a:lnTo>
                    <a:lnTo>
                      <a:pt x="515" y="161"/>
                    </a:lnTo>
                    <a:lnTo>
                      <a:pt x="516" y="164"/>
                    </a:lnTo>
                    <a:lnTo>
                      <a:pt x="517" y="165"/>
                    </a:lnTo>
                    <a:lnTo>
                      <a:pt x="519" y="166"/>
                    </a:lnTo>
                    <a:lnTo>
                      <a:pt x="519" y="168"/>
                    </a:lnTo>
                    <a:lnTo>
                      <a:pt x="522" y="169"/>
                    </a:lnTo>
                    <a:lnTo>
                      <a:pt x="526" y="169"/>
                    </a:lnTo>
                    <a:lnTo>
                      <a:pt x="529" y="168"/>
                    </a:lnTo>
                    <a:lnTo>
                      <a:pt x="532" y="166"/>
                    </a:lnTo>
                    <a:lnTo>
                      <a:pt x="535" y="164"/>
                    </a:lnTo>
                    <a:lnTo>
                      <a:pt x="537" y="163"/>
                    </a:lnTo>
                    <a:lnTo>
                      <a:pt x="543" y="159"/>
                    </a:lnTo>
                    <a:lnTo>
                      <a:pt x="550" y="155"/>
                    </a:lnTo>
                    <a:lnTo>
                      <a:pt x="555" y="153"/>
                    </a:lnTo>
                    <a:close/>
                    <a:moveTo>
                      <a:pt x="809" y="139"/>
                    </a:moveTo>
                    <a:lnTo>
                      <a:pt x="815" y="139"/>
                    </a:lnTo>
                    <a:lnTo>
                      <a:pt x="819" y="140"/>
                    </a:lnTo>
                    <a:lnTo>
                      <a:pt x="823" y="141"/>
                    </a:lnTo>
                    <a:lnTo>
                      <a:pt x="825" y="144"/>
                    </a:lnTo>
                    <a:lnTo>
                      <a:pt x="825" y="146"/>
                    </a:lnTo>
                    <a:lnTo>
                      <a:pt x="825" y="150"/>
                    </a:lnTo>
                    <a:lnTo>
                      <a:pt x="821" y="153"/>
                    </a:lnTo>
                    <a:lnTo>
                      <a:pt x="818" y="158"/>
                    </a:lnTo>
                    <a:lnTo>
                      <a:pt x="815" y="159"/>
                    </a:lnTo>
                    <a:lnTo>
                      <a:pt x="813" y="163"/>
                    </a:lnTo>
                    <a:lnTo>
                      <a:pt x="811" y="165"/>
                    </a:lnTo>
                    <a:lnTo>
                      <a:pt x="809" y="169"/>
                    </a:lnTo>
                    <a:lnTo>
                      <a:pt x="806" y="173"/>
                    </a:lnTo>
                    <a:lnTo>
                      <a:pt x="803" y="175"/>
                    </a:lnTo>
                    <a:lnTo>
                      <a:pt x="799" y="176"/>
                    </a:lnTo>
                    <a:lnTo>
                      <a:pt x="796" y="179"/>
                    </a:lnTo>
                    <a:lnTo>
                      <a:pt x="794" y="181"/>
                    </a:lnTo>
                    <a:lnTo>
                      <a:pt x="791" y="182"/>
                    </a:lnTo>
                    <a:lnTo>
                      <a:pt x="788" y="186"/>
                    </a:lnTo>
                    <a:lnTo>
                      <a:pt x="785" y="190"/>
                    </a:lnTo>
                    <a:lnTo>
                      <a:pt x="783" y="192"/>
                    </a:lnTo>
                    <a:lnTo>
                      <a:pt x="781" y="197"/>
                    </a:lnTo>
                    <a:lnTo>
                      <a:pt x="781" y="201"/>
                    </a:lnTo>
                    <a:lnTo>
                      <a:pt x="784" y="206"/>
                    </a:lnTo>
                    <a:lnTo>
                      <a:pt x="786" y="210"/>
                    </a:lnTo>
                    <a:lnTo>
                      <a:pt x="789" y="215"/>
                    </a:lnTo>
                    <a:lnTo>
                      <a:pt x="789" y="222"/>
                    </a:lnTo>
                    <a:lnTo>
                      <a:pt x="788" y="230"/>
                    </a:lnTo>
                    <a:lnTo>
                      <a:pt x="786" y="237"/>
                    </a:lnTo>
                    <a:lnTo>
                      <a:pt x="786" y="242"/>
                    </a:lnTo>
                    <a:lnTo>
                      <a:pt x="789" y="246"/>
                    </a:lnTo>
                    <a:lnTo>
                      <a:pt x="791" y="250"/>
                    </a:lnTo>
                    <a:lnTo>
                      <a:pt x="794" y="253"/>
                    </a:lnTo>
                    <a:lnTo>
                      <a:pt x="795" y="256"/>
                    </a:lnTo>
                    <a:lnTo>
                      <a:pt x="796" y="260"/>
                    </a:lnTo>
                    <a:lnTo>
                      <a:pt x="798" y="262"/>
                    </a:lnTo>
                    <a:lnTo>
                      <a:pt x="799" y="265"/>
                    </a:lnTo>
                    <a:lnTo>
                      <a:pt x="801" y="267"/>
                    </a:lnTo>
                    <a:lnTo>
                      <a:pt x="804" y="268"/>
                    </a:lnTo>
                    <a:lnTo>
                      <a:pt x="806" y="271"/>
                    </a:lnTo>
                    <a:lnTo>
                      <a:pt x="811" y="272"/>
                    </a:lnTo>
                    <a:lnTo>
                      <a:pt x="815" y="272"/>
                    </a:lnTo>
                    <a:lnTo>
                      <a:pt x="818" y="272"/>
                    </a:lnTo>
                    <a:lnTo>
                      <a:pt x="820" y="272"/>
                    </a:lnTo>
                    <a:lnTo>
                      <a:pt x="820" y="271"/>
                    </a:lnTo>
                    <a:lnTo>
                      <a:pt x="820" y="268"/>
                    </a:lnTo>
                    <a:lnTo>
                      <a:pt x="819" y="267"/>
                    </a:lnTo>
                    <a:lnTo>
                      <a:pt x="818" y="265"/>
                    </a:lnTo>
                    <a:lnTo>
                      <a:pt x="816" y="262"/>
                    </a:lnTo>
                    <a:lnTo>
                      <a:pt x="815" y="260"/>
                    </a:lnTo>
                    <a:lnTo>
                      <a:pt x="814" y="257"/>
                    </a:lnTo>
                    <a:lnTo>
                      <a:pt x="811" y="256"/>
                    </a:lnTo>
                    <a:lnTo>
                      <a:pt x="808" y="252"/>
                    </a:lnTo>
                    <a:lnTo>
                      <a:pt x="804" y="246"/>
                    </a:lnTo>
                    <a:lnTo>
                      <a:pt x="801" y="240"/>
                    </a:lnTo>
                    <a:lnTo>
                      <a:pt x="801" y="233"/>
                    </a:lnTo>
                    <a:lnTo>
                      <a:pt x="806" y="230"/>
                    </a:lnTo>
                    <a:lnTo>
                      <a:pt x="811" y="227"/>
                    </a:lnTo>
                    <a:lnTo>
                      <a:pt x="814" y="225"/>
                    </a:lnTo>
                    <a:lnTo>
                      <a:pt x="816" y="224"/>
                    </a:lnTo>
                    <a:lnTo>
                      <a:pt x="818" y="222"/>
                    </a:lnTo>
                    <a:lnTo>
                      <a:pt x="819" y="220"/>
                    </a:lnTo>
                    <a:lnTo>
                      <a:pt x="818" y="217"/>
                    </a:lnTo>
                    <a:lnTo>
                      <a:pt x="815" y="215"/>
                    </a:lnTo>
                    <a:lnTo>
                      <a:pt x="811" y="211"/>
                    </a:lnTo>
                    <a:lnTo>
                      <a:pt x="808" y="209"/>
                    </a:lnTo>
                    <a:lnTo>
                      <a:pt x="805" y="202"/>
                    </a:lnTo>
                    <a:lnTo>
                      <a:pt x="804" y="196"/>
                    </a:lnTo>
                    <a:lnTo>
                      <a:pt x="806" y="191"/>
                    </a:lnTo>
                    <a:lnTo>
                      <a:pt x="809" y="189"/>
                    </a:lnTo>
                    <a:lnTo>
                      <a:pt x="811" y="189"/>
                    </a:lnTo>
                    <a:lnTo>
                      <a:pt x="815" y="187"/>
                    </a:lnTo>
                    <a:lnTo>
                      <a:pt x="818" y="186"/>
                    </a:lnTo>
                    <a:lnTo>
                      <a:pt x="819" y="184"/>
                    </a:lnTo>
                    <a:lnTo>
                      <a:pt x="820" y="182"/>
                    </a:lnTo>
                    <a:lnTo>
                      <a:pt x="819" y="180"/>
                    </a:lnTo>
                    <a:lnTo>
                      <a:pt x="819" y="178"/>
                    </a:lnTo>
                    <a:lnTo>
                      <a:pt x="820" y="175"/>
                    </a:lnTo>
                    <a:lnTo>
                      <a:pt x="820" y="175"/>
                    </a:lnTo>
                    <a:lnTo>
                      <a:pt x="820" y="173"/>
                    </a:lnTo>
                    <a:lnTo>
                      <a:pt x="821" y="170"/>
                    </a:lnTo>
                    <a:lnTo>
                      <a:pt x="821" y="166"/>
                    </a:lnTo>
                    <a:lnTo>
                      <a:pt x="823" y="164"/>
                    </a:lnTo>
                    <a:lnTo>
                      <a:pt x="823" y="163"/>
                    </a:lnTo>
                    <a:lnTo>
                      <a:pt x="835" y="163"/>
                    </a:lnTo>
                    <a:lnTo>
                      <a:pt x="839" y="160"/>
                    </a:lnTo>
                    <a:lnTo>
                      <a:pt x="841" y="158"/>
                    </a:lnTo>
                    <a:lnTo>
                      <a:pt x="844" y="155"/>
                    </a:lnTo>
                    <a:lnTo>
                      <a:pt x="845" y="153"/>
                    </a:lnTo>
                    <a:lnTo>
                      <a:pt x="849" y="149"/>
                    </a:lnTo>
                    <a:lnTo>
                      <a:pt x="851" y="148"/>
                    </a:lnTo>
                    <a:lnTo>
                      <a:pt x="855" y="148"/>
                    </a:lnTo>
                    <a:lnTo>
                      <a:pt x="857" y="148"/>
                    </a:lnTo>
                    <a:lnTo>
                      <a:pt x="862" y="148"/>
                    </a:lnTo>
                    <a:lnTo>
                      <a:pt x="866" y="146"/>
                    </a:lnTo>
                    <a:lnTo>
                      <a:pt x="876" y="145"/>
                    </a:lnTo>
                    <a:lnTo>
                      <a:pt x="885" y="148"/>
                    </a:lnTo>
                    <a:lnTo>
                      <a:pt x="892" y="151"/>
                    </a:lnTo>
                    <a:lnTo>
                      <a:pt x="901" y="164"/>
                    </a:lnTo>
                    <a:lnTo>
                      <a:pt x="906" y="179"/>
                    </a:lnTo>
                    <a:lnTo>
                      <a:pt x="908" y="192"/>
                    </a:lnTo>
                    <a:lnTo>
                      <a:pt x="906" y="207"/>
                    </a:lnTo>
                    <a:lnTo>
                      <a:pt x="900" y="220"/>
                    </a:lnTo>
                    <a:lnTo>
                      <a:pt x="898" y="222"/>
                    </a:lnTo>
                    <a:lnTo>
                      <a:pt x="897" y="225"/>
                    </a:lnTo>
                    <a:lnTo>
                      <a:pt x="896" y="227"/>
                    </a:lnTo>
                    <a:lnTo>
                      <a:pt x="895" y="231"/>
                    </a:lnTo>
                    <a:lnTo>
                      <a:pt x="896" y="233"/>
                    </a:lnTo>
                    <a:lnTo>
                      <a:pt x="897" y="237"/>
                    </a:lnTo>
                    <a:lnTo>
                      <a:pt x="897" y="240"/>
                    </a:lnTo>
                    <a:lnTo>
                      <a:pt x="898" y="241"/>
                    </a:lnTo>
                    <a:lnTo>
                      <a:pt x="900" y="242"/>
                    </a:lnTo>
                    <a:lnTo>
                      <a:pt x="902" y="242"/>
                    </a:lnTo>
                    <a:lnTo>
                      <a:pt x="903" y="242"/>
                    </a:lnTo>
                    <a:lnTo>
                      <a:pt x="905" y="240"/>
                    </a:lnTo>
                    <a:lnTo>
                      <a:pt x="910" y="235"/>
                    </a:lnTo>
                    <a:lnTo>
                      <a:pt x="913" y="230"/>
                    </a:lnTo>
                    <a:lnTo>
                      <a:pt x="918" y="225"/>
                    </a:lnTo>
                    <a:lnTo>
                      <a:pt x="921" y="224"/>
                    </a:lnTo>
                    <a:lnTo>
                      <a:pt x="923" y="224"/>
                    </a:lnTo>
                    <a:lnTo>
                      <a:pt x="925" y="224"/>
                    </a:lnTo>
                    <a:lnTo>
                      <a:pt x="927" y="226"/>
                    </a:lnTo>
                    <a:lnTo>
                      <a:pt x="928" y="227"/>
                    </a:lnTo>
                    <a:lnTo>
                      <a:pt x="930" y="230"/>
                    </a:lnTo>
                    <a:lnTo>
                      <a:pt x="932" y="231"/>
                    </a:lnTo>
                    <a:lnTo>
                      <a:pt x="933" y="232"/>
                    </a:lnTo>
                    <a:lnTo>
                      <a:pt x="935" y="235"/>
                    </a:lnTo>
                    <a:lnTo>
                      <a:pt x="936" y="236"/>
                    </a:lnTo>
                    <a:lnTo>
                      <a:pt x="937" y="238"/>
                    </a:lnTo>
                    <a:lnTo>
                      <a:pt x="940" y="240"/>
                    </a:lnTo>
                    <a:lnTo>
                      <a:pt x="941" y="240"/>
                    </a:lnTo>
                    <a:lnTo>
                      <a:pt x="943" y="240"/>
                    </a:lnTo>
                    <a:lnTo>
                      <a:pt x="945" y="238"/>
                    </a:lnTo>
                    <a:lnTo>
                      <a:pt x="945" y="237"/>
                    </a:lnTo>
                    <a:lnTo>
                      <a:pt x="945" y="236"/>
                    </a:lnTo>
                    <a:lnTo>
                      <a:pt x="946" y="233"/>
                    </a:lnTo>
                    <a:lnTo>
                      <a:pt x="946" y="232"/>
                    </a:lnTo>
                    <a:lnTo>
                      <a:pt x="947" y="231"/>
                    </a:lnTo>
                    <a:lnTo>
                      <a:pt x="950" y="231"/>
                    </a:lnTo>
                    <a:lnTo>
                      <a:pt x="952" y="230"/>
                    </a:lnTo>
                    <a:lnTo>
                      <a:pt x="955" y="230"/>
                    </a:lnTo>
                    <a:lnTo>
                      <a:pt x="957" y="229"/>
                    </a:lnTo>
                    <a:lnTo>
                      <a:pt x="960" y="227"/>
                    </a:lnTo>
                    <a:lnTo>
                      <a:pt x="961" y="227"/>
                    </a:lnTo>
                    <a:lnTo>
                      <a:pt x="962" y="226"/>
                    </a:lnTo>
                    <a:lnTo>
                      <a:pt x="962" y="224"/>
                    </a:lnTo>
                    <a:lnTo>
                      <a:pt x="962" y="222"/>
                    </a:lnTo>
                    <a:lnTo>
                      <a:pt x="962" y="220"/>
                    </a:lnTo>
                    <a:lnTo>
                      <a:pt x="962" y="219"/>
                    </a:lnTo>
                    <a:lnTo>
                      <a:pt x="962" y="217"/>
                    </a:lnTo>
                    <a:lnTo>
                      <a:pt x="961" y="216"/>
                    </a:lnTo>
                    <a:lnTo>
                      <a:pt x="958" y="214"/>
                    </a:lnTo>
                    <a:lnTo>
                      <a:pt x="957" y="211"/>
                    </a:lnTo>
                    <a:lnTo>
                      <a:pt x="956" y="210"/>
                    </a:lnTo>
                    <a:lnTo>
                      <a:pt x="955" y="207"/>
                    </a:lnTo>
                    <a:lnTo>
                      <a:pt x="953" y="205"/>
                    </a:lnTo>
                    <a:lnTo>
                      <a:pt x="955" y="204"/>
                    </a:lnTo>
                    <a:lnTo>
                      <a:pt x="958" y="202"/>
                    </a:lnTo>
                    <a:lnTo>
                      <a:pt x="962" y="202"/>
                    </a:lnTo>
                    <a:lnTo>
                      <a:pt x="966" y="202"/>
                    </a:lnTo>
                    <a:lnTo>
                      <a:pt x="970" y="201"/>
                    </a:lnTo>
                    <a:lnTo>
                      <a:pt x="971" y="200"/>
                    </a:lnTo>
                    <a:lnTo>
                      <a:pt x="971" y="199"/>
                    </a:lnTo>
                    <a:lnTo>
                      <a:pt x="971" y="197"/>
                    </a:lnTo>
                    <a:lnTo>
                      <a:pt x="968" y="196"/>
                    </a:lnTo>
                    <a:lnTo>
                      <a:pt x="967" y="195"/>
                    </a:lnTo>
                    <a:lnTo>
                      <a:pt x="965" y="194"/>
                    </a:lnTo>
                    <a:lnTo>
                      <a:pt x="962" y="194"/>
                    </a:lnTo>
                    <a:lnTo>
                      <a:pt x="952" y="195"/>
                    </a:lnTo>
                    <a:lnTo>
                      <a:pt x="941" y="196"/>
                    </a:lnTo>
                    <a:lnTo>
                      <a:pt x="933" y="194"/>
                    </a:lnTo>
                    <a:lnTo>
                      <a:pt x="926" y="186"/>
                    </a:lnTo>
                    <a:lnTo>
                      <a:pt x="920" y="178"/>
                    </a:lnTo>
                    <a:lnTo>
                      <a:pt x="916" y="170"/>
                    </a:lnTo>
                    <a:lnTo>
                      <a:pt x="912" y="166"/>
                    </a:lnTo>
                    <a:lnTo>
                      <a:pt x="910" y="161"/>
                    </a:lnTo>
                    <a:lnTo>
                      <a:pt x="908" y="155"/>
                    </a:lnTo>
                    <a:lnTo>
                      <a:pt x="910" y="151"/>
                    </a:lnTo>
                    <a:lnTo>
                      <a:pt x="912" y="149"/>
                    </a:lnTo>
                    <a:lnTo>
                      <a:pt x="918" y="149"/>
                    </a:lnTo>
                    <a:lnTo>
                      <a:pt x="931" y="150"/>
                    </a:lnTo>
                    <a:lnTo>
                      <a:pt x="943" y="151"/>
                    </a:lnTo>
                    <a:lnTo>
                      <a:pt x="970" y="151"/>
                    </a:lnTo>
                    <a:lnTo>
                      <a:pt x="979" y="155"/>
                    </a:lnTo>
                    <a:lnTo>
                      <a:pt x="988" y="161"/>
                    </a:lnTo>
                    <a:lnTo>
                      <a:pt x="994" y="169"/>
                    </a:lnTo>
                    <a:lnTo>
                      <a:pt x="1001" y="175"/>
                    </a:lnTo>
                    <a:lnTo>
                      <a:pt x="1003" y="179"/>
                    </a:lnTo>
                    <a:lnTo>
                      <a:pt x="1006" y="181"/>
                    </a:lnTo>
                    <a:lnTo>
                      <a:pt x="1007" y="185"/>
                    </a:lnTo>
                    <a:lnTo>
                      <a:pt x="1008" y="187"/>
                    </a:lnTo>
                    <a:lnTo>
                      <a:pt x="1008" y="190"/>
                    </a:lnTo>
                    <a:lnTo>
                      <a:pt x="1007" y="192"/>
                    </a:lnTo>
                    <a:lnTo>
                      <a:pt x="1004" y="194"/>
                    </a:lnTo>
                    <a:lnTo>
                      <a:pt x="1002" y="195"/>
                    </a:lnTo>
                    <a:lnTo>
                      <a:pt x="998" y="195"/>
                    </a:lnTo>
                    <a:lnTo>
                      <a:pt x="993" y="194"/>
                    </a:lnTo>
                    <a:lnTo>
                      <a:pt x="998" y="200"/>
                    </a:lnTo>
                    <a:lnTo>
                      <a:pt x="1006" y="206"/>
                    </a:lnTo>
                    <a:lnTo>
                      <a:pt x="1013" y="209"/>
                    </a:lnTo>
                    <a:lnTo>
                      <a:pt x="1016" y="209"/>
                    </a:lnTo>
                    <a:lnTo>
                      <a:pt x="1019" y="207"/>
                    </a:lnTo>
                    <a:lnTo>
                      <a:pt x="1023" y="207"/>
                    </a:lnTo>
                    <a:lnTo>
                      <a:pt x="1027" y="206"/>
                    </a:lnTo>
                    <a:lnTo>
                      <a:pt x="1029" y="209"/>
                    </a:lnTo>
                    <a:lnTo>
                      <a:pt x="1031" y="211"/>
                    </a:lnTo>
                    <a:lnTo>
                      <a:pt x="1032" y="212"/>
                    </a:lnTo>
                    <a:lnTo>
                      <a:pt x="1032" y="215"/>
                    </a:lnTo>
                    <a:lnTo>
                      <a:pt x="1032" y="217"/>
                    </a:lnTo>
                    <a:lnTo>
                      <a:pt x="1032" y="221"/>
                    </a:lnTo>
                    <a:lnTo>
                      <a:pt x="1031" y="226"/>
                    </a:lnTo>
                    <a:lnTo>
                      <a:pt x="1029" y="230"/>
                    </a:lnTo>
                    <a:lnTo>
                      <a:pt x="1031" y="235"/>
                    </a:lnTo>
                    <a:lnTo>
                      <a:pt x="1037" y="237"/>
                    </a:lnTo>
                    <a:lnTo>
                      <a:pt x="1042" y="238"/>
                    </a:lnTo>
                    <a:lnTo>
                      <a:pt x="1044" y="241"/>
                    </a:lnTo>
                    <a:lnTo>
                      <a:pt x="1045" y="242"/>
                    </a:lnTo>
                    <a:lnTo>
                      <a:pt x="1045" y="245"/>
                    </a:lnTo>
                    <a:lnTo>
                      <a:pt x="1045" y="247"/>
                    </a:lnTo>
                    <a:lnTo>
                      <a:pt x="1044" y="248"/>
                    </a:lnTo>
                    <a:lnTo>
                      <a:pt x="1042" y="251"/>
                    </a:lnTo>
                    <a:lnTo>
                      <a:pt x="1039" y="253"/>
                    </a:lnTo>
                    <a:lnTo>
                      <a:pt x="1038" y="255"/>
                    </a:lnTo>
                    <a:lnTo>
                      <a:pt x="1037" y="257"/>
                    </a:lnTo>
                    <a:lnTo>
                      <a:pt x="1037" y="260"/>
                    </a:lnTo>
                    <a:lnTo>
                      <a:pt x="1037" y="262"/>
                    </a:lnTo>
                    <a:lnTo>
                      <a:pt x="1038" y="265"/>
                    </a:lnTo>
                    <a:lnTo>
                      <a:pt x="1039" y="267"/>
                    </a:lnTo>
                    <a:lnTo>
                      <a:pt x="1041" y="268"/>
                    </a:lnTo>
                    <a:lnTo>
                      <a:pt x="1043" y="268"/>
                    </a:lnTo>
                    <a:lnTo>
                      <a:pt x="1044" y="266"/>
                    </a:lnTo>
                    <a:lnTo>
                      <a:pt x="1050" y="262"/>
                    </a:lnTo>
                    <a:lnTo>
                      <a:pt x="1055" y="258"/>
                    </a:lnTo>
                    <a:lnTo>
                      <a:pt x="1063" y="256"/>
                    </a:lnTo>
                    <a:lnTo>
                      <a:pt x="1068" y="257"/>
                    </a:lnTo>
                    <a:lnTo>
                      <a:pt x="1069" y="261"/>
                    </a:lnTo>
                    <a:lnTo>
                      <a:pt x="1068" y="266"/>
                    </a:lnTo>
                    <a:lnTo>
                      <a:pt x="1067" y="272"/>
                    </a:lnTo>
                    <a:lnTo>
                      <a:pt x="1064" y="277"/>
                    </a:lnTo>
                    <a:lnTo>
                      <a:pt x="1064" y="281"/>
                    </a:lnTo>
                    <a:lnTo>
                      <a:pt x="1068" y="282"/>
                    </a:lnTo>
                    <a:lnTo>
                      <a:pt x="1069" y="278"/>
                    </a:lnTo>
                    <a:lnTo>
                      <a:pt x="1070" y="275"/>
                    </a:lnTo>
                    <a:lnTo>
                      <a:pt x="1072" y="272"/>
                    </a:lnTo>
                    <a:lnTo>
                      <a:pt x="1074" y="270"/>
                    </a:lnTo>
                    <a:lnTo>
                      <a:pt x="1077" y="268"/>
                    </a:lnTo>
                    <a:lnTo>
                      <a:pt x="1082" y="266"/>
                    </a:lnTo>
                    <a:lnTo>
                      <a:pt x="1090" y="265"/>
                    </a:lnTo>
                    <a:lnTo>
                      <a:pt x="1100" y="266"/>
                    </a:lnTo>
                    <a:lnTo>
                      <a:pt x="1109" y="268"/>
                    </a:lnTo>
                    <a:lnTo>
                      <a:pt x="1117" y="273"/>
                    </a:lnTo>
                    <a:lnTo>
                      <a:pt x="1121" y="282"/>
                    </a:lnTo>
                    <a:lnTo>
                      <a:pt x="1123" y="289"/>
                    </a:lnTo>
                    <a:lnTo>
                      <a:pt x="1119" y="292"/>
                    </a:lnTo>
                    <a:lnTo>
                      <a:pt x="1114" y="294"/>
                    </a:lnTo>
                    <a:lnTo>
                      <a:pt x="1109" y="294"/>
                    </a:lnTo>
                    <a:lnTo>
                      <a:pt x="1107" y="296"/>
                    </a:lnTo>
                    <a:lnTo>
                      <a:pt x="1103" y="297"/>
                    </a:lnTo>
                    <a:lnTo>
                      <a:pt x="1102" y="298"/>
                    </a:lnTo>
                    <a:lnTo>
                      <a:pt x="1099" y="301"/>
                    </a:lnTo>
                    <a:lnTo>
                      <a:pt x="1098" y="301"/>
                    </a:lnTo>
                    <a:lnTo>
                      <a:pt x="1097" y="302"/>
                    </a:lnTo>
                    <a:lnTo>
                      <a:pt x="1097" y="304"/>
                    </a:lnTo>
                    <a:lnTo>
                      <a:pt x="1097" y="306"/>
                    </a:lnTo>
                    <a:lnTo>
                      <a:pt x="1097" y="308"/>
                    </a:lnTo>
                    <a:lnTo>
                      <a:pt x="1098" y="309"/>
                    </a:lnTo>
                    <a:lnTo>
                      <a:pt x="1100" y="309"/>
                    </a:lnTo>
                    <a:lnTo>
                      <a:pt x="1103" y="309"/>
                    </a:lnTo>
                    <a:lnTo>
                      <a:pt x="1105" y="308"/>
                    </a:lnTo>
                    <a:lnTo>
                      <a:pt x="1107" y="308"/>
                    </a:lnTo>
                    <a:lnTo>
                      <a:pt x="1107" y="308"/>
                    </a:lnTo>
                    <a:lnTo>
                      <a:pt x="1112" y="306"/>
                    </a:lnTo>
                    <a:lnTo>
                      <a:pt x="1118" y="304"/>
                    </a:lnTo>
                    <a:lnTo>
                      <a:pt x="1124" y="303"/>
                    </a:lnTo>
                    <a:lnTo>
                      <a:pt x="1129" y="303"/>
                    </a:lnTo>
                    <a:lnTo>
                      <a:pt x="1133" y="308"/>
                    </a:lnTo>
                    <a:lnTo>
                      <a:pt x="1133" y="309"/>
                    </a:lnTo>
                    <a:lnTo>
                      <a:pt x="1133" y="312"/>
                    </a:lnTo>
                    <a:lnTo>
                      <a:pt x="1134" y="314"/>
                    </a:lnTo>
                    <a:lnTo>
                      <a:pt x="1135" y="316"/>
                    </a:lnTo>
                    <a:lnTo>
                      <a:pt x="1136" y="317"/>
                    </a:lnTo>
                    <a:lnTo>
                      <a:pt x="1139" y="317"/>
                    </a:lnTo>
                    <a:lnTo>
                      <a:pt x="1143" y="317"/>
                    </a:lnTo>
                    <a:lnTo>
                      <a:pt x="1145" y="316"/>
                    </a:lnTo>
                    <a:lnTo>
                      <a:pt x="1161" y="316"/>
                    </a:lnTo>
                    <a:lnTo>
                      <a:pt x="1179" y="318"/>
                    </a:lnTo>
                    <a:lnTo>
                      <a:pt x="1181" y="328"/>
                    </a:lnTo>
                    <a:lnTo>
                      <a:pt x="1179" y="335"/>
                    </a:lnTo>
                    <a:lnTo>
                      <a:pt x="1173" y="342"/>
                    </a:lnTo>
                    <a:lnTo>
                      <a:pt x="1164" y="347"/>
                    </a:lnTo>
                    <a:lnTo>
                      <a:pt x="1159" y="348"/>
                    </a:lnTo>
                    <a:lnTo>
                      <a:pt x="1156" y="350"/>
                    </a:lnTo>
                    <a:lnTo>
                      <a:pt x="1153" y="352"/>
                    </a:lnTo>
                    <a:lnTo>
                      <a:pt x="1151" y="354"/>
                    </a:lnTo>
                    <a:lnTo>
                      <a:pt x="1151" y="358"/>
                    </a:lnTo>
                    <a:lnTo>
                      <a:pt x="1151" y="360"/>
                    </a:lnTo>
                    <a:lnTo>
                      <a:pt x="1151" y="363"/>
                    </a:lnTo>
                    <a:lnTo>
                      <a:pt x="1151" y="365"/>
                    </a:lnTo>
                    <a:lnTo>
                      <a:pt x="1154" y="367"/>
                    </a:lnTo>
                    <a:lnTo>
                      <a:pt x="1156" y="368"/>
                    </a:lnTo>
                    <a:lnTo>
                      <a:pt x="1163" y="367"/>
                    </a:lnTo>
                    <a:lnTo>
                      <a:pt x="1168" y="363"/>
                    </a:lnTo>
                    <a:lnTo>
                      <a:pt x="1171" y="358"/>
                    </a:lnTo>
                    <a:lnTo>
                      <a:pt x="1175" y="352"/>
                    </a:lnTo>
                    <a:lnTo>
                      <a:pt x="1179" y="347"/>
                    </a:lnTo>
                    <a:lnTo>
                      <a:pt x="1189" y="344"/>
                    </a:lnTo>
                    <a:lnTo>
                      <a:pt x="1197" y="345"/>
                    </a:lnTo>
                    <a:lnTo>
                      <a:pt x="1207" y="350"/>
                    </a:lnTo>
                    <a:lnTo>
                      <a:pt x="1212" y="358"/>
                    </a:lnTo>
                    <a:lnTo>
                      <a:pt x="1212" y="360"/>
                    </a:lnTo>
                    <a:lnTo>
                      <a:pt x="1212" y="363"/>
                    </a:lnTo>
                    <a:lnTo>
                      <a:pt x="1212" y="364"/>
                    </a:lnTo>
                    <a:lnTo>
                      <a:pt x="1211" y="367"/>
                    </a:lnTo>
                    <a:lnTo>
                      <a:pt x="1210" y="368"/>
                    </a:lnTo>
                    <a:lnTo>
                      <a:pt x="1207" y="368"/>
                    </a:lnTo>
                    <a:lnTo>
                      <a:pt x="1204" y="369"/>
                    </a:lnTo>
                    <a:lnTo>
                      <a:pt x="1202" y="372"/>
                    </a:lnTo>
                    <a:lnTo>
                      <a:pt x="1201" y="375"/>
                    </a:lnTo>
                    <a:lnTo>
                      <a:pt x="1202" y="378"/>
                    </a:lnTo>
                    <a:lnTo>
                      <a:pt x="1205" y="380"/>
                    </a:lnTo>
                    <a:lnTo>
                      <a:pt x="1210" y="384"/>
                    </a:lnTo>
                    <a:lnTo>
                      <a:pt x="1217" y="385"/>
                    </a:lnTo>
                    <a:lnTo>
                      <a:pt x="1224" y="388"/>
                    </a:lnTo>
                    <a:lnTo>
                      <a:pt x="1229" y="391"/>
                    </a:lnTo>
                    <a:lnTo>
                      <a:pt x="1229" y="396"/>
                    </a:lnTo>
                    <a:lnTo>
                      <a:pt x="1226" y="398"/>
                    </a:lnTo>
                    <a:lnTo>
                      <a:pt x="1221" y="396"/>
                    </a:lnTo>
                    <a:lnTo>
                      <a:pt x="1214" y="395"/>
                    </a:lnTo>
                    <a:lnTo>
                      <a:pt x="1207" y="394"/>
                    </a:lnTo>
                    <a:lnTo>
                      <a:pt x="1202" y="394"/>
                    </a:lnTo>
                    <a:lnTo>
                      <a:pt x="1200" y="394"/>
                    </a:lnTo>
                    <a:lnTo>
                      <a:pt x="1197" y="394"/>
                    </a:lnTo>
                    <a:lnTo>
                      <a:pt x="1195" y="394"/>
                    </a:lnTo>
                    <a:lnTo>
                      <a:pt x="1192" y="395"/>
                    </a:lnTo>
                    <a:lnTo>
                      <a:pt x="1189" y="395"/>
                    </a:lnTo>
                    <a:lnTo>
                      <a:pt x="1188" y="396"/>
                    </a:lnTo>
                    <a:lnTo>
                      <a:pt x="1186" y="399"/>
                    </a:lnTo>
                    <a:lnTo>
                      <a:pt x="1188" y="401"/>
                    </a:lnTo>
                    <a:lnTo>
                      <a:pt x="1192" y="408"/>
                    </a:lnTo>
                    <a:lnTo>
                      <a:pt x="1196" y="414"/>
                    </a:lnTo>
                    <a:lnTo>
                      <a:pt x="1197" y="423"/>
                    </a:lnTo>
                    <a:lnTo>
                      <a:pt x="1197" y="426"/>
                    </a:lnTo>
                    <a:lnTo>
                      <a:pt x="1197" y="430"/>
                    </a:lnTo>
                    <a:lnTo>
                      <a:pt x="1199" y="434"/>
                    </a:lnTo>
                    <a:lnTo>
                      <a:pt x="1201" y="437"/>
                    </a:lnTo>
                    <a:lnTo>
                      <a:pt x="1205" y="441"/>
                    </a:lnTo>
                    <a:lnTo>
                      <a:pt x="1221" y="449"/>
                    </a:lnTo>
                    <a:lnTo>
                      <a:pt x="1226" y="452"/>
                    </a:lnTo>
                    <a:lnTo>
                      <a:pt x="1231" y="457"/>
                    </a:lnTo>
                    <a:lnTo>
                      <a:pt x="1235" y="462"/>
                    </a:lnTo>
                    <a:lnTo>
                      <a:pt x="1239" y="466"/>
                    </a:lnTo>
                    <a:lnTo>
                      <a:pt x="1250" y="474"/>
                    </a:lnTo>
                    <a:lnTo>
                      <a:pt x="1262" y="478"/>
                    </a:lnTo>
                    <a:lnTo>
                      <a:pt x="1276" y="481"/>
                    </a:lnTo>
                    <a:lnTo>
                      <a:pt x="1288" y="487"/>
                    </a:lnTo>
                    <a:lnTo>
                      <a:pt x="1292" y="493"/>
                    </a:lnTo>
                    <a:lnTo>
                      <a:pt x="1293" y="501"/>
                    </a:lnTo>
                    <a:lnTo>
                      <a:pt x="1296" y="507"/>
                    </a:lnTo>
                    <a:lnTo>
                      <a:pt x="1301" y="511"/>
                    </a:lnTo>
                    <a:lnTo>
                      <a:pt x="1307" y="515"/>
                    </a:lnTo>
                    <a:lnTo>
                      <a:pt x="1312" y="521"/>
                    </a:lnTo>
                    <a:lnTo>
                      <a:pt x="1317" y="527"/>
                    </a:lnTo>
                    <a:lnTo>
                      <a:pt x="1322" y="529"/>
                    </a:lnTo>
                    <a:lnTo>
                      <a:pt x="1330" y="528"/>
                    </a:lnTo>
                    <a:lnTo>
                      <a:pt x="1337" y="526"/>
                    </a:lnTo>
                    <a:lnTo>
                      <a:pt x="1344" y="524"/>
                    </a:lnTo>
                    <a:lnTo>
                      <a:pt x="1352" y="527"/>
                    </a:lnTo>
                    <a:lnTo>
                      <a:pt x="1358" y="534"/>
                    </a:lnTo>
                    <a:lnTo>
                      <a:pt x="1359" y="546"/>
                    </a:lnTo>
                    <a:lnTo>
                      <a:pt x="1356" y="556"/>
                    </a:lnTo>
                    <a:lnTo>
                      <a:pt x="1349" y="566"/>
                    </a:lnTo>
                    <a:lnTo>
                      <a:pt x="1342" y="573"/>
                    </a:lnTo>
                    <a:lnTo>
                      <a:pt x="1338" y="584"/>
                    </a:lnTo>
                    <a:lnTo>
                      <a:pt x="1335" y="594"/>
                    </a:lnTo>
                    <a:lnTo>
                      <a:pt x="1335" y="595"/>
                    </a:lnTo>
                    <a:lnTo>
                      <a:pt x="1335" y="598"/>
                    </a:lnTo>
                    <a:lnTo>
                      <a:pt x="1335" y="600"/>
                    </a:lnTo>
                    <a:lnTo>
                      <a:pt x="1333" y="603"/>
                    </a:lnTo>
                    <a:lnTo>
                      <a:pt x="1333" y="604"/>
                    </a:lnTo>
                    <a:lnTo>
                      <a:pt x="1331" y="605"/>
                    </a:lnTo>
                    <a:lnTo>
                      <a:pt x="1330" y="604"/>
                    </a:lnTo>
                    <a:lnTo>
                      <a:pt x="1325" y="603"/>
                    </a:lnTo>
                    <a:lnTo>
                      <a:pt x="1321" y="602"/>
                    </a:lnTo>
                    <a:lnTo>
                      <a:pt x="1318" y="600"/>
                    </a:lnTo>
                    <a:lnTo>
                      <a:pt x="1316" y="600"/>
                    </a:lnTo>
                    <a:lnTo>
                      <a:pt x="1315" y="602"/>
                    </a:lnTo>
                    <a:lnTo>
                      <a:pt x="1313" y="604"/>
                    </a:lnTo>
                    <a:lnTo>
                      <a:pt x="1313" y="607"/>
                    </a:lnTo>
                    <a:lnTo>
                      <a:pt x="1313" y="613"/>
                    </a:lnTo>
                    <a:lnTo>
                      <a:pt x="1315" y="615"/>
                    </a:lnTo>
                    <a:lnTo>
                      <a:pt x="1315" y="618"/>
                    </a:lnTo>
                    <a:lnTo>
                      <a:pt x="1315" y="621"/>
                    </a:lnTo>
                    <a:lnTo>
                      <a:pt x="1315" y="624"/>
                    </a:lnTo>
                    <a:lnTo>
                      <a:pt x="1315" y="626"/>
                    </a:lnTo>
                    <a:lnTo>
                      <a:pt x="1313" y="629"/>
                    </a:lnTo>
                    <a:lnTo>
                      <a:pt x="1312" y="630"/>
                    </a:lnTo>
                    <a:lnTo>
                      <a:pt x="1311" y="630"/>
                    </a:lnTo>
                    <a:lnTo>
                      <a:pt x="1308" y="630"/>
                    </a:lnTo>
                    <a:lnTo>
                      <a:pt x="1305" y="628"/>
                    </a:lnTo>
                    <a:lnTo>
                      <a:pt x="1301" y="625"/>
                    </a:lnTo>
                    <a:lnTo>
                      <a:pt x="1293" y="620"/>
                    </a:lnTo>
                    <a:lnTo>
                      <a:pt x="1285" y="615"/>
                    </a:lnTo>
                    <a:lnTo>
                      <a:pt x="1277" y="609"/>
                    </a:lnTo>
                    <a:lnTo>
                      <a:pt x="1272" y="602"/>
                    </a:lnTo>
                    <a:lnTo>
                      <a:pt x="1272" y="595"/>
                    </a:lnTo>
                    <a:lnTo>
                      <a:pt x="1275" y="589"/>
                    </a:lnTo>
                    <a:lnTo>
                      <a:pt x="1278" y="585"/>
                    </a:lnTo>
                    <a:lnTo>
                      <a:pt x="1283" y="582"/>
                    </a:lnTo>
                    <a:lnTo>
                      <a:pt x="1286" y="578"/>
                    </a:lnTo>
                    <a:lnTo>
                      <a:pt x="1286" y="573"/>
                    </a:lnTo>
                    <a:lnTo>
                      <a:pt x="1282" y="571"/>
                    </a:lnTo>
                    <a:lnTo>
                      <a:pt x="1276" y="572"/>
                    </a:lnTo>
                    <a:lnTo>
                      <a:pt x="1268" y="573"/>
                    </a:lnTo>
                    <a:lnTo>
                      <a:pt x="1260" y="574"/>
                    </a:lnTo>
                    <a:lnTo>
                      <a:pt x="1255" y="573"/>
                    </a:lnTo>
                    <a:lnTo>
                      <a:pt x="1249" y="566"/>
                    </a:lnTo>
                    <a:lnTo>
                      <a:pt x="1241" y="558"/>
                    </a:lnTo>
                    <a:lnTo>
                      <a:pt x="1234" y="552"/>
                    </a:lnTo>
                    <a:lnTo>
                      <a:pt x="1230" y="553"/>
                    </a:lnTo>
                    <a:lnTo>
                      <a:pt x="1229" y="559"/>
                    </a:lnTo>
                    <a:lnTo>
                      <a:pt x="1229" y="567"/>
                    </a:lnTo>
                    <a:lnTo>
                      <a:pt x="1230" y="573"/>
                    </a:lnTo>
                    <a:lnTo>
                      <a:pt x="1229" y="578"/>
                    </a:lnTo>
                    <a:lnTo>
                      <a:pt x="1226" y="580"/>
                    </a:lnTo>
                    <a:lnTo>
                      <a:pt x="1222" y="578"/>
                    </a:lnTo>
                    <a:lnTo>
                      <a:pt x="1217" y="575"/>
                    </a:lnTo>
                    <a:lnTo>
                      <a:pt x="1212" y="572"/>
                    </a:lnTo>
                    <a:lnTo>
                      <a:pt x="1207" y="568"/>
                    </a:lnTo>
                    <a:lnTo>
                      <a:pt x="1202" y="568"/>
                    </a:lnTo>
                    <a:lnTo>
                      <a:pt x="1206" y="578"/>
                    </a:lnTo>
                    <a:lnTo>
                      <a:pt x="1211" y="588"/>
                    </a:lnTo>
                    <a:lnTo>
                      <a:pt x="1219" y="598"/>
                    </a:lnTo>
                    <a:lnTo>
                      <a:pt x="1229" y="604"/>
                    </a:lnTo>
                    <a:lnTo>
                      <a:pt x="1235" y="612"/>
                    </a:lnTo>
                    <a:lnTo>
                      <a:pt x="1240" y="621"/>
                    </a:lnTo>
                    <a:lnTo>
                      <a:pt x="1245" y="630"/>
                    </a:lnTo>
                    <a:lnTo>
                      <a:pt x="1252" y="638"/>
                    </a:lnTo>
                    <a:lnTo>
                      <a:pt x="1256" y="640"/>
                    </a:lnTo>
                    <a:lnTo>
                      <a:pt x="1261" y="643"/>
                    </a:lnTo>
                    <a:lnTo>
                      <a:pt x="1266" y="645"/>
                    </a:lnTo>
                    <a:lnTo>
                      <a:pt x="1270" y="649"/>
                    </a:lnTo>
                    <a:lnTo>
                      <a:pt x="1273" y="653"/>
                    </a:lnTo>
                    <a:lnTo>
                      <a:pt x="1275" y="656"/>
                    </a:lnTo>
                    <a:lnTo>
                      <a:pt x="1276" y="661"/>
                    </a:lnTo>
                    <a:lnTo>
                      <a:pt x="1277" y="666"/>
                    </a:lnTo>
                    <a:lnTo>
                      <a:pt x="1285" y="676"/>
                    </a:lnTo>
                    <a:lnTo>
                      <a:pt x="1292" y="685"/>
                    </a:lnTo>
                    <a:lnTo>
                      <a:pt x="1300" y="694"/>
                    </a:lnTo>
                    <a:lnTo>
                      <a:pt x="1303" y="706"/>
                    </a:lnTo>
                    <a:lnTo>
                      <a:pt x="1302" y="711"/>
                    </a:lnTo>
                    <a:lnTo>
                      <a:pt x="1301" y="716"/>
                    </a:lnTo>
                    <a:lnTo>
                      <a:pt x="1300" y="721"/>
                    </a:lnTo>
                    <a:lnTo>
                      <a:pt x="1301" y="727"/>
                    </a:lnTo>
                    <a:lnTo>
                      <a:pt x="1302" y="733"/>
                    </a:lnTo>
                    <a:lnTo>
                      <a:pt x="1302" y="741"/>
                    </a:lnTo>
                    <a:lnTo>
                      <a:pt x="1298" y="747"/>
                    </a:lnTo>
                    <a:lnTo>
                      <a:pt x="1290" y="750"/>
                    </a:lnTo>
                    <a:lnTo>
                      <a:pt x="1280" y="750"/>
                    </a:lnTo>
                    <a:lnTo>
                      <a:pt x="1270" y="745"/>
                    </a:lnTo>
                    <a:lnTo>
                      <a:pt x="1261" y="740"/>
                    </a:lnTo>
                    <a:lnTo>
                      <a:pt x="1255" y="732"/>
                    </a:lnTo>
                    <a:lnTo>
                      <a:pt x="1251" y="727"/>
                    </a:lnTo>
                    <a:lnTo>
                      <a:pt x="1245" y="720"/>
                    </a:lnTo>
                    <a:lnTo>
                      <a:pt x="1235" y="712"/>
                    </a:lnTo>
                    <a:lnTo>
                      <a:pt x="1225" y="705"/>
                    </a:lnTo>
                    <a:lnTo>
                      <a:pt x="1215" y="699"/>
                    </a:lnTo>
                    <a:lnTo>
                      <a:pt x="1206" y="695"/>
                    </a:lnTo>
                    <a:lnTo>
                      <a:pt x="1200" y="695"/>
                    </a:lnTo>
                    <a:lnTo>
                      <a:pt x="1202" y="707"/>
                    </a:lnTo>
                    <a:lnTo>
                      <a:pt x="1207" y="716"/>
                    </a:lnTo>
                    <a:lnTo>
                      <a:pt x="1215" y="725"/>
                    </a:lnTo>
                    <a:lnTo>
                      <a:pt x="1226" y="732"/>
                    </a:lnTo>
                    <a:lnTo>
                      <a:pt x="1239" y="742"/>
                    </a:lnTo>
                    <a:lnTo>
                      <a:pt x="1250" y="752"/>
                    </a:lnTo>
                    <a:lnTo>
                      <a:pt x="1260" y="766"/>
                    </a:lnTo>
                    <a:lnTo>
                      <a:pt x="1261" y="769"/>
                    </a:lnTo>
                    <a:lnTo>
                      <a:pt x="1261" y="773"/>
                    </a:lnTo>
                    <a:lnTo>
                      <a:pt x="1261" y="777"/>
                    </a:lnTo>
                    <a:lnTo>
                      <a:pt x="1261" y="779"/>
                    </a:lnTo>
                    <a:lnTo>
                      <a:pt x="1259" y="782"/>
                    </a:lnTo>
                    <a:lnTo>
                      <a:pt x="1257" y="784"/>
                    </a:lnTo>
                    <a:lnTo>
                      <a:pt x="1251" y="786"/>
                    </a:lnTo>
                    <a:lnTo>
                      <a:pt x="1244" y="783"/>
                    </a:lnTo>
                    <a:lnTo>
                      <a:pt x="1237" y="779"/>
                    </a:lnTo>
                    <a:lnTo>
                      <a:pt x="1231" y="776"/>
                    </a:lnTo>
                    <a:lnTo>
                      <a:pt x="1222" y="773"/>
                    </a:lnTo>
                    <a:lnTo>
                      <a:pt x="1214" y="769"/>
                    </a:lnTo>
                    <a:lnTo>
                      <a:pt x="1205" y="763"/>
                    </a:lnTo>
                    <a:lnTo>
                      <a:pt x="1189" y="747"/>
                    </a:lnTo>
                    <a:lnTo>
                      <a:pt x="1183" y="742"/>
                    </a:lnTo>
                    <a:lnTo>
                      <a:pt x="1174" y="741"/>
                    </a:lnTo>
                    <a:lnTo>
                      <a:pt x="1166" y="740"/>
                    </a:lnTo>
                    <a:lnTo>
                      <a:pt x="1164" y="737"/>
                    </a:lnTo>
                    <a:lnTo>
                      <a:pt x="1161" y="735"/>
                    </a:lnTo>
                    <a:lnTo>
                      <a:pt x="1159" y="732"/>
                    </a:lnTo>
                    <a:lnTo>
                      <a:pt x="1158" y="730"/>
                    </a:lnTo>
                    <a:lnTo>
                      <a:pt x="1155" y="728"/>
                    </a:lnTo>
                    <a:lnTo>
                      <a:pt x="1153" y="727"/>
                    </a:lnTo>
                    <a:lnTo>
                      <a:pt x="1149" y="727"/>
                    </a:lnTo>
                    <a:lnTo>
                      <a:pt x="1140" y="725"/>
                    </a:lnTo>
                    <a:lnTo>
                      <a:pt x="1135" y="720"/>
                    </a:lnTo>
                    <a:lnTo>
                      <a:pt x="1131" y="712"/>
                    </a:lnTo>
                    <a:lnTo>
                      <a:pt x="1130" y="705"/>
                    </a:lnTo>
                    <a:lnTo>
                      <a:pt x="1130" y="699"/>
                    </a:lnTo>
                    <a:lnTo>
                      <a:pt x="1130" y="695"/>
                    </a:lnTo>
                    <a:lnTo>
                      <a:pt x="1129" y="694"/>
                    </a:lnTo>
                    <a:lnTo>
                      <a:pt x="1126" y="692"/>
                    </a:lnTo>
                    <a:lnTo>
                      <a:pt x="1124" y="692"/>
                    </a:lnTo>
                    <a:lnTo>
                      <a:pt x="1121" y="691"/>
                    </a:lnTo>
                    <a:lnTo>
                      <a:pt x="1119" y="691"/>
                    </a:lnTo>
                    <a:lnTo>
                      <a:pt x="1118" y="690"/>
                    </a:lnTo>
                    <a:lnTo>
                      <a:pt x="1113" y="686"/>
                    </a:lnTo>
                    <a:lnTo>
                      <a:pt x="1109" y="681"/>
                    </a:lnTo>
                    <a:lnTo>
                      <a:pt x="1105" y="675"/>
                    </a:lnTo>
                    <a:lnTo>
                      <a:pt x="1102" y="670"/>
                    </a:lnTo>
                    <a:lnTo>
                      <a:pt x="1099" y="665"/>
                    </a:lnTo>
                    <a:lnTo>
                      <a:pt x="1097" y="661"/>
                    </a:lnTo>
                    <a:lnTo>
                      <a:pt x="1093" y="659"/>
                    </a:lnTo>
                    <a:lnTo>
                      <a:pt x="1088" y="656"/>
                    </a:lnTo>
                    <a:lnTo>
                      <a:pt x="1084" y="654"/>
                    </a:lnTo>
                    <a:lnTo>
                      <a:pt x="1080" y="651"/>
                    </a:lnTo>
                    <a:lnTo>
                      <a:pt x="1078" y="650"/>
                    </a:lnTo>
                    <a:lnTo>
                      <a:pt x="1075" y="650"/>
                    </a:lnTo>
                    <a:lnTo>
                      <a:pt x="1074" y="650"/>
                    </a:lnTo>
                    <a:lnTo>
                      <a:pt x="1072" y="651"/>
                    </a:lnTo>
                    <a:lnTo>
                      <a:pt x="1068" y="654"/>
                    </a:lnTo>
                    <a:lnTo>
                      <a:pt x="1063" y="654"/>
                    </a:lnTo>
                    <a:lnTo>
                      <a:pt x="1057" y="651"/>
                    </a:lnTo>
                    <a:lnTo>
                      <a:pt x="1050" y="649"/>
                    </a:lnTo>
                    <a:lnTo>
                      <a:pt x="1044" y="645"/>
                    </a:lnTo>
                    <a:lnTo>
                      <a:pt x="1039" y="645"/>
                    </a:lnTo>
                    <a:lnTo>
                      <a:pt x="1037" y="649"/>
                    </a:lnTo>
                    <a:lnTo>
                      <a:pt x="1036" y="651"/>
                    </a:lnTo>
                    <a:lnTo>
                      <a:pt x="1036" y="654"/>
                    </a:lnTo>
                    <a:lnTo>
                      <a:pt x="1036" y="656"/>
                    </a:lnTo>
                    <a:lnTo>
                      <a:pt x="1036" y="658"/>
                    </a:lnTo>
                    <a:lnTo>
                      <a:pt x="1034" y="659"/>
                    </a:lnTo>
                    <a:lnTo>
                      <a:pt x="1032" y="659"/>
                    </a:lnTo>
                    <a:lnTo>
                      <a:pt x="1029" y="660"/>
                    </a:lnTo>
                    <a:lnTo>
                      <a:pt x="1027" y="660"/>
                    </a:lnTo>
                    <a:lnTo>
                      <a:pt x="1024" y="660"/>
                    </a:lnTo>
                    <a:lnTo>
                      <a:pt x="1022" y="660"/>
                    </a:lnTo>
                    <a:lnTo>
                      <a:pt x="1019" y="660"/>
                    </a:lnTo>
                    <a:lnTo>
                      <a:pt x="1017" y="661"/>
                    </a:lnTo>
                    <a:lnTo>
                      <a:pt x="1013" y="664"/>
                    </a:lnTo>
                    <a:lnTo>
                      <a:pt x="1007" y="666"/>
                    </a:lnTo>
                    <a:lnTo>
                      <a:pt x="998" y="664"/>
                    </a:lnTo>
                    <a:lnTo>
                      <a:pt x="989" y="660"/>
                    </a:lnTo>
                    <a:lnTo>
                      <a:pt x="982" y="654"/>
                    </a:lnTo>
                    <a:lnTo>
                      <a:pt x="977" y="649"/>
                    </a:lnTo>
                    <a:lnTo>
                      <a:pt x="977" y="638"/>
                    </a:lnTo>
                    <a:lnTo>
                      <a:pt x="981" y="628"/>
                    </a:lnTo>
                    <a:lnTo>
                      <a:pt x="984" y="618"/>
                    </a:lnTo>
                    <a:lnTo>
                      <a:pt x="988" y="607"/>
                    </a:lnTo>
                    <a:lnTo>
                      <a:pt x="992" y="600"/>
                    </a:lnTo>
                    <a:lnTo>
                      <a:pt x="998" y="599"/>
                    </a:lnTo>
                    <a:lnTo>
                      <a:pt x="1006" y="599"/>
                    </a:lnTo>
                    <a:lnTo>
                      <a:pt x="1013" y="602"/>
                    </a:lnTo>
                    <a:lnTo>
                      <a:pt x="1022" y="604"/>
                    </a:lnTo>
                    <a:lnTo>
                      <a:pt x="1033" y="605"/>
                    </a:lnTo>
                    <a:lnTo>
                      <a:pt x="1047" y="605"/>
                    </a:lnTo>
                    <a:lnTo>
                      <a:pt x="1062" y="604"/>
                    </a:lnTo>
                    <a:lnTo>
                      <a:pt x="1073" y="599"/>
                    </a:lnTo>
                    <a:lnTo>
                      <a:pt x="1075" y="598"/>
                    </a:lnTo>
                    <a:lnTo>
                      <a:pt x="1078" y="595"/>
                    </a:lnTo>
                    <a:lnTo>
                      <a:pt x="1078" y="593"/>
                    </a:lnTo>
                    <a:lnTo>
                      <a:pt x="1078" y="589"/>
                    </a:lnTo>
                    <a:lnTo>
                      <a:pt x="1078" y="587"/>
                    </a:lnTo>
                    <a:lnTo>
                      <a:pt x="1078" y="582"/>
                    </a:lnTo>
                    <a:lnTo>
                      <a:pt x="1077" y="579"/>
                    </a:lnTo>
                    <a:lnTo>
                      <a:pt x="1074" y="575"/>
                    </a:lnTo>
                    <a:lnTo>
                      <a:pt x="1072" y="573"/>
                    </a:lnTo>
                    <a:lnTo>
                      <a:pt x="1068" y="571"/>
                    </a:lnTo>
                    <a:lnTo>
                      <a:pt x="1065" y="566"/>
                    </a:lnTo>
                    <a:lnTo>
                      <a:pt x="1067" y="559"/>
                    </a:lnTo>
                    <a:lnTo>
                      <a:pt x="1072" y="554"/>
                    </a:lnTo>
                    <a:lnTo>
                      <a:pt x="1077" y="548"/>
                    </a:lnTo>
                    <a:lnTo>
                      <a:pt x="1082" y="544"/>
                    </a:lnTo>
                    <a:lnTo>
                      <a:pt x="1087" y="541"/>
                    </a:lnTo>
                    <a:lnTo>
                      <a:pt x="1094" y="541"/>
                    </a:lnTo>
                    <a:lnTo>
                      <a:pt x="1100" y="542"/>
                    </a:lnTo>
                    <a:lnTo>
                      <a:pt x="1107" y="542"/>
                    </a:lnTo>
                    <a:lnTo>
                      <a:pt x="1114" y="542"/>
                    </a:lnTo>
                    <a:lnTo>
                      <a:pt x="1121" y="543"/>
                    </a:lnTo>
                    <a:lnTo>
                      <a:pt x="1128" y="547"/>
                    </a:lnTo>
                    <a:lnTo>
                      <a:pt x="1130" y="552"/>
                    </a:lnTo>
                    <a:lnTo>
                      <a:pt x="1133" y="561"/>
                    </a:lnTo>
                    <a:lnTo>
                      <a:pt x="1136" y="568"/>
                    </a:lnTo>
                    <a:lnTo>
                      <a:pt x="1141" y="574"/>
                    </a:lnTo>
                    <a:lnTo>
                      <a:pt x="1145" y="575"/>
                    </a:lnTo>
                    <a:lnTo>
                      <a:pt x="1153" y="573"/>
                    </a:lnTo>
                    <a:lnTo>
                      <a:pt x="1160" y="568"/>
                    </a:lnTo>
                    <a:lnTo>
                      <a:pt x="1169" y="563"/>
                    </a:lnTo>
                    <a:lnTo>
                      <a:pt x="1175" y="557"/>
                    </a:lnTo>
                    <a:lnTo>
                      <a:pt x="1176" y="549"/>
                    </a:lnTo>
                    <a:lnTo>
                      <a:pt x="1175" y="547"/>
                    </a:lnTo>
                    <a:lnTo>
                      <a:pt x="1171" y="544"/>
                    </a:lnTo>
                    <a:lnTo>
                      <a:pt x="1169" y="542"/>
                    </a:lnTo>
                    <a:lnTo>
                      <a:pt x="1166" y="538"/>
                    </a:lnTo>
                    <a:lnTo>
                      <a:pt x="1164" y="534"/>
                    </a:lnTo>
                    <a:lnTo>
                      <a:pt x="1163" y="532"/>
                    </a:lnTo>
                    <a:lnTo>
                      <a:pt x="1161" y="531"/>
                    </a:lnTo>
                    <a:lnTo>
                      <a:pt x="1159" y="528"/>
                    </a:lnTo>
                    <a:lnTo>
                      <a:pt x="1158" y="526"/>
                    </a:lnTo>
                    <a:lnTo>
                      <a:pt x="1154" y="524"/>
                    </a:lnTo>
                    <a:lnTo>
                      <a:pt x="1151" y="523"/>
                    </a:lnTo>
                    <a:lnTo>
                      <a:pt x="1148" y="523"/>
                    </a:lnTo>
                    <a:lnTo>
                      <a:pt x="1144" y="522"/>
                    </a:lnTo>
                    <a:lnTo>
                      <a:pt x="1141" y="522"/>
                    </a:lnTo>
                    <a:lnTo>
                      <a:pt x="1138" y="523"/>
                    </a:lnTo>
                    <a:lnTo>
                      <a:pt x="1135" y="524"/>
                    </a:lnTo>
                    <a:lnTo>
                      <a:pt x="1133" y="527"/>
                    </a:lnTo>
                    <a:lnTo>
                      <a:pt x="1130" y="529"/>
                    </a:lnTo>
                    <a:lnTo>
                      <a:pt x="1129" y="532"/>
                    </a:lnTo>
                    <a:lnTo>
                      <a:pt x="1128" y="533"/>
                    </a:lnTo>
                    <a:lnTo>
                      <a:pt x="1126" y="536"/>
                    </a:lnTo>
                    <a:lnTo>
                      <a:pt x="1123" y="537"/>
                    </a:lnTo>
                    <a:lnTo>
                      <a:pt x="1118" y="537"/>
                    </a:lnTo>
                    <a:lnTo>
                      <a:pt x="1110" y="538"/>
                    </a:lnTo>
                    <a:lnTo>
                      <a:pt x="1104" y="538"/>
                    </a:lnTo>
                    <a:lnTo>
                      <a:pt x="1098" y="537"/>
                    </a:lnTo>
                    <a:lnTo>
                      <a:pt x="1094" y="534"/>
                    </a:lnTo>
                    <a:lnTo>
                      <a:pt x="1094" y="526"/>
                    </a:lnTo>
                    <a:lnTo>
                      <a:pt x="1098" y="517"/>
                    </a:lnTo>
                    <a:lnTo>
                      <a:pt x="1102" y="508"/>
                    </a:lnTo>
                    <a:lnTo>
                      <a:pt x="1103" y="497"/>
                    </a:lnTo>
                    <a:lnTo>
                      <a:pt x="1102" y="486"/>
                    </a:lnTo>
                    <a:lnTo>
                      <a:pt x="1099" y="475"/>
                    </a:lnTo>
                    <a:lnTo>
                      <a:pt x="1097" y="470"/>
                    </a:lnTo>
                    <a:lnTo>
                      <a:pt x="1094" y="466"/>
                    </a:lnTo>
                    <a:lnTo>
                      <a:pt x="1090" y="462"/>
                    </a:lnTo>
                    <a:lnTo>
                      <a:pt x="1087" y="460"/>
                    </a:lnTo>
                    <a:lnTo>
                      <a:pt x="1084" y="456"/>
                    </a:lnTo>
                    <a:lnTo>
                      <a:pt x="1080" y="452"/>
                    </a:lnTo>
                    <a:lnTo>
                      <a:pt x="1077" y="449"/>
                    </a:lnTo>
                    <a:lnTo>
                      <a:pt x="1073" y="445"/>
                    </a:lnTo>
                    <a:lnTo>
                      <a:pt x="1069" y="442"/>
                    </a:lnTo>
                    <a:lnTo>
                      <a:pt x="1065" y="437"/>
                    </a:lnTo>
                    <a:lnTo>
                      <a:pt x="1062" y="432"/>
                    </a:lnTo>
                    <a:lnTo>
                      <a:pt x="1057" y="425"/>
                    </a:lnTo>
                    <a:lnTo>
                      <a:pt x="1049" y="420"/>
                    </a:lnTo>
                    <a:lnTo>
                      <a:pt x="1042" y="420"/>
                    </a:lnTo>
                    <a:lnTo>
                      <a:pt x="1039" y="421"/>
                    </a:lnTo>
                    <a:lnTo>
                      <a:pt x="1036" y="423"/>
                    </a:lnTo>
                    <a:lnTo>
                      <a:pt x="1033" y="424"/>
                    </a:lnTo>
                    <a:lnTo>
                      <a:pt x="1031" y="425"/>
                    </a:lnTo>
                    <a:lnTo>
                      <a:pt x="1028" y="426"/>
                    </a:lnTo>
                    <a:lnTo>
                      <a:pt x="1024" y="425"/>
                    </a:lnTo>
                    <a:lnTo>
                      <a:pt x="1021" y="425"/>
                    </a:lnTo>
                    <a:lnTo>
                      <a:pt x="1018" y="424"/>
                    </a:lnTo>
                    <a:lnTo>
                      <a:pt x="1014" y="423"/>
                    </a:lnTo>
                    <a:lnTo>
                      <a:pt x="1012" y="420"/>
                    </a:lnTo>
                    <a:lnTo>
                      <a:pt x="1011" y="419"/>
                    </a:lnTo>
                    <a:lnTo>
                      <a:pt x="1009" y="416"/>
                    </a:lnTo>
                    <a:lnTo>
                      <a:pt x="1011" y="414"/>
                    </a:lnTo>
                    <a:lnTo>
                      <a:pt x="1013" y="411"/>
                    </a:lnTo>
                    <a:lnTo>
                      <a:pt x="1016" y="411"/>
                    </a:lnTo>
                    <a:lnTo>
                      <a:pt x="1018" y="410"/>
                    </a:lnTo>
                    <a:lnTo>
                      <a:pt x="1021" y="410"/>
                    </a:lnTo>
                    <a:lnTo>
                      <a:pt x="1023" y="410"/>
                    </a:lnTo>
                    <a:lnTo>
                      <a:pt x="1026" y="409"/>
                    </a:lnTo>
                    <a:lnTo>
                      <a:pt x="1027" y="406"/>
                    </a:lnTo>
                    <a:lnTo>
                      <a:pt x="1028" y="405"/>
                    </a:lnTo>
                    <a:lnTo>
                      <a:pt x="1027" y="401"/>
                    </a:lnTo>
                    <a:lnTo>
                      <a:pt x="1027" y="399"/>
                    </a:lnTo>
                    <a:lnTo>
                      <a:pt x="1024" y="396"/>
                    </a:lnTo>
                    <a:lnTo>
                      <a:pt x="1022" y="394"/>
                    </a:lnTo>
                    <a:lnTo>
                      <a:pt x="1018" y="393"/>
                    </a:lnTo>
                    <a:lnTo>
                      <a:pt x="1016" y="391"/>
                    </a:lnTo>
                    <a:lnTo>
                      <a:pt x="1014" y="391"/>
                    </a:lnTo>
                    <a:lnTo>
                      <a:pt x="1012" y="393"/>
                    </a:lnTo>
                    <a:lnTo>
                      <a:pt x="1009" y="394"/>
                    </a:lnTo>
                    <a:lnTo>
                      <a:pt x="1008" y="395"/>
                    </a:lnTo>
                    <a:lnTo>
                      <a:pt x="1006" y="396"/>
                    </a:lnTo>
                    <a:lnTo>
                      <a:pt x="1004" y="396"/>
                    </a:lnTo>
                    <a:lnTo>
                      <a:pt x="1002" y="395"/>
                    </a:lnTo>
                    <a:lnTo>
                      <a:pt x="999" y="393"/>
                    </a:lnTo>
                    <a:lnTo>
                      <a:pt x="997" y="391"/>
                    </a:lnTo>
                    <a:lnTo>
                      <a:pt x="996" y="389"/>
                    </a:lnTo>
                    <a:lnTo>
                      <a:pt x="996" y="386"/>
                    </a:lnTo>
                    <a:lnTo>
                      <a:pt x="996" y="384"/>
                    </a:lnTo>
                    <a:lnTo>
                      <a:pt x="998" y="383"/>
                    </a:lnTo>
                    <a:lnTo>
                      <a:pt x="999" y="380"/>
                    </a:lnTo>
                    <a:lnTo>
                      <a:pt x="1002" y="378"/>
                    </a:lnTo>
                    <a:lnTo>
                      <a:pt x="1003" y="376"/>
                    </a:lnTo>
                    <a:lnTo>
                      <a:pt x="1003" y="374"/>
                    </a:lnTo>
                    <a:lnTo>
                      <a:pt x="1003" y="373"/>
                    </a:lnTo>
                    <a:lnTo>
                      <a:pt x="1002" y="372"/>
                    </a:lnTo>
                    <a:lnTo>
                      <a:pt x="999" y="372"/>
                    </a:lnTo>
                    <a:lnTo>
                      <a:pt x="997" y="372"/>
                    </a:lnTo>
                    <a:lnTo>
                      <a:pt x="994" y="372"/>
                    </a:lnTo>
                    <a:lnTo>
                      <a:pt x="993" y="370"/>
                    </a:lnTo>
                    <a:lnTo>
                      <a:pt x="989" y="370"/>
                    </a:lnTo>
                    <a:lnTo>
                      <a:pt x="987" y="369"/>
                    </a:lnTo>
                    <a:lnTo>
                      <a:pt x="984" y="368"/>
                    </a:lnTo>
                    <a:lnTo>
                      <a:pt x="983" y="368"/>
                    </a:lnTo>
                    <a:lnTo>
                      <a:pt x="979" y="365"/>
                    </a:lnTo>
                    <a:lnTo>
                      <a:pt x="978" y="363"/>
                    </a:lnTo>
                    <a:lnTo>
                      <a:pt x="978" y="359"/>
                    </a:lnTo>
                    <a:lnTo>
                      <a:pt x="979" y="357"/>
                    </a:lnTo>
                    <a:lnTo>
                      <a:pt x="979" y="353"/>
                    </a:lnTo>
                    <a:lnTo>
                      <a:pt x="981" y="349"/>
                    </a:lnTo>
                    <a:lnTo>
                      <a:pt x="979" y="347"/>
                    </a:lnTo>
                    <a:lnTo>
                      <a:pt x="978" y="343"/>
                    </a:lnTo>
                    <a:lnTo>
                      <a:pt x="977" y="339"/>
                    </a:lnTo>
                    <a:lnTo>
                      <a:pt x="976" y="335"/>
                    </a:lnTo>
                    <a:lnTo>
                      <a:pt x="973" y="333"/>
                    </a:lnTo>
                    <a:lnTo>
                      <a:pt x="972" y="332"/>
                    </a:lnTo>
                    <a:lnTo>
                      <a:pt x="967" y="326"/>
                    </a:lnTo>
                    <a:lnTo>
                      <a:pt x="958" y="323"/>
                    </a:lnTo>
                    <a:lnTo>
                      <a:pt x="950" y="323"/>
                    </a:lnTo>
                    <a:lnTo>
                      <a:pt x="941" y="326"/>
                    </a:lnTo>
                    <a:lnTo>
                      <a:pt x="942" y="328"/>
                    </a:lnTo>
                    <a:lnTo>
                      <a:pt x="943" y="329"/>
                    </a:lnTo>
                    <a:lnTo>
                      <a:pt x="946" y="332"/>
                    </a:lnTo>
                    <a:lnTo>
                      <a:pt x="948" y="334"/>
                    </a:lnTo>
                    <a:lnTo>
                      <a:pt x="951" y="338"/>
                    </a:lnTo>
                    <a:lnTo>
                      <a:pt x="953" y="340"/>
                    </a:lnTo>
                    <a:lnTo>
                      <a:pt x="956" y="343"/>
                    </a:lnTo>
                    <a:lnTo>
                      <a:pt x="958" y="344"/>
                    </a:lnTo>
                    <a:lnTo>
                      <a:pt x="960" y="344"/>
                    </a:lnTo>
                    <a:lnTo>
                      <a:pt x="961" y="348"/>
                    </a:lnTo>
                    <a:lnTo>
                      <a:pt x="962" y="350"/>
                    </a:lnTo>
                    <a:lnTo>
                      <a:pt x="961" y="353"/>
                    </a:lnTo>
                    <a:lnTo>
                      <a:pt x="960" y="355"/>
                    </a:lnTo>
                    <a:lnTo>
                      <a:pt x="957" y="357"/>
                    </a:lnTo>
                    <a:lnTo>
                      <a:pt x="955" y="358"/>
                    </a:lnTo>
                    <a:lnTo>
                      <a:pt x="951" y="359"/>
                    </a:lnTo>
                    <a:lnTo>
                      <a:pt x="948" y="359"/>
                    </a:lnTo>
                    <a:lnTo>
                      <a:pt x="945" y="360"/>
                    </a:lnTo>
                    <a:lnTo>
                      <a:pt x="941" y="360"/>
                    </a:lnTo>
                    <a:lnTo>
                      <a:pt x="926" y="355"/>
                    </a:lnTo>
                    <a:lnTo>
                      <a:pt x="910" y="352"/>
                    </a:lnTo>
                    <a:lnTo>
                      <a:pt x="903" y="355"/>
                    </a:lnTo>
                    <a:lnTo>
                      <a:pt x="897" y="358"/>
                    </a:lnTo>
                    <a:lnTo>
                      <a:pt x="890" y="360"/>
                    </a:lnTo>
                    <a:lnTo>
                      <a:pt x="872" y="359"/>
                    </a:lnTo>
                    <a:lnTo>
                      <a:pt x="854" y="358"/>
                    </a:lnTo>
                    <a:lnTo>
                      <a:pt x="827" y="358"/>
                    </a:lnTo>
                    <a:lnTo>
                      <a:pt x="815" y="357"/>
                    </a:lnTo>
                    <a:lnTo>
                      <a:pt x="805" y="353"/>
                    </a:lnTo>
                    <a:lnTo>
                      <a:pt x="794" y="349"/>
                    </a:lnTo>
                    <a:lnTo>
                      <a:pt x="784" y="347"/>
                    </a:lnTo>
                    <a:lnTo>
                      <a:pt x="773" y="347"/>
                    </a:lnTo>
                    <a:lnTo>
                      <a:pt x="764" y="345"/>
                    </a:lnTo>
                    <a:lnTo>
                      <a:pt x="755" y="342"/>
                    </a:lnTo>
                    <a:lnTo>
                      <a:pt x="744" y="333"/>
                    </a:lnTo>
                    <a:lnTo>
                      <a:pt x="734" y="323"/>
                    </a:lnTo>
                    <a:lnTo>
                      <a:pt x="732" y="322"/>
                    </a:lnTo>
                    <a:lnTo>
                      <a:pt x="729" y="319"/>
                    </a:lnTo>
                    <a:lnTo>
                      <a:pt x="727" y="318"/>
                    </a:lnTo>
                    <a:lnTo>
                      <a:pt x="723" y="316"/>
                    </a:lnTo>
                    <a:lnTo>
                      <a:pt x="720" y="313"/>
                    </a:lnTo>
                    <a:lnTo>
                      <a:pt x="719" y="311"/>
                    </a:lnTo>
                    <a:lnTo>
                      <a:pt x="719" y="308"/>
                    </a:lnTo>
                    <a:lnTo>
                      <a:pt x="719" y="304"/>
                    </a:lnTo>
                    <a:lnTo>
                      <a:pt x="719" y="301"/>
                    </a:lnTo>
                    <a:lnTo>
                      <a:pt x="722" y="299"/>
                    </a:lnTo>
                    <a:lnTo>
                      <a:pt x="723" y="297"/>
                    </a:lnTo>
                    <a:lnTo>
                      <a:pt x="725" y="297"/>
                    </a:lnTo>
                    <a:lnTo>
                      <a:pt x="729" y="297"/>
                    </a:lnTo>
                    <a:lnTo>
                      <a:pt x="734" y="298"/>
                    </a:lnTo>
                    <a:lnTo>
                      <a:pt x="742" y="301"/>
                    </a:lnTo>
                    <a:lnTo>
                      <a:pt x="748" y="303"/>
                    </a:lnTo>
                    <a:lnTo>
                      <a:pt x="755" y="303"/>
                    </a:lnTo>
                    <a:lnTo>
                      <a:pt x="756" y="302"/>
                    </a:lnTo>
                    <a:lnTo>
                      <a:pt x="756" y="302"/>
                    </a:lnTo>
                    <a:lnTo>
                      <a:pt x="755" y="301"/>
                    </a:lnTo>
                    <a:lnTo>
                      <a:pt x="754" y="298"/>
                    </a:lnTo>
                    <a:lnTo>
                      <a:pt x="753" y="297"/>
                    </a:lnTo>
                    <a:lnTo>
                      <a:pt x="750" y="294"/>
                    </a:lnTo>
                    <a:lnTo>
                      <a:pt x="749" y="293"/>
                    </a:lnTo>
                    <a:lnTo>
                      <a:pt x="748" y="292"/>
                    </a:lnTo>
                    <a:lnTo>
                      <a:pt x="737" y="289"/>
                    </a:lnTo>
                    <a:lnTo>
                      <a:pt x="724" y="287"/>
                    </a:lnTo>
                    <a:lnTo>
                      <a:pt x="714" y="283"/>
                    </a:lnTo>
                    <a:lnTo>
                      <a:pt x="705" y="277"/>
                    </a:lnTo>
                    <a:lnTo>
                      <a:pt x="704" y="270"/>
                    </a:lnTo>
                    <a:lnTo>
                      <a:pt x="705" y="262"/>
                    </a:lnTo>
                    <a:lnTo>
                      <a:pt x="705" y="253"/>
                    </a:lnTo>
                    <a:lnTo>
                      <a:pt x="705" y="232"/>
                    </a:lnTo>
                    <a:lnTo>
                      <a:pt x="710" y="215"/>
                    </a:lnTo>
                    <a:lnTo>
                      <a:pt x="718" y="199"/>
                    </a:lnTo>
                    <a:lnTo>
                      <a:pt x="727" y="182"/>
                    </a:lnTo>
                    <a:lnTo>
                      <a:pt x="730" y="179"/>
                    </a:lnTo>
                    <a:lnTo>
                      <a:pt x="733" y="174"/>
                    </a:lnTo>
                    <a:lnTo>
                      <a:pt x="737" y="169"/>
                    </a:lnTo>
                    <a:lnTo>
                      <a:pt x="739" y="165"/>
                    </a:lnTo>
                    <a:lnTo>
                      <a:pt x="750" y="160"/>
                    </a:lnTo>
                    <a:lnTo>
                      <a:pt x="760" y="154"/>
                    </a:lnTo>
                    <a:lnTo>
                      <a:pt x="775" y="145"/>
                    </a:lnTo>
                    <a:lnTo>
                      <a:pt x="791" y="140"/>
                    </a:lnTo>
                    <a:lnTo>
                      <a:pt x="809" y="139"/>
                    </a:lnTo>
                    <a:close/>
                    <a:moveTo>
                      <a:pt x="641" y="130"/>
                    </a:moveTo>
                    <a:lnTo>
                      <a:pt x="653" y="133"/>
                    </a:lnTo>
                    <a:lnTo>
                      <a:pt x="658" y="133"/>
                    </a:lnTo>
                    <a:lnTo>
                      <a:pt x="661" y="134"/>
                    </a:lnTo>
                    <a:lnTo>
                      <a:pt x="664" y="134"/>
                    </a:lnTo>
                    <a:lnTo>
                      <a:pt x="668" y="135"/>
                    </a:lnTo>
                    <a:lnTo>
                      <a:pt x="672" y="135"/>
                    </a:lnTo>
                    <a:lnTo>
                      <a:pt x="690" y="135"/>
                    </a:lnTo>
                    <a:lnTo>
                      <a:pt x="698" y="134"/>
                    </a:lnTo>
                    <a:lnTo>
                      <a:pt x="705" y="135"/>
                    </a:lnTo>
                    <a:lnTo>
                      <a:pt x="712" y="138"/>
                    </a:lnTo>
                    <a:lnTo>
                      <a:pt x="714" y="143"/>
                    </a:lnTo>
                    <a:lnTo>
                      <a:pt x="712" y="150"/>
                    </a:lnTo>
                    <a:lnTo>
                      <a:pt x="703" y="155"/>
                    </a:lnTo>
                    <a:lnTo>
                      <a:pt x="693" y="158"/>
                    </a:lnTo>
                    <a:lnTo>
                      <a:pt x="690" y="159"/>
                    </a:lnTo>
                    <a:lnTo>
                      <a:pt x="688" y="160"/>
                    </a:lnTo>
                    <a:lnTo>
                      <a:pt x="688" y="161"/>
                    </a:lnTo>
                    <a:lnTo>
                      <a:pt x="688" y="163"/>
                    </a:lnTo>
                    <a:lnTo>
                      <a:pt x="688" y="164"/>
                    </a:lnTo>
                    <a:lnTo>
                      <a:pt x="688" y="165"/>
                    </a:lnTo>
                    <a:lnTo>
                      <a:pt x="687" y="169"/>
                    </a:lnTo>
                    <a:lnTo>
                      <a:pt x="685" y="171"/>
                    </a:lnTo>
                    <a:lnTo>
                      <a:pt x="684" y="173"/>
                    </a:lnTo>
                    <a:lnTo>
                      <a:pt x="683" y="175"/>
                    </a:lnTo>
                    <a:lnTo>
                      <a:pt x="683" y="179"/>
                    </a:lnTo>
                    <a:lnTo>
                      <a:pt x="678" y="181"/>
                    </a:lnTo>
                    <a:lnTo>
                      <a:pt x="674" y="185"/>
                    </a:lnTo>
                    <a:lnTo>
                      <a:pt x="672" y="187"/>
                    </a:lnTo>
                    <a:lnTo>
                      <a:pt x="669" y="191"/>
                    </a:lnTo>
                    <a:lnTo>
                      <a:pt x="668" y="195"/>
                    </a:lnTo>
                    <a:lnTo>
                      <a:pt x="667" y="199"/>
                    </a:lnTo>
                    <a:lnTo>
                      <a:pt x="666" y="201"/>
                    </a:lnTo>
                    <a:lnTo>
                      <a:pt x="664" y="204"/>
                    </a:lnTo>
                    <a:lnTo>
                      <a:pt x="658" y="209"/>
                    </a:lnTo>
                    <a:lnTo>
                      <a:pt x="652" y="209"/>
                    </a:lnTo>
                    <a:lnTo>
                      <a:pt x="644" y="206"/>
                    </a:lnTo>
                    <a:lnTo>
                      <a:pt x="637" y="202"/>
                    </a:lnTo>
                    <a:lnTo>
                      <a:pt x="629" y="201"/>
                    </a:lnTo>
                    <a:lnTo>
                      <a:pt x="627" y="201"/>
                    </a:lnTo>
                    <a:lnTo>
                      <a:pt x="626" y="202"/>
                    </a:lnTo>
                    <a:lnTo>
                      <a:pt x="624" y="204"/>
                    </a:lnTo>
                    <a:lnTo>
                      <a:pt x="626" y="205"/>
                    </a:lnTo>
                    <a:lnTo>
                      <a:pt x="627" y="206"/>
                    </a:lnTo>
                    <a:lnTo>
                      <a:pt x="628" y="207"/>
                    </a:lnTo>
                    <a:lnTo>
                      <a:pt x="629" y="209"/>
                    </a:lnTo>
                    <a:lnTo>
                      <a:pt x="631" y="210"/>
                    </a:lnTo>
                    <a:lnTo>
                      <a:pt x="632" y="211"/>
                    </a:lnTo>
                    <a:lnTo>
                      <a:pt x="634" y="216"/>
                    </a:lnTo>
                    <a:lnTo>
                      <a:pt x="634" y="222"/>
                    </a:lnTo>
                    <a:lnTo>
                      <a:pt x="632" y="229"/>
                    </a:lnTo>
                    <a:lnTo>
                      <a:pt x="627" y="233"/>
                    </a:lnTo>
                    <a:lnTo>
                      <a:pt x="622" y="238"/>
                    </a:lnTo>
                    <a:lnTo>
                      <a:pt x="614" y="243"/>
                    </a:lnTo>
                    <a:lnTo>
                      <a:pt x="607" y="247"/>
                    </a:lnTo>
                    <a:lnTo>
                      <a:pt x="601" y="250"/>
                    </a:lnTo>
                    <a:lnTo>
                      <a:pt x="593" y="247"/>
                    </a:lnTo>
                    <a:lnTo>
                      <a:pt x="590" y="241"/>
                    </a:lnTo>
                    <a:lnTo>
                      <a:pt x="587" y="235"/>
                    </a:lnTo>
                    <a:lnTo>
                      <a:pt x="585" y="229"/>
                    </a:lnTo>
                    <a:lnTo>
                      <a:pt x="583" y="216"/>
                    </a:lnTo>
                    <a:lnTo>
                      <a:pt x="586" y="204"/>
                    </a:lnTo>
                    <a:lnTo>
                      <a:pt x="587" y="191"/>
                    </a:lnTo>
                    <a:lnTo>
                      <a:pt x="588" y="184"/>
                    </a:lnTo>
                    <a:lnTo>
                      <a:pt x="591" y="176"/>
                    </a:lnTo>
                    <a:lnTo>
                      <a:pt x="596" y="170"/>
                    </a:lnTo>
                    <a:lnTo>
                      <a:pt x="603" y="165"/>
                    </a:lnTo>
                    <a:lnTo>
                      <a:pt x="606" y="165"/>
                    </a:lnTo>
                    <a:lnTo>
                      <a:pt x="607" y="163"/>
                    </a:lnTo>
                    <a:lnTo>
                      <a:pt x="607" y="161"/>
                    </a:lnTo>
                    <a:lnTo>
                      <a:pt x="607" y="159"/>
                    </a:lnTo>
                    <a:lnTo>
                      <a:pt x="605" y="156"/>
                    </a:lnTo>
                    <a:lnTo>
                      <a:pt x="603" y="155"/>
                    </a:lnTo>
                    <a:lnTo>
                      <a:pt x="602" y="153"/>
                    </a:lnTo>
                    <a:lnTo>
                      <a:pt x="601" y="150"/>
                    </a:lnTo>
                    <a:lnTo>
                      <a:pt x="600" y="149"/>
                    </a:lnTo>
                    <a:lnTo>
                      <a:pt x="600" y="146"/>
                    </a:lnTo>
                    <a:lnTo>
                      <a:pt x="601" y="144"/>
                    </a:lnTo>
                    <a:lnTo>
                      <a:pt x="603" y="143"/>
                    </a:lnTo>
                    <a:lnTo>
                      <a:pt x="607" y="140"/>
                    </a:lnTo>
                    <a:lnTo>
                      <a:pt x="609" y="139"/>
                    </a:lnTo>
                    <a:lnTo>
                      <a:pt x="613" y="138"/>
                    </a:lnTo>
                    <a:lnTo>
                      <a:pt x="627" y="133"/>
                    </a:lnTo>
                    <a:lnTo>
                      <a:pt x="641" y="130"/>
                    </a:lnTo>
                    <a:close/>
                    <a:moveTo>
                      <a:pt x="2471" y="129"/>
                    </a:moveTo>
                    <a:lnTo>
                      <a:pt x="2472" y="130"/>
                    </a:lnTo>
                    <a:lnTo>
                      <a:pt x="2476" y="132"/>
                    </a:lnTo>
                    <a:lnTo>
                      <a:pt x="2478" y="133"/>
                    </a:lnTo>
                    <a:lnTo>
                      <a:pt x="2481" y="133"/>
                    </a:lnTo>
                    <a:lnTo>
                      <a:pt x="2481" y="139"/>
                    </a:lnTo>
                    <a:lnTo>
                      <a:pt x="2478" y="138"/>
                    </a:lnTo>
                    <a:lnTo>
                      <a:pt x="2476" y="136"/>
                    </a:lnTo>
                    <a:lnTo>
                      <a:pt x="2472" y="133"/>
                    </a:lnTo>
                    <a:lnTo>
                      <a:pt x="2471" y="132"/>
                    </a:lnTo>
                    <a:lnTo>
                      <a:pt x="2471" y="130"/>
                    </a:lnTo>
                    <a:lnTo>
                      <a:pt x="2471" y="129"/>
                    </a:lnTo>
                    <a:lnTo>
                      <a:pt x="2471" y="129"/>
                    </a:lnTo>
                    <a:close/>
                    <a:moveTo>
                      <a:pt x="2626" y="108"/>
                    </a:moveTo>
                    <a:lnTo>
                      <a:pt x="2628" y="108"/>
                    </a:lnTo>
                    <a:lnTo>
                      <a:pt x="2629" y="109"/>
                    </a:lnTo>
                    <a:lnTo>
                      <a:pt x="2630" y="110"/>
                    </a:lnTo>
                    <a:lnTo>
                      <a:pt x="2633" y="110"/>
                    </a:lnTo>
                    <a:lnTo>
                      <a:pt x="2635" y="112"/>
                    </a:lnTo>
                    <a:lnTo>
                      <a:pt x="2635" y="113"/>
                    </a:lnTo>
                    <a:lnTo>
                      <a:pt x="2635" y="114"/>
                    </a:lnTo>
                    <a:lnTo>
                      <a:pt x="2634" y="115"/>
                    </a:lnTo>
                    <a:lnTo>
                      <a:pt x="2634" y="115"/>
                    </a:lnTo>
                    <a:lnTo>
                      <a:pt x="2631" y="114"/>
                    </a:lnTo>
                    <a:lnTo>
                      <a:pt x="2631" y="114"/>
                    </a:lnTo>
                    <a:lnTo>
                      <a:pt x="2630" y="113"/>
                    </a:lnTo>
                    <a:lnTo>
                      <a:pt x="2629" y="112"/>
                    </a:lnTo>
                    <a:lnTo>
                      <a:pt x="2629" y="110"/>
                    </a:lnTo>
                    <a:lnTo>
                      <a:pt x="2628" y="109"/>
                    </a:lnTo>
                    <a:lnTo>
                      <a:pt x="2626" y="108"/>
                    </a:lnTo>
                    <a:lnTo>
                      <a:pt x="2626" y="108"/>
                    </a:lnTo>
                    <a:close/>
                    <a:moveTo>
                      <a:pt x="2594" y="107"/>
                    </a:moveTo>
                    <a:lnTo>
                      <a:pt x="2595" y="108"/>
                    </a:lnTo>
                    <a:lnTo>
                      <a:pt x="2596" y="108"/>
                    </a:lnTo>
                    <a:lnTo>
                      <a:pt x="2599" y="110"/>
                    </a:lnTo>
                    <a:lnTo>
                      <a:pt x="2600" y="113"/>
                    </a:lnTo>
                    <a:lnTo>
                      <a:pt x="2603" y="115"/>
                    </a:lnTo>
                    <a:lnTo>
                      <a:pt x="2605" y="115"/>
                    </a:lnTo>
                    <a:lnTo>
                      <a:pt x="2606" y="115"/>
                    </a:lnTo>
                    <a:lnTo>
                      <a:pt x="2608" y="114"/>
                    </a:lnTo>
                    <a:lnTo>
                      <a:pt x="2608" y="113"/>
                    </a:lnTo>
                    <a:lnTo>
                      <a:pt x="2609" y="113"/>
                    </a:lnTo>
                    <a:lnTo>
                      <a:pt x="2610" y="113"/>
                    </a:lnTo>
                    <a:lnTo>
                      <a:pt x="2613" y="114"/>
                    </a:lnTo>
                    <a:lnTo>
                      <a:pt x="2614" y="115"/>
                    </a:lnTo>
                    <a:lnTo>
                      <a:pt x="2615" y="118"/>
                    </a:lnTo>
                    <a:lnTo>
                      <a:pt x="2616" y="120"/>
                    </a:lnTo>
                    <a:lnTo>
                      <a:pt x="2616" y="123"/>
                    </a:lnTo>
                    <a:lnTo>
                      <a:pt x="2618" y="123"/>
                    </a:lnTo>
                    <a:lnTo>
                      <a:pt x="2616" y="124"/>
                    </a:lnTo>
                    <a:lnTo>
                      <a:pt x="2615" y="123"/>
                    </a:lnTo>
                    <a:lnTo>
                      <a:pt x="2614" y="123"/>
                    </a:lnTo>
                    <a:lnTo>
                      <a:pt x="2613" y="123"/>
                    </a:lnTo>
                    <a:lnTo>
                      <a:pt x="2611" y="123"/>
                    </a:lnTo>
                    <a:lnTo>
                      <a:pt x="2610" y="123"/>
                    </a:lnTo>
                    <a:lnTo>
                      <a:pt x="2608" y="122"/>
                    </a:lnTo>
                    <a:lnTo>
                      <a:pt x="2606" y="122"/>
                    </a:lnTo>
                    <a:lnTo>
                      <a:pt x="2605" y="122"/>
                    </a:lnTo>
                    <a:lnTo>
                      <a:pt x="2605" y="123"/>
                    </a:lnTo>
                    <a:lnTo>
                      <a:pt x="2608" y="125"/>
                    </a:lnTo>
                    <a:lnTo>
                      <a:pt x="2610" y="129"/>
                    </a:lnTo>
                    <a:lnTo>
                      <a:pt x="2613" y="132"/>
                    </a:lnTo>
                    <a:lnTo>
                      <a:pt x="2615" y="135"/>
                    </a:lnTo>
                    <a:lnTo>
                      <a:pt x="2616" y="138"/>
                    </a:lnTo>
                    <a:lnTo>
                      <a:pt x="2616" y="139"/>
                    </a:lnTo>
                    <a:lnTo>
                      <a:pt x="2616" y="140"/>
                    </a:lnTo>
                    <a:lnTo>
                      <a:pt x="2616" y="141"/>
                    </a:lnTo>
                    <a:lnTo>
                      <a:pt x="2618" y="143"/>
                    </a:lnTo>
                    <a:lnTo>
                      <a:pt x="2619" y="145"/>
                    </a:lnTo>
                    <a:lnTo>
                      <a:pt x="2620" y="148"/>
                    </a:lnTo>
                    <a:lnTo>
                      <a:pt x="2621" y="150"/>
                    </a:lnTo>
                    <a:lnTo>
                      <a:pt x="2621" y="153"/>
                    </a:lnTo>
                    <a:lnTo>
                      <a:pt x="2623" y="154"/>
                    </a:lnTo>
                    <a:lnTo>
                      <a:pt x="2623" y="155"/>
                    </a:lnTo>
                    <a:lnTo>
                      <a:pt x="2621" y="155"/>
                    </a:lnTo>
                    <a:lnTo>
                      <a:pt x="2620" y="155"/>
                    </a:lnTo>
                    <a:lnTo>
                      <a:pt x="2619" y="155"/>
                    </a:lnTo>
                    <a:lnTo>
                      <a:pt x="2618" y="155"/>
                    </a:lnTo>
                    <a:lnTo>
                      <a:pt x="2616" y="155"/>
                    </a:lnTo>
                    <a:lnTo>
                      <a:pt x="2615" y="154"/>
                    </a:lnTo>
                    <a:lnTo>
                      <a:pt x="2615" y="155"/>
                    </a:lnTo>
                    <a:lnTo>
                      <a:pt x="2615" y="156"/>
                    </a:lnTo>
                    <a:lnTo>
                      <a:pt x="2615" y="158"/>
                    </a:lnTo>
                    <a:lnTo>
                      <a:pt x="2615" y="159"/>
                    </a:lnTo>
                    <a:lnTo>
                      <a:pt x="2616" y="161"/>
                    </a:lnTo>
                    <a:lnTo>
                      <a:pt x="2616" y="163"/>
                    </a:lnTo>
                    <a:lnTo>
                      <a:pt x="2618" y="164"/>
                    </a:lnTo>
                    <a:lnTo>
                      <a:pt x="2620" y="165"/>
                    </a:lnTo>
                    <a:lnTo>
                      <a:pt x="2621" y="165"/>
                    </a:lnTo>
                    <a:lnTo>
                      <a:pt x="2621" y="168"/>
                    </a:lnTo>
                    <a:lnTo>
                      <a:pt x="2624" y="168"/>
                    </a:lnTo>
                    <a:lnTo>
                      <a:pt x="2626" y="170"/>
                    </a:lnTo>
                    <a:lnTo>
                      <a:pt x="2626" y="173"/>
                    </a:lnTo>
                    <a:lnTo>
                      <a:pt x="2628" y="173"/>
                    </a:lnTo>
                    <a:lnTo>
                      <a:pt x="2628" y="174"/>
                    </a:lnTo>
                    <a:lnTo>
                      <a:pt x="2629" y="176"/>
                    </a:lnTo>
                    <a:lnTo>
                      <a:pt x="2630" y="178"/>
                    </a:lnTo>
                    <a:lnTo>
                      <a:pt x="2631" y="179"/>
                    </a:lnTo>
                    <a:lnTo>
                      <a:pt x="2633" y="180"/>
                    </a:lnTo>
                    <a:lnTo>
                      <a:pt x="2633" y="182"/>
                    </a:lnTo>
                    <a:lnTo>
                      <a:pt x="2633" y="184"/>
                    </a:lnTo>
                    <a:lnTo>
                      <a:pt x="2631" y="185"/>
                    </a:lnTo>
                    <a:lnTo>
                      <a:pt x="2630" y="185"/>
                    </a:lnTo>
                    <a:lnTo>
                      <a:pt x="2630" y="186"/>
                    </a:lnTo>
                    <a:lnTo>
                      <a:pt x="2629" y="187"/>
                    </a:lnTo>
                    <a:lnTo>
                      <a:pt x="2630" y="189"/>
                    </a:lnTo>
                    <a:lnTo>
                      <a:pt x="2630" y="191"/>
                    </a:lnTo>
                    <a:lnTo>
                      <a:pt x="2629" y="192"/>
                    </a:lnTo>
                    <a:lnTo>
                      <a:pt x="2629" y="194"/>
                    </a:lnTo>
                    <a:lnTo>
                      <a:pt x="2626" y="194"/>
                    </a:lnTo>
                    <a:lnTo>
                      <a:pt x="2626" y="194"/>
                    </a:lnTo>
                    <a:lnTo>
                      <a:pt x="2625" y="192"/>
                    </a:lnTo>
                    <a:lnTo>
                      <a:pt x="2624" y="191"/>
                    </a:lnTo>
                    <a:lnTo>
                      <a:pt x="2621" y="189"/>
                    </a:lnTo>
                    <a:lnTo>
                      <a:pt x="2620" y="189"/>
                    </a:lnTo>
                    <a:lnTo>
                      <a:pt x="2619" y="189"/>
                    </a:lnTo>
                    <a:lnTo>
                      <a:pt x="2619" y="190"/>
                    </a:lnTo>
                    <a:lnTo>
                      <a:pt x="2618" y="190"/>
                    </a:lnTo>
                    <a:lnTo>
                      <a:pt x="2616" y="189"/>
                    </a:lnTo>
                    <a:lnTo>
                      <a:pt x="2615" y="189"/>
                    </a:lnTo>
                    <a:lnTo>
                      <a:pt x="2614" y="187"/>
                    </a:lnTo>
                    <a:lnTo>
                      <a:pt x="2613" y="185"/>
                    </a:lnTo>
                    <a:lnTo>
                      <a:pt x="2611" y="184"/>
                    </a:lnTo>
                    <a:lnTo>
                      <a:pt x="2610" y="181"/>
                    </a:lnTo>
                    <a:lnTo>
                      <a:pt x="2609" y="180"/>
                    </a:lnTo>
                    <a:lnTo>
                      <a:pt x="2608" y="179"/>
                    </a:lnTo>
                    <a:lnTo>
                      <a:pt x="2606" y="179"/>
                    </a:lnTo>
                    <a:lnTo>
                      <a:pt x="2605" y="176"/>
                    </a:lnTo>
                    <a:lnTo>
                      <a:pt x="2604" y="176"/>
                    </a:lnTo>
                    <a:lnTo>
                      <a:pt x="2603" y="175"/>
                    </a:lnTo>
                    <a:lnTo>
                      <a:pt x="2603" y="173"/>
                    </a:lnTo>
                    <a:lnTo>
                      <a:pt x="2603" y="171"/>
                    </a:lnTo>
                    <a:lnTo>
                      <a:pt x="2603" y="170"/>
                    </a:lnTo>
                    <a:lnTo>
                      <a:pt x="2600" y="166"/>
                    </a:lnTo>
                    <a:lnTo>
                      <a:pt x="2596" y="164"/>
                    </a:lnTo>
                    <a:lnTo>
                      <a:pt x="2593" y="161"/>
                    </a:lnTo>
                    <a:lnTo>
                      <a:pt x="2588" y="160"/>
                    </a:lnTo>
                    <a:lnTo>
                      <a:pt x="2586" y="155"/>
                    </a:lnTo>
                    <a:lnTo>
                      <a:pt x="2585" y="150"/>
                    </a:lnTo>
                    <a:lnTo>
                      <a:pt x="2585" y="145"/>
                    </a:lnTo>
                    <a:lnTo>
                      <a:pt x="2585" y="144"/>
                    </a:lnTo>
                    <a:lnTo>
                      <a:pt x="2585" y="141"/>
                    </a:lnTo>
                    <a:lnTo>
                      <a:pt x="2585" y="140"/>
                    </a:lnTo>
                    <a:lnTo>
                      <a:pt x="2584" y="139"/>
                    </a:lnTo>
                    <a:lnTo>
                      <a:pt x="2584" y="138"/>
                    </a:lnTo>
                    <a:lnTo>
                      <a:pt x="2585" y="138"/>
                    </a:lnTo>
                    <a:lnTo>
                      <a:pt x="2585" y="138"/>
                    </a:lnTo>
                    <a:lnTo>
                      <a:pt x="2588" y="139"/>
                    </a:lnTo>
                    <a:lnTo>
                      <a:pt x="2589" y="140"/>
                    </a:lnTo>
                    <a:lnTo>
                      <a:pt x="2590" y="143"/>
                    </a:lnTo>
                    <a:lnTo>
                      <a:pt x="2593" y="145"/>
                    </a:lnTo>
                    <a:lnTo>
                      <a:pt x="2594" y="148"/>
                    </a:lnTo>
                    <a:lnTo>
                      <a:pt x="2594" y="148"/>
                    </a:lnTo>
                    <a:lnTo>
                      <a:pt x="2595" y="149"/>
                    </a:lnTo>
                    <a:lnTo>
                      <a:pt x="2598" y="149"/>
                    </a:lnTo>
                    <a:lnTo>
                      <a:pt x="2599" y="150"/>
                    </a:lnTo>
                    <a:lnTo>
                      <a:pt x="2599" y="149"/>
                    </a:lnTo>
                    <a:lnTo>
                      <a:pt x="2599" y="148"/>
                    </a:lnTo>
                    <a:lnTo>
                      <a:pt x="2598" y="146"/>
                    </a:lnTo>
                    <a:lnTo>
                      <a:pt x="2596" y="144"/>
                    </a:lnTo>
                    <a:lnTo>
                      <a:pt x="2596" y="143"/>
                    </a:lnTo>
                    <a:lnTo>
                      <a:pt x="2594" y="140"/>
                    </a:lnTo>
                    <a:lnTo>
                      <a:pt x="2591" y="139"/>
                    </a:lnTo>
                    <a:lnTo>
                      <a:pt x="2588" y="138"/>
                    </a:lnTo>
                    <a:lnTo>
                      <a:pt x="2588" y="135"/>
                    </a:lnTo>
                    <a:lnTo>
                      <a:pt x="2586" y="133"/>
                    </a:lnTo>
                    <a:lnTo>
                      <a:pt x="2586" y="130"/>
                    </a:lnTo>
                    <a:lnTo>
                      <a:pt x="2585" y="128"/>
                    </a:lnTo>
                    <a:lnTo>
                      <a:pt x="2584" y="125"/>
                    </a:lnTo>
                    <a:lnTo>
                      <a:pt x="2583" y="124"/>
                    </a:lnTo>
                    <a:lnTo>
                      <a:pt x="2584" y="124"/>
                    </a:lnTo>
                    <a:lnTo>
                      <a:pt x="2584" y="124"/>
                    </a:lnTo>
                    <a:lnTo>
                      <a:pt x="2585" y="125"/>
                    </a:lnTo>
                    <a:lnTo>
                      <a:pt x="2588" y="125"/>
                    </a:lnTo>
                    <a:lnTo>
                      <a:pt x="2589" y="127"/>
                    </a:lnTo>
                    <a:lnTo>
                      <a:pt x="2591" y="128"/>
                    </a:lnTo>
                    <a:lnTo>
                      <a:pt x="2594" y="130"/>
                    </a:lnTo>
                    <a:lnTo>
                      <a:pt x="2596" y="132"/>
                    </a:lnTo>
                    <a:lnTo>
                      <a:pt x="2599" y="133"/>
                    </a:lnTo>
                    <a:lnTo>
                      <a:pt x="2599" y="125"/>
                    </a:lnTo>
                    <a:lnTo>
                      <a:pt x="2598" y="124"/>
                    </a:lnTo>
                    <a:lnTo>
                      <a:pt x="2595" y="122"/>
                    </a:lnTo>
                    <a:lnTo>
                      <a:pt x="2594" y="120"/>
                    </a:lnTo>
                    <a:lnTo>
                      <a:pt x="2594" y="120"/>
                    </a:lnTo>
                    <a:lnTo>
                      <a:pt x="2590" y="119"/>
                    </a:lnTo>
                    <a:lnTo>
                      <a:pt x="2589" y="118"/>
                    </a:lnTo>
                    <a:lnTo>
                      <a:pt x="2588" y="115"/>
                    </a:lnTo>
                    <a:lnTo>
                      <a:pt x="2588" y="114"/>
                    </a:lnTo>
                    <a:lnTo>
                      <a:pt x="2588" y="113"/>
                    </a:lnTo>
                    <a:lnTo>
                      <a:pt x="2589" y="113"/>
                    </a:lnTo>
                    <a:lnTo>
                      <a:pt x="2591" y="113"/>
                    </a:lnTo>
                    <a:lnTo>
                      <a:pt x="2593" y="114"/>
                    </a:lnTo>
                    <a:lnTo>
                      <a:pt x="2593" y="114"/>
                    </a:lnTo>
                    <a:lnTo>
                      <a:pt x="2594" y="113"/>
                    </a:lnTo>
                    <a:lnTo>
                      <a:pt x="2594" y="110"/>
                    </a:lnTo>
                    <a:lnTo>
                      <a:pt x="2594" y="108"/>
                    </a:lnTo>
                    <a:lnTo>
                      <a:pt x="2594" y="108"/>
                    </a:lnTo>
                    <a:lnTo>
                      <a:pt x="2594" y="108"/>
                    </a:lnTo>
                    <a:lnTo>
                      <a:pt x="2594" y="107"/>
                    </a:lnTo>
                    <a:close/>
                    <a:moveTo>
                      <a:pt x="2266" y="63"/>
                    </a:moveTo>
                    <a:lnTo>
                      <a:pt x="2266" y="63"/>
                    </a:lnTo>
                    <a:lnTo>
                      <a:pt x="2268" y="64"/>
                    </a:lnTo>
                    <a:lnTo>
                      <a:pt x="2269" y="67"/>
                    </a:lnTo>
                    <a:lnTo>
                      <a:pt x="2270" y="69"/>
                    </a:lnTo>
                    <a:lnTo>
                      <a:pt x="2273" y="72"/>
                    </a:lnTo>
                    <a:lnTo>
                      <a:pt x="2274" y="72"/>
                    </a:lnTo>
                    <a:lnTo>
                      <a:pt x="2275" y="72"/>
                    </a:lnTo>
                    <a:lnTo>
                      <a:pt x="2276" y="71"/>
                    </a:lnTo>
                    <a:lnTo>
                      <a:pt x="2276" y="69"/>
                    </a:lnTo>
                    <a:lnTo>
                      <a:pt x="2278" y="68"/>
                    </a:lnTo>
                    <a:lnTo>
                      <a:pt x="2280" y="69"/>
                    </a:lnTo>
                    <a:lnTo>
                      <a:pt x="2281" y="72"/>
                    </a:lnTo>
                    <a:lnTo>
                      <a:pt x="2283" y="74"/>
                    </a:lnTo>
                    <a:lnTo>
                      <a:pt x="2284" y="77"/>
                    </a:lnTo>
                    <a:lnTo>
                      <a:pt x="2285" y="78"/>
                    </a:lnTo>
                    <a:lnTo>
                      <a:pt x="2285" y="79"/>
                    </a:lnTo>
                    <a:lnTo>
                      <a:pt x="2284" y="79"/>
                    </a:lnTo>
                    <a:lnTo>
                      <a:pt x="2284" y="81"/>
                    </a:lnTo>
                    <a:lnTo>
                      <a:pt x="2284" y="82"/>
                    </a:lnTo>
                    <a:lnTo>
                      <a:pt x="2284" y="84"/>
                    </a:lnTo>
                    <a:lnTo>
                      <a:pt x="2284" y="87"/>
                    </a:lnTo>
                    <a:lnTo>
                      <a:pt x="2286" y="88"/>
                    </a:lnTo>
                    <a:lnTo>
                      <a:pt x="2287" y="90"/>
                    </a:lnTo>
                    <a:lnTo>
                      <a:pt x="2290" y="93"/>
                    </a:lnTo>
                    <a:lnTo>
                      <a:pt x="2291" y="94"/>
                    </a:lnTo>
                    <a:lnTo>
                      <a:pt x="2291" y="94"/>
                    </a:lnTo>
                    <a:lnTo>
                      <a:pt x="2291" y="92"/>
                    </a:lnTo>
                    <a:lnTo>
                      <a:pt x="2291" y="89"/>
                    </a:lnTo>
                    <a:lnTo>
                      <a:pt x="2291" y="87"/>
                    </a:lnTo>
                    <a:lnTo>
                      <a:pt x="2290" y="84"/>
                    </a:lnTo>
                    <a:lnTo>
                      <a:pt x="2290" y="83"/>
                    </a:lnTo>
                    <a:lnTo>
                      <a:pt x="2291" y="82"/>
                    </a:lnTo>
                    <a:lnTo>
                      <a:pt x="2292" y="83"/>
                    </a:lnTo>
                    <a:lnTo>
                      <a:pt x="2295" y="85"/>
                    </a:lnTo>
                    <a:lnTo>
                      <a:pt x="2297" y="89"/>
                    </a:lnTo>
                    <a:lnTo>
                      <a:pt x="2299" y="92"/>
                    </a:lnTo>
                    <a:lnTo>
                      <a:pt x="2301" y="95"/>
                    </a:lnTo>
                    <a:lnTo>
                      <a:pt x="2304" y="98"/>
                    </a:lnTo>
                    <a:lnTo>
                      <a:pt x="2305" y="99"/>
                    </a:lnTo>
                    <a:lnTo>
                      <a:pt x="2307" y="100"/>
                    </a:lnTo>
                    <a:lnTo>
                      <a:pt x="2307" y="99"/>
                    </a:lnTo>
                    <a:lnTo>
                      <a:pt x="2309" y="93"/>
                    </a:lnTo>
                    <a:lnTo>
                      <a:pt x="2306" y="85"/>
                    </a:lnTo>
                    <a:lnTo>
                      <a:pt x="2302" y="77"/>
                    </a:lnTo>
                    <a:lnTo>
                      <a:pt x="2302" y="76"/>
                    </a:lnTo>
                    <a:lnTo>
                      <a:pt x="2301" y="73"/>
                    </a:lnTo>
                    <a:lnTo>
                      <a:pt x="2301" y="72"/>
                    </a:lnTo>
                    <a:lnTo>
                      <a:pt x="2302" y="69"/>
                    </a:lnTo>
                    <a:lnTo>
                      <a:pt x="2302" y="69"/>
                    </a:lnTo>
                    <a:lnTo>
                      <a:pt x="2306" y="71"/>
                    </a:lnTo>
                    <a:lnTo>
                      <a:pt x="2307" y="72"/>
                    </a:lnTo>
                    <a:lnTo>
                      <a:pt x="2310" y="76"/>
                    </a:lnTo>
                    <a:lnTo>
                      <a:pt x="2311" y="78"/>
                    </a:lnTo>
                    <a:lnTo>
                      <a:pt x="2312" y="82"/>
                    </a:lnTo>
                    <a:lnTo>
                      <a:pt x="2317" y="87"/>
                    </a:lnTo>
                    <a:lnTo>
                      <a:pt x="2319" y="89"/>
                    </a:lnTo>
                    <a:lnTo>
                      <a:pt x="2320" y="92"/>
                    </a:lnTo>
                    <a:lnTo>
                      <a:pt x="2322" y="94"/>
                    </a:lnTo>
                    <a:lnTo>
                      <a:pt x="2322" y="97"/>
                    </a:lnTo>
                    <a:lnTo>
                      <a:pt x="2322" y="99"/>
                    </a:lnTo>
                    <a:lnTo>
                      <a:pt x="2325" y="102"/>
                    </a:lnTo>
                    <a:lnTo>
                      <a:pt x="2327" y="104"/>
                    </a:lnTo>
                    <a:lnTo>
                      <a:pt x="2327" y="104"/>
                    </a:lnTo>
                    <a:lnTo>
                      <a:pt x="2327" y="104"/>
                    </a:lnTo>
                    <a:lnTo>
                      <a:pt x="2327" y="102"/>
                    </a:lnTo>
                    <a:lnTo>
                      <a:pt x="2330" y="104"/>
                    </a:lnTo>
                    <a:lnTo>
                      <a:pt x="2331" y="108"/>
                    </a:lnTo>
                    <a:lnTo>
                      <a:pt x="2334" y="112"/>
                    </a:lnTo>
                    <a:lnTo>
                      <a:pt x="2334" y="117"/>
                    </a:lnTo>
                    <a:lnTo>
                      <a:pt x="2335" y="120"/>
                    </a:lnTo>
                    <a:lnTo>
                      <a:pt x="2341" y="128"/>
                    </a:lnTo>
                    <a:lnTo>
                      <a:pt x="2344" y="130"/>
                    </a:lnTo>
                    <a:lnTo>
                      <a:pt x="2345" y="132"/>
                    </a:lnTo>
                    <a:lnTo>
                      <a:pt x="2347" y="133"/>
                    </a:lnTo>
                    <a:lnTo>
                      <a:pt x="2349" y="135"/>
                    </a:lnTo>
                    <a:lnTo>
                      <a:pt x="2351" y="135"/>
                    </a:lnTo>
                    <a:lnTo>
                      <a:pt x="2352" y="138"/>
                    </a:lnTo>
                    <a:lnTo>
                      <a:pt x="2354" y="140"/>
                    </a:lnTo>
                    <a:lnTo>
                      <a:pt x="2355" y="141"/>
                    </a:lnTo>
                    <a:lnTo>
                      <a:pt x="2356" y="143"/>
                    </a:lnTo>
                    <a:lnTo>
                      <a:pt x="2357" y="144"/>
                    </a:lnTo>
                    <a:lnTo>
                      <a:pt x="2358" y="145"/>
                    </a:lnTo>
                    <a:lnTo>
                      <a:pt x="2360" y="148"/>
                    </a:lnTo>
                    <a:lnTo>
                      <a:pt x="2361" y="149"/>
                    </a:lnTo>
                    <a:lnTo>
                      <a:pt x="2362" y="149"/>
                    </a:lnTo>
                    <a:lnTo>
                      <a:pt x="2363" y="150"/>
                    </a:lnTo>
                    <a:lnTo>
                      <a:pt x="2366" y="153"/>
                    </a:lnTo>
                    <a:lnTo>
                      <a:pt x="2366" y="155"/>
                    </a:lnTo>
                    <a:lnTo>
                      <a:pt x="2367" y="158"/>
                    </a:lnTo>
                    <a:lnTo>
                      <a:pt x="2368" y="159"/>
                    </a:lnTo>
                    <a:lnTo>
                      <a:pt x="2370" y="161"/>
                    </a:lnTo>
                    <a:lnTo>
                      <a:pt x="2370" y="163"/>
                    </a:lnTo>
                    <a:lnTo>
                      <a:pt x="2370" y="164"/>
                    </a:lnTo>
                    <a:lnTo>
                      <a:pt x="2368" y="165"/>
                    </a:lnTo>
                    <a:lnTo>
                      <a:pt x="2367" y="165"/>
                    </a:lnTo>
                    <a:lnTo>
                      <a:pt x="2365" y="165"/>
                    </a:lnTo>
                    <a:lnTo>
                      <a:pt x="2363" y="165"/>
                    </a:lnTo>
                    <a:lnTo>
                      <a:pt x="2361" y="164"/>
                    </a:lnTo>
                    <a:lnTo>
                      <a:pt x="2360" y="165"/>
                    </a:lnTo>
                    <a:lnTo>
                      <a:pt x="2358" y="166"/>
                    </a:lnTo>
                    <a:lnTo>
                      <a:pt x="2358" y="168"/>
                    </a:lnTo>
                    <a:lnTo>
                      <a:pt x="2358" y="169"/>
                    </a:lnTo>
                    <a:lnTo>
                      <a:pt x="2358" y="170"/>
                    </a:lnTo>
                    <a:lnTo>
                      <a:pt x="2357" y="174"/>
                    </a:lnTo>
                    <a:lnTo>
                      <a:pt x="2356" y="176"/>
                    </a:lnTo>
                    <a:lnTo>
                      <a:pt x="2357" y="179"/>
                    </a:lnTo>
                    <a:lnTo>
                      <a:pt x="2358" y="182"/>
                    </a:lnTo>
                    <a:lnTo>
                      <a:pt x="2358" y="186"/>
                    </a:lnTo>
                    <a:lnTo>
                      <a:pt x="2360" y="190"/>
                    </a:lnTo>
                    <a:lnTo>
                      <a:pt x="2360" y="194"/>
                    </a:lnTo>
                    <a:lnTo>
                      <a:pt x="2361" y="195"/>
                    </a:lnTo>
                    <a:lnTo>
                      <a:pt x="2360" y="196"/>
                    </a:lnTo>
                    <a:lnTo>
                      <a:pt x="2358" y="197"/>
                    </a:lnTo>
                    <a:lnTo>
                      <a:pt x="2358" y="200"/>
                    </a:lnTo>
                    <a:lnTo>
                      <a:pt x="2358" y="202"/>
                    </a:lnTo>
                    <a:lnTo>
                      <a:pt x="2358" y="206"/>
                    </a:lnTo>
                    <a:lnTo>
                      <a:pt x="2360" y="211"/>
                    </a:lnTo>
                    <a:lnTo>
                      <a:pt x="2361" y="216"/>
                    </a:lnTo>
                    <a:lnTo>
                      <a:pt x="2361" y="221"/>
                    </a:lnTo>
                    <a:lnTo>
                      <a:pt x="2361" y="224"/>
                    </a:lnTo>
                    <a:lnTo>
                      <a:pt x="2362" y="225"/>
                    </a:lnTo>
                    <a:lnTo>
                      <a:pt x="2361" y="227"/>
                    </a:lnTo>
                    <a:lnTo>
                      <a:pt x="2361" y="230"/>
                    </a:lnTo>
                    <a:lnTo>
                      <a:pt x="2361" y="233"/>
                    </a:lnTo>
                    <a:lnTo>
                      <a:pt x="2363" y="252"/>
                    </a:lnTo>
                    <a:lnTo>
                      <a:pt x="2366" y="271"/>
                    </a:lnTo>
                    <a:lnTo>
                      <a:pt x="2360" y="265"/>
                    </a:lnTo>
                    <a:lnTo>
                      <a:pt x="2356" y="257"/>
                    </a:lnTo>
                    <a:lnTo>
                      <a:pt x="2354" y="251"/>
                    </a:lnTo>
                    <a:lnTo>
                      <a:pt x="2354" y="248"/>
                    </a:lnTo>
                    <a:lnTo>
                      <a:pt x="2355" y="246"/>
                    </a:lnTo>
                    <a:lnTo>
                      <a:pt x="2356" y="243"/>
                    </a:lnTo>
                    <a:lnTo>
                      <a:pt x="2355" y="243"/>
                    </a:lnTo>
                    <a:lnTo>
                      <a:pt x="2354" y="243"/>
                    </a:lnTo>
                    <a:lnTo>
                      <a:pt x="2351" y="243"/>
                    </a:lnTo>
                    <a:lnTo>
                      <a:pt x="2350" y="243"/>
                    </a:lnTo>
                    <a:lnTo>
                      <a:pt x="2349" y="241"/>
                    </a:lnTo>
                    <a:lnTo>
                      <a:pt x="2346" y="238"/>
                    </a:lnTo>
                    <a:lnTo>
                      <a:pt x="2345" y="236"/>
                    </a:lnTo>
                    <a:lnTo>
                      <a:pt x="2344" y="233"/>
                    </a:lnTo>
                    <a:lnTo>
                      <a:pt x="2341" y="230"/>
                    </a:lnTo>
                    <a:lnTo>
                      <a:pt x="2339" y="227"/>
                    </a:lnTo>
                    <a:lnTo>
                      <a:pt x="2336" y="225"/>
                    </a:lnTo>
                    <a:lnTo>
                      <a:pt x="2335" y="224"/>
                    </a:lnTo>
                    <a:lnTo>
                      <a:pt x="2332" y="220"/>
                    </a:lnTo>
                    <a:lnTo>
                      <a:pt x="2330" y="216"/>
                    </a:lnTo>
                    <a:lnTo>
                      <a:pt x="2327" y="214"/>
                    </a:lnTo>
                    <a:lnTo>
                      <a:pt x="2327" y="211"/>
                    </a:lnTo>
                    <a:lnTo>
                      <a:pt x="2329" y="210"/>
                    </a:lnTo>
                    <a:lnTo>
                      <a:pt x="2330" y="210"/>
                    </a:lnTo>
                    <a:lnTo>
                      <a:pt x="2331" y="210"/>
                    </a:lnTo>
                    <a:lnTo>
                      <a:pt x="2331" y="210"/>
                    </a:lnTo>
                    <a:lnTo>
                      <a:pt x="2332" y="211"/>
                    </a:lnTo>
                    <a:lnTo>
                      <a:pt x="2334" y="211"/>
                    </a:lnTo>
                    <a:lnTo>
                      <a:pt x="2335" y="211"/>
                    </a:lnTo>
                    <a:lnTo>
                      <a:pt x="2336" y="211"/>
                    </a:lnTo>
                    <a:lnTo>
                      <a:pt x="2336" y="210"/>
                    </a:lnTo>
                    <a:lnTo>
                      <a:pt x="2336" y="209"/>
                    </a:lnTo>
                    <a:lnTo>
                      <a:pt x="2335" y="205"/>
                    </a:lnTo>
                    <a:lnTo>
                      <a:pt x="2332" y="201"/>
                    </a:lnTo>
                    <a:lnTo>
                      <a:pt x="2330" y="197"/>
                    </a:lnTo>
                    <a:lnTo>
                      <a:pt x="2327" y="197"/>
                    </a:lnTo>
                    <a:lnTo>
                      <a:pt x="2326" y="197"/>
                    </a:lnTo>
                    <a:lnTo>
                      <a:pt x="2324" y="196"/>
                    </a:lnTo>
                    <a:lnTo>
                      <a:pt x="2322" y="192"/>
                    </a:lnTo>
                    <a:lnTo>
                      <a:pt x="2320" y="190"/>
                    </a:lnTo>
                    <a:lnTo>
                      <a:pt x="2317" y="186"/>
                    </a:lnTo>
                    <a:lnTo>
                      <a:pt x="2315" y="182"/>
                    </a:lnTo>
                    <a:lnTo>
                      <a:pt x="2314" y="180"/>
                    </a:lnTo>
                    <a:lnTo>
                      <a:pt x="2314" y="178"/>
                    </a:lnTo>
                    <a:lnTo>
                      <a:pt x="2314" y="176"/>
                    </a:lnTo>
                    <a:lnTo>
                      <a:pt x="2314" y="175"/>
                    </a:lnTo>
                    <a:lnTo>
                      <a:pt x="2315" y="175"/>
                    </a:lnTo>
                    <a:lnTo>
                      <a:pt x="2316" y="175"/>
                    </a:lnTo>
                    <a:lnTo>
                      <a:pt x="2319" y="175"/>
                    </a:lnTo>
                    <a:lnTo>
                      <a:pt x="2320" y="175"/>
                    </a:lnTo>
                    <a:lnTo>
                      <a:pt x="2321" y="175"/>
                    </a:lnTo>
                    <a:lnTo>
                      <a:pt x="2322" y="174"/>
                    </a:lnTo>
                    <a:lnTo>
                      <a:pt x="2322" y="171"/>
                    </a:lnTo>
                    <a:lnTo>
                      <a:pt x="2322" y="169"/>
                    </a:lnTo>
                    <a:lnTo>
                      <a:pt x="2322" y="168"/>
                    </a:lnTo>
                    <a:lnTo>
                      <a:pt x="2324" y="166"/>
                    </a:lnTo>
                    <a:lnTo>
                      <a:pt x="2326" y="166"/>
                    </a:lnTo>
                    <a:lnTo>
                      <a:pt x="2327" y="168"/>
                    </a:lnTo>
                    <a:lnTo>
                      <a:pt x="2330" y="168"/>
                    </a:lnTo>
                    <a:lnTo>
                      <a:pt x="2332" y="168"/>
                    </a:lnTo>
                    <a:lnTo>
                      <a:pt x="2334" y="168"/>
                    </a:lnTo>
                    <a:lnTo>
                      <a:pt x="2334" y="166"/>
                    </a:lnTo>
                    <a:lnTo>
                      <a:pt x="2334" y="164"/>
                    </a:lnTo>
                    <a:lnTo>
                      <a:pt x="2334" y="160"/>
                    </a:lnTo>
                    <a:lnTo>
                      <a:pt x="2332" y="156"/>
                    </a:lnTo>
                    <a:lnTo>
                      <a:pt x="2332" y="153"/>
                    </a:lnTo>
                    <a:lnTo>
                      <a:pt x="2330" y="150"/>
                    </a:lnTo>
                    <a:lnTo>
                      <a:pt x="2329" y="150"/>
                    </a:lnTo>
                    <a:lnTo>
                      <a:pt x="2329" y="150"/>
                    </a:lnTo>
                    <a:lnTo>
                      <a:pt x="2327" y="151"/>
                    </a:lnTo>
                    <a:lnTo>
                      <a:pt x="2327" y="153"/>
                    </a:lnTo>
                    <a:lnTo>
                      <a:pt x="2327" y="153"/>
                    </a:lnTo>
                    <a:lnTo>
                      <a:pt x="2327" y="154"/>
                    </a:lnTo>
                    <a:lnTo>
                      <a:pt x="2327" y="156"/>
                    </a:lnTo>
                    <a:lnTo>
                      <a:pt x="2326" y="158"/>
                    </a:lnTo>
                    <a:lnTo>
                      <a:pt x="2326" y="160"/>
                    </a:lnTo>
                    <a:lnTo>
                      <a:pt x="2326" y="160"/>
                    </a:lnTo>
                    <a:lnTo>
                      <a:pt x="2325" y="160"/>
                    </a:lnTo>
                    <a:lnTo>
                      <a:pt x="2324" y="156"/>
                    </a:lnTo>
                    <a:lnTo>
                      <a:pt x="2322" y="154"/>
                    </a:lnTo>
                    <a:lnTo>
                      <a:pt x="2321" y="151"/>
                    </a:lnTo>
                    <a:lnTo>
                      <a:pt x="2320" y="150"/>
                    </a:lnTo>
                    <a:lnTo>
                      <a:pt x="2319" y="149"/>
                    </a:lnTo>
                    <a:lnTo>
                      <a:pt x="2316" y="149"/>
                    </a:lnTo>
                    <a:lnTo>
                      <a:pt x="2315" y="150"/>
                    </a:lnTo>
                    <a:lnTo>
                      <a:pt x="2315" y="150"/>
                    </a:lnTo>
                    <a:lnTo>
                      <a:pt x="2315" y="154"/>
                    </a:lnTo>
                    <a:lnTo>
                      <a:pt x="2316" y="156"/>
                    </a:lnTo>
                    <a:lnTo>
                      <a:pt x="2317" y="159"/>
                    </a:lnTo>
                    <a:lnTo>
                      <a:pt x="2317" y="163"/>
                    </a:lnTo>
                    <a:lnTo>
                      <a:pt x="2317" y="164"/>
                    </a:lnTo>
                    <a:lnTo>
                      <a:pt x="2316" y="165"/>
                    </a:lnTo>
                    <a:lnTo>
                      <a:pt x="2315" y="165"/>
                    </a:lnTo>
                    <a:lnTo>
                      <a:pt x="2312" y="165"/>
                    </a:lnTo>
                    <a:lnTo>
                      <a:pt x="2311" y="166"/>
                    </a:lnTo>
                    <a:lnTo>
                      <a:pt x="2309" y="166"/>
                    </a:lnTo>
                    <a:lnTo>
                      <a:pt x="2307" y="165"/>
                    </a:lnTo>
                    <a:lnTo>
                      <a:pt x="2305" y="163"/>
                    </a:lnTo>
                    <a:lnTo>
                      <a:pt x="2304" y="160"/>
                    </a:lnTo>
                    <a:lnTo>
                      <a:pt x="2302" y="158"/>
                    </a:lnTo>
                    <a:lnTo>
                      <a:pt x="2301" y="154"/>
                    </a:lnTo>
                    <a:lnTo>
                      <a:pt x="2299" y="150"/>
                    </a:lnTo>
                    <a:lnTo>
                      <a:pt x="2291" y="139"/>
                    </a:lnTo>
                    <a:lnTo>
                      <a:pt x="2284" y="128"/>
                    </a:lnTo>
                    <a:lnTo>
                      <a:pt x="2283" y="125"/>
                    </a:lnTo>
                    <a:lnTo>
                      <a:pt x="2283" y="122"/>
                    </a:lnTo>
                    <a:lnTo>
                      <a:pt x="2283" y="119"/>
                    </a:lnTo>
                    <a:lnTo>
                      <a:pt x="2284" y="117"/>
                    </a:lnTo>
                    <a:lnTo>
                      <a:pt x="2283" y="113"/>
                    </a:lnTo>
                    <a:lnTo>
                      <a:pt x="2281" y="109"/>
                    </a:lnTo>
                    <a:lnTo>
                      <a:pt x="2274" y="102"/>
                    </a:lnTo>
                    <a:lnTo>
                      <a:pt x="2271" y="99"/>
                    </a:lnTo>
                    <a:lnTo>
                      <a:pt x="2270" y="97"/>
                    </a:lnTo>
                    <a:lnTo>
                      <a:pt x="2269" y="94"/>
                    </a:lnTo>
                    <a:lnTo>
                      <a:pt x="2269" y="92"/>
                    </a:lnTo>
                    <a:lnTo>
                      <a:pt x="2268" y="89"/>
                    </a:lnTo>
                    <a:lnTo>
                      <a:pt x="2265" y="83"/>
                    </a:lnTo>
                    <a:lnTo>
                      <a:pt x="2261" y="76"/>
                    </a:lnTo>
                    <a:lnTo>
                      <a:pt x="2260" y="69"/>
                    </a:lnTo>
                    <a:lnTo>
                      <a:pt x="2260" y="67"/>
                    </a:lnTo>
                    <a:lnTo>
                      <a:pt x="2263" y="64"/>
                    </a:lnTo>
                    <a:lnTo>
                      <a:pt x="2265" y="64"/>
                    </a:lnTo>
                    <a:lnTo>
                      <a:pt x="2266" y="63"/>
                    </a:lnTo>
                    <a:close/>
                    <a:moveTo>
                      <a:pt x="2317" y="54"/>
                    </a:moveTo>
                    <a:lnTo>
                      <a:pt x="2319" y="54"/>
                    </a:lnTo>
                    <a:lnTo>
                      <a:pt x="2320" y="56"/>
                    </a:lnTo>
                    <a:lnTo>
                      <a:pt x="2321" y="57"/>
                    </a:lnTo>
                    <a:lnTo>
                      <a:pt x="2322" y="59"/>
                    </a:lnTo>
                    <a:lnTo>
                      <a:pt x="2324" y="61"/>
                    </a:lnTo>
                    <a:lnTo>
                      <a:pt x="2325" y="63"/>
                    </a:lnTo>
                    <a:lnTo>
                      <a:pt x="2326" y="66"/>
                    </a:lnTo>
                    <a:lnTo>
                      <a:pt x="2327" y="68"/>
                    </a:lnTo>
                    <a:lnTo>
                      <a:pt x="2329" y="69"/>
                    </a:lnTo>
                    <a:lnTo>
                      <a:pt x="2331" y="72"/>
                    </a:lnTo>
                    <a:lnTo>
                      <a:pt x="2334" y="74"/>
                    </a:lnTo>
                    <a:lnTo>
                      <a:pt x="2335" y="76"/>
                    </a:lnTo>
                    <a:lnTo>
                      <a:pt x="2336" y="76"/>
                    </a:lnTo>
                    <a:lnTo>
                      <a:pt x="2336" y="74"/>
                    </a:lnTo>
                    <a:lnTo>
                      <a:pt x="2337" y="73"/>
                    </a:lnTo>
                    <a:lnTo>
                      <a:pt x="2337" y="72"/>
                    </a:lnTo>
                    <a:lnTo>
                      <a:pt x="2337" y="72"/>
                    </a:lnTo>
                    <a:lnTo>
                      <a:pt x="2337" y="71"/>
                    </a:lnTo>
                    <a:lnTo>
                      <a:pt x="2339" y="71"/>
                    </a:lnTo>
                    <a:lnTo>
                      <a:pt x="2340" y="72"/>
                    </a:lnTo>
                    <a:lnTo>
                      <a:pt x="2342" y="74"/>
                    </a:lnTo>
                    <a:lnTo>
                      <a:pt x="2344" y="74"/>
                    </a:lnTo>
                    <a:lnTo>
                      <a:pt x="2344" y="74"/>
                    </a:lnTo>
                    <a:lnTo>
                      <a:pt x="2344" y="74"/>
                    </a:lnTo>
                    <a:lnTo>
                      <a:pt x="2344" y="73"/>
                    </a:lnTo>
                    <a:lnTo>
                      <a:pt x="2342" y="72"/>
                    </a:lnTo>
                    <a:lnTo>
                      <a:pt x="2342" y="72"/>
                    </a:lnTo>
                    <a:lnTo>
                      <a:pt x="2342" y="71"/>
                    </a:lnTo>
                    <a:lnTo>
                      <a:pt x="2342" y="68"/>
                    </a:lnTo>
                    <a:lnTo>
                      <a:pt x="2344" y="67"/>
                    </a:lnTo>
                    <a:lnTo>
                      <a:pt x="2344" y="66"/>
                    </a:lnTo>
                    <a:lnTo>
                      <a:pt x="2345" y="66"/>
                    </a:lnTo>
                    <a:lnTo>
                      <a:pt x="2346" y="67"/>
                    </a:lnTo>
                    <a:lnTo>
                      <a:pt x="2349" y="67"/>
                    </a:lnTo>
                    <a:lnTo>
                      <a:pt x="2351" y="69"/>
                    </a:lnTo>
                    <a:lnTo>
                      <a:pt x="2354" y="72"/>
                    </a:lnTo>
                    <a:lnTo>
                      <a:pt x="2355" y="76"/>
                    </a:lnTo>
                    <a:lnTo>
                      <a:pt x="2356" y="78"/>
                    </a:lnTo>
                    <a:lnTo>
                      <a:pt x="2356" y="81"/>
                    </a:lnTo>
                    <a:lnTo>
                      <a:pt x="2356" y="82"/>
                    </a:lnTo>
                    <a:lnTo>
                      <a:pt x="2356" y="84"/>
                    </a:lnTo>
                    <a:lnTo>
                      <a:pt x="2356" y="85"/>
                    </a:lnTo>
                    <a:lnTo>
                      <a:pt x="2357" y="88"/>
                    </a:lnTo>
                    <a:lnTo>
                      <a:pt x="2357" y="89"/>
                    </a:lnTo>
                    <a:lnTo>
                      <a:pt x="2360" y="89"/>
                    </a:lnTo>
                    <a:lnTo>
                      <a:pt x="2360" y="89"/>
                    </a:lnTo>
                    <a:lnTo>
                      <a:pt x="2361" y="88"/>
                    </a:lnTo>
                    <a:lnTo>
                      <a:pt x="2360" y="87"/>
                    </a:lnTo>
                    <a:lnTo>
                      <a:pt x="2360" y="85"/>
                    </a:lnTo>
                    <a:lnTo>
                      <a:pt x="2360" y="83"/>
                    </a:lnTo>
                    <a:lnTo>
                      <a:pt x="2360" y="82"/>
                    </a:lnTo>
                    <a:lnTo>
                      <a:pt x="2360" y="81"/>
                    </a:lnTo>
                    <a:lnTo>
                      <a:pt x="2361" y="79"/>
                    </a:lnTo>
                    <a:lnTo>
                      <a:pt x="2362" y="79"/>
                    </a:lnTo>
                    <a:lnTo>
                      <a:pt x="2365" y="79"/>
                    </a:lnTo>
                    <a:lnTo>
                      <a:pt x="2373" y="87"/>
                    </a:lnTo>
                    <a:lnTo>
                      <a:pt x="2375" y="90"/>
                    </a:lnTo>
                    <a:lnTo>
                      <a:pt x="2377" y="92"/>
                    </a:lnTo>
                    <a:lnTo>
                      <a:pt x="2380" y="93"/>
                    </a:lnTo>
                    <a:lnTo>
                      <a:pt x="2381" y="95"/>
                    </a:lnTo>
                    <a:lnTo>
                      <a:pt x="2385" y="97"/>
                    </a:lnTo>
                    <a:lnTo>
                      <a:pt x="2387" y="98"/>
                    </a:lnTo>
                    <a:lnTo>
                      <a:pt x="2391" y="99"/>
                    </a:lnTo>
                    <a:lnTo>
                      <a:pt x="2393" y="100"/>
                    </a:lnTo>
                    <a:lnTo>
                      <a:pt x="2395" y="103"/>
                    </a:lnTo>
                    <a:lnTo>
                      <a:pt x="2398" y="104"/>
                    </a:lnTo>
                    <a:lnTo>
                      <a:pt x="2400" y="107"/>
                    </a:lnTo>
                    <a:lnTo>
                      <a:pt x="2400" y="109"/>
                    </a:lnTo>
                    <a:lnTo>
                      <a:pt x="2400" y="110"/>
                    </a:lnTo>
                    <a:lnTo>
                      <a:pt x="2398" y="110"/>
                    </a:lnTo>
                    <a:lnTo>
                      <a:pt x="2398" y="112"/>
                    </a:lnTo>
                    <a:lnTo>
                      <a:pt x="2398" y="113"/>
                    </a:lnTo>
                    <a:lnTo>
                      <a:pt x="2398" y="114"/>
                    </a:lnTo>
                    <a:lnTo>
                      <a:pt x="2400" y="115"/>
                    </a:lnTo>
                    <a:lnTo>
                      <a:pt x="2401" y="119"/>
                    </a:lnTo>
                    <a:lnTo>
                      <a:pt x="2402" y="120"/>
                    </a:lnTo>
                    <a:lnTo>
                      <a:pt x="2402" y="123"/>
                    </a:lnTo>
                    <a:lnTo>
                      <a:pt x="2402" y="123"/>
                    </a:lnTo>
                    <a:lnTo>
                      <a:pt x="2401" y="124"/>
                    </a:lnTo>
                    <a:lnTo>
                      <a:pt x="2401" y="125"/>
                    </a:lnTo>
                    <a:lnTo>
                      <a:pt x="2401" y="127"/>
                    </a:lnTo>
                    <a:lnTo>
                      <a:pt x="2398" y="129"/>
                    </a:lnTo>
                    <a:lnTo>
                      <a:pt x="2398" y="132"/>
                    </a:lnTo>
                    <a:lnTo>
                      <a:pt x="2398" y="134"/>
                    </a:lnTo>
                    <a:lnTo>
                      <a:pt x="2397" y="138"/>
                    </a:lnTo>
                    <a:lnTo>
                      <a:pt x="2397" y="140"/>
                    </a:lnTo>
                    <a:lnTo>
                      <a:pt x="2396" y="143"/>
                    </a:lnTo>
                    <a:lnTo>
                      <a:pt x="2396" y="145"/>
                    </a:lnTo>
                    <a:lnTo>
                      <a:pt x="2395" y="146"/>
                    </a:lnTo>
                    <a:lnTo>
                      <a:pt x="2393" y="148"/>
                    </a:lnTo>
                    <a:lnTo>
                      <a:pt x="2392" y="148"/>
                    </a:lnTo>
                    <a:lnTo>
                      <a:pt x="2390" y="148"/>
                    </a:lnTo>
                    <a:lnTo>
                      <a:pt x="2387" y="146"/>
                    </a:lnTo>
                    <a:lnTo>
                      <a:pt x="2385" y="145"/>
                    </a:lnTo>
                    <a:lnTo>
                      <a:pt x="2382" y="143"/>
                    </a:lnTo>
                    <a:lnTo>
                      <a:pt x="2381" y="141"/>
                    </a:lnTo>
                    <a:lnTo>
                      <a:pt x="2378" y="139"/>
                    </a:lnTo>
                    <a:lnTo>
                      <a:pt x="2375" y="136"/>
                    </a:lnTo>
                    <a:lnTo>
                      <a:pt x="2371" y="134"/>
                    </a:lnTo>
                    <a:lnTo>
                      <a:pt x="2367" y="132"/>
                    </a:lnTo>
                    <a:lnTo>
                      <a:pt x="2360" y="130"/>
                    </a:lnTo>
                    <a:lnTo>
                      <a:pt x="2351" y="128"/>
                    </a:lnTo>
                    <a:lnTo>
                      <a:pt x="2342" y="122"/>
                    </a:lnTo>
                    <a:lnTo>
                      <a:pt x="2342" y="119"/>
                    </a:lnTo>
                    <a:lnTo>
                      <a:pt x="2341" y="118"/>
                    </a:lnTo>
                    <a:lnTo>
                      <a:pt x="2340" y="115"/>
                    </a:lnTo>
                    <a:lnTo>
                      <a:pt x="2340" y="114"/>
                    </a:lnTo>
                    <a:lnTo>
                      <a:pt x="2339" y="112"/>
                    </a:lnTo>
                    <a:lnTo>
                      <a:pt x="2340" y="110"/>
                    </a:lnTo>
                    <a:lnTo>
                      <a:pt x="2346" y="113"/>
                    </a:lnTo>
                    <a:lnTo>
                      <a:pt x="2346" y="113"/>
                    </a:lnTo>
                    <a:lnTo>
                      <a:pt x="2346" y="112"/>
                    </a:lnTo>
                    <a:lnTo>
                      <a:pt x="2345" y="110"/>
                    </a:lnTo>
                    <a:lnTo>
                      <a:pt x="2345" y="109"/>
                    </a:lnTo>
                    <a:lnTo>
                      <a:pt x="2345" y="108"/>
                    </a:lnTo>
                    <a:lnTo>
                      <a:pt x="2346" y="108"/>
                    </a:lnTo>
                    <a:lnTo>
                      <a:pt x="2347" y="108"/>
                    </a:lnTo>
                    <a:lnTo>
                      <a:pt x="2349" y="109"/>
                    </a:lnTo>
                    <a:lnTo>
                      <a:pt x="2349" y="109"/>
                    </a:lnTo>
                    <a:lnTo>
                      <a:pt x="2350" y="108"/>
                    </a:lnTo>
                    <a:lnTo>
                      <a:pt x="2349" y="108"/>
                    </a:lnTo>
                    <a:lnTo>
                      <a:pt x="2349" y="105"/>
                    </a:lnTo>
                    <a:lnTo>
                      <a:pt x="2347" y="103"/>
                    </a:lnTo>
                    <a:lnTo>
                      <a:pt x="2346" y="100"/>
                    </a:lnTo>
                    <a:lnTo>
                      <a:pt x="2345" y="99"/>
                    </a:lnTo>
                    <a:lnTo>
                      <a:pt x="2342" y="98"/>
                    </a:lnTo>
                    <a:lnTo>
                      <a:pt x="2341" y="98"/>
                    </a:lnTo>
                    <a:lnTo>
                      <a:pt x="2339" y="98"/>
                    </a:lnTo>
                    <a:lnTo>
                      <a:pt x="2337" y="98"/>
                    </a:lnTo>
                    <a:lnTo>
                      <a:pt x="2336" y="99"/>
                    </a:lnTo>
                    <a:lnTo>
                      <a:pt x="2335" y="100"/>
                    </a:lnTo>
                    <a:lnTo>
                      <a:pt x="2334" y="100"/>
                    </a:lnTo>
                    <a:lnTo>
                      <a:pt x="2332" y="102"/>
                    </a:lnTo>
                    <a:lnTo>
                      <a:pt x="2331" y="102"/>
                    </a:lnTo>
                    <a:lnTo>
                      <a:pt x="2329" y="100"/>
                    </a:lnTo>
                    <a:lnTo>
                      <a:pt x="2327" y="100"/>
                    </a:lnTo>
                    <a:lnTo>
                      <a:pt x="2326" y="100"/>
                    </a:lnTo>
                    <a:lnTo>
                      <a:pt x="2326" y="99"/>
                    </a:lnTo>
                    <a:lnTo>
                      <a:pt x="2325" y="98"/>
                    </a:lnTo>
                    <a:lnTo>
                      <a:pt x="2324" y="95"/>
                    </a:lnTo>
                    <a:lnTo>
                      <a:pt x="2322" y="94"/>
                    </a:lnTo>
                    <a:lnTo>
                      <a:pt x="2321" y="92"/>
                    </a:lnTo>
                    <a:lnTo>
                      <a:pt x="2320" y="89"/>
                    </a:lnTo>
                    <a:lnTo>
                      <a:pt x="2317" y="87"/>
                    </a:lnTo>
                    <a:lnTo>
                      <a:pt x="2317" y="87"/>
                    </a:lnTo>
                    <a:lnTo>
                      <a:pt x="2319" y="85"/>
                    </a:lnTo>
                    <a:lnTo>
                      <a:pt x="2319" y="85"/>
                    </a:lnTo>
                    <a:lnTo>
                      <a:pt x="2320" y="84"/>
                    </a:lnTo>
                    <a:lnTo>
                      <a:pt x="2321" y="84"/>
                    </a:lnTo>
                    <a:lnTo>
                      <a:pt x="2320" y="83"/>
                    </a:lnTo>
                    <a:lnTo>
                      <a:pt x="2319" y="81"/>
                    </a:lnTo>
                    <a:lnTo>
                      <a:pt x="2316" y="78"/>
                    </a:lnTo>
                    <a:lnTo>
                      <a:pt x="2314" y="76"/>
                    </a:lnTo>
                    <a:lnTo>
                      <a:pt x="2312" y="74"/>
                    </a:lnTo>
                    <a:lnTo>
                      <a:pt x="2311" y="74"/>
                    </a:lnTo>
                    <a:lnTo>
                      <a:pt x="2309" y="73"/>
                    </a:lnTo>
                    <a:lnTo>
                      <a:pt x="2307" y="72"/>
                    </a:lnTo>
                    <a:lnTo>
                      <a:pt x="2306" y="69"/>
                    </a:lnTo>
                    <a:lnTo>
                      <a:pt x="2306" y="68"/>
                    </a:lnTo>
                    <a:lnTo>
                      <a:pt x="2307" y="67"/>
                    </a:lnTo>
                    <a:lnTo>
                      <a:pt x="2307" y="66"/>
                    </a:lnTo>
                    <a:lnTo>
                      <a:pt x="2309" y="66"/>
                    </a:lnTo>
                    <a:lnTo>
                      <a:pt x="2310" y="66"/>
                    </a:lnTo>
                    <a:lnTo>
                      <a:pt x="2311" y="67"/>
                    </a:lnTo>
                    <a:lnTo>
                      <a:pt x="2314" y="68"/>
                    </a:lnTo>
                    <a:lnTo>
                      <a:pt x="2315" y="69"/>
                    </a:lnTo>
                    <a:lnTo>
                      <a:pt x="2317" y="71"/>
                    </a:lnTo>
                    <a:lnTo>
                      <a:pt x="2317" y="71"/>
                    </a:lnTo>
                    <a:lnTo>
                      <a:pt x="2319" y="71"/>
                    </a:lnTo>
                    <a:lnTo>
                      <a:pt x="2319" y="69"/>
                    </a:lnTo>
                    <a:lnTo>
                      <a:pt x="2319" y="68"/>
                    </a:lnTo>
                    <a:lnTo>
                      <a:pt x="2319" y="67"/>
                    </a:lnTo>
                    <a:lnTo>
                      <a:pt x="2317" y="64"/>
                    </a:lnTo>
                    <a:lnTo>
                      <a:pt x="2317" y="63"/>
                    </a:lnTo>
                    <a:lnTo>
                      <a:pt x="2316" y="62"/>
                    </a:lnTo>
                    <a:lnTo>
                      <a:pt x="2316" y="62"/>
                    </a:lnTo>
                    <a:lnTo>
                      <a:pt x="2317" y="61"/>
                    </a:lnTo>
                    <a:lnTo>
                      <a:pt x="2317" y="59"/>
                    </a:lnTo>
                    <a:lnTo>
                      <a:pt x="2317" y="58"/>
                    </a:lnTo>
                    <a:lnTo>
                      <a:pt x="2317" y="56"/>
                    </a:lnTo>
                    <a:lnTo>
                      <a:pt x="2317" y="54"/>
                    </a:lnTo>
                    <a:lnTo>
                      <a:pt x="2317" y="54"/>
                    </a:lnTo>
                    <a:close/>
                    <a:moveTo>
                      <a:pt x="2305" y="41"/>
                    </a:moveTo>
                    <a:lnTo>
                      <a:pt x="2306" y="41"/>
                    </a:lnTo>
                    <a:lnTo>
                      <a:pt x="2307" y="42"/>
                    </a:lnTo>
                    <a:lnTo>
                      <a:pt x="2309" y="43"/>
                    </a:lnTo>
                    <a:lnTo>
                      <a:pt x="2311" y="44"/>
                    </a:lnTo>
                    <a:lnTo>
                      <a:pt x="2315" y="48"/>
                    </a:lnTo>
                    <a:lnTo>
                      <a:pt x="2315" y="49"/>
                    </a:lnTo>
                    <a:lnTo>
                      <a:pt x="2314" y="49"/>
                    </a:lnTo>
                    <a:lnTo>
                      <a:pt x="2312" y="48"/>
                    </a:lnTo>
                    <a:lnTo>
                      <a:pt x="2310" y="47"/>
                    </a:lnTo>
                    <a:lnTo>
                      <a:pt x="2307" y="46"/>
                    </a:lnTo>
                    <a:lnTo>
                      <a:pt x="2306" y="46"/>
                    </a:lnTo>
                    <a:lnTo>
                      <a:pt x="2305" y="44"/>
                    </a:lnTo>
                    <a:lnTo>
                      <a:pt x="2304" y="43"/>
                    </a:lnTo>
                    <a:lnTo>
                      <a:pt x="2304" y="42"/>
                    </a:lnTo>
                    <a:lnTo>
                      <a:pt x="2304" y="42"/>
                    </a:lnTo>
                    <a:lnTo>
                      <a:pt x="2305" y="41"/>
                    </a:lnTo>
                    <a:close/>
                    <a:moveTo>
                      <a:pt x="359" y="0"/>
                    </a:moveTo>
                    <a:lnTo>
                      <a:pt x="363" y="1"/>
                    </a:lnTo>
                    <a:lnTo>
                      <a:pt x="364" y="6"/>
                    </a:lnTo>
                    <a:lnTo>
                      <a:pt x="363" y="12"/>
                    </a:lnTo>
                    <a:lnTo>
                      <a:pt x="362" y="18"/>
                    </a:lnTo>
                    <a:lnTo>
                      <a:pt x="360" y="25"/>
                    </a:lnTo>
                    <a:lnTo>
                      <a:pt x="360" y="28"/>
                    </a:lnTo>
                    <a:lnTo>
                      <a:pt x="360" y="31"/>
                    </a:lnTo>
                    <a:lnTo>
                      <a:pt x="360" y="33"/>
                    </a:lnTo>
                    <a:lnTo>
                      <a:pt x="360" y="36"/>
                    </a:lnTo>
                    <a:lnTo>
                      <a:pt x="360" y="38"/>
                    </a:lnTo>
                    <a:lnTo>
                      <a:pt x="359" y="41"/>
                    </a:lnTo>
                    <a:lnTo>
                      <a:pt x="359" y="43"/>
                    </a:lnTo>
                    <a:lnTo>
                      <a:pt x="360" y="44"/>
                    </a:lnTo>
                    <a:lnTo>
                      <a:pt x="363" y="46"/>
                    </a:lnTo>
                    <a:lnTo>
                      <a:pt x="365" y="46"/>
                    </a:lnTo>
                    <a:lnTo>
                      <a:pt x="368" y="47"/>
                    </a:lnTo>
                    <a:lnTo>
                      <a:pt x="370" y="48"/>
                    </a:lnTo>
                    <a:lnTo>
                      <a:pt x="372" y="51"/>
                    </a:lnTo>
                    <a:lnTo>
                      <a:pt x="373" y="53"/>
                    </a:lnTo>
                    <a:lnTo>
                      <a:pt x="374" y="54"/>
                    </a:lnTo>
                    <a:lnTo>
                      <a:pt x="377" y="57"/>
                    </a:lnTo>
                    <a:lnTo>
                      <a:pt x="378" y="57"/>
                    </a:lnTo>
                    <a:lnTo>
                      <a:pt x="380" y="57"/>
                    </a:lnTo>
                    <a:lnTo>
                      <a:pt x="383" y="56"/>
                    </a:lnTo>
                    <a:lnTo>
                      <a:pt x="384" y="54"/>
                    </a:lnTo>
                    <a:lnTo>
                      <a:pt x="387" y="52"/>
                    </a:lnTo>
                    <a:lnTo>
                      <a:pt x="388" y="48"/>
                    </a:lnTo>
                    <a:lnTo>
                      <a:pt x="390" y="46"/>
                    </a:lnTo>
                    <a:lnTo>
                      <a:pt x="393" y="44"/>
                    </a:lnTo>
                    <a:lnTo>
                      <a:pt x="396" y="43"/>
                    </a:lnTo>
                    <a:lnTo>
                      <a:pt x="405" y="44"/>
                    </a:lnTo>
                    <a:lnTo>
                      <a:pt x="410" y="48"/>
                    </a:lnTo>
                    <a:lnTo>
                      <a:pt x="411" y="54"/>
                    </a:lnTo>
                    <a:lnTo>
                      <a:pt x="410" y="63"/>
                    </a:lnTo>
                    <a:lnTo>
                      <a:pt x="408" y="73"/>
                    </a:lnTo>
                    <a:lnTo>
                      <a:pt x="403" y="82"/>
                    </a:lnTo>
                    <a:lnTo>
                      <a:pt x="398" y="90"/>
                    </a:lnTo>
                    <a:lnTo>
                      <a:pt x="394" y="97"/>
                    </a:lnTo>
                    <a:lnTo>
                      <a:pt x="387" y="105"/>
                    </a:lnTo>
                    <a:lnTo>
                      <a:pt x="379" y="112"/>
                    </a:lnTo>
                    <a:lnTo>
                      <a:pt x="370" y="114"/>
                    </a:lnTo>
                    <a:lnTo>
                      <a:pt x="363" y="113"/>
                    </a:lnTo>
                    <a:lnTo>
                      <a:pt x="359" y="112"/>
                    </a:lnTo>
                    <a:lnTo>
                      <a:pt x="357" y="110"/>
                    </a:lnTo>
                    <a:lnTo>
                      <a:pt x="354" y="112"/>
                    </a:lnTo>
                    <a:lnTo>
                      <a:pt x="353" y="113"/>
                    </a:lnTo>
                    <a:lnTo>
                      <a:pt x="352" y="114"/>
                    </a:lnTo>
                    <a:lnTo>
                      <a:pt x="350" y="117"/>
                    </a:lnTo>
                    <a:lnTo>
                      <a:pt x="349" y="118"/>
                    </a:lnTo>
                    <a:lnTo>
                      <a:pt x="348" y="119"/>
                    </a:lnTo>
                    <a:lnTo>
                      <a:pt x="347" y="120"/>
                    </a:lnTo>
                    <a:lnTo>
                      <a:pt x="344" y="122"/>
                    </a:lnTo>
                    <a:lnTo>
                      <a:pt x="334" y="119"/>
                    </a:lnTo>
                    <a:lnTo>
                      <a:pt x="325" y="120"/>
                    </a:lnTo>
                    <a:lnTo>
                      <a:pt x="315" y="124"/>
                    </a:lnTo>
                    <a:lnTo>
                      <a:pt x="312" y="128"/>
                    </a:lnTo>
                    <a:lnTo>
                      <a:pt x="309" y="132"/>
                    </a:lnTo>
                    <a:lnTo>
                      <a:pt x="307" y="135"/>
                    </a:lnTo>
                    <a:lnTo>
                      <a:pt x="303" y="138"/>
                    </a:lnTo>
                    <a:lnTo>
                      <a:pt x="298" y="140"/>
                    </a:lnTo>
                    <a:lnTo>
                      <a:pt x="294" y="144"/>
                    </a:lnTo>
                    <a:lnTo>
                      <a:pt x="289" y="146"/>
                    </a:lnTo>
                    <a:lnTo>
                      <a:pt x="284" y="150"/>
                    </a:lnTo>
                    <a:lnTo>
                      <a:pt x="281" y="155"/>
                    </a:lnTo>
                    <a:lnTo>
                      <a:pt x="278" y="159"/>
                    </a:lnTo>
                    <a:lnTo>
                      <a:pt x="274" y="163"/>
                    </a:lnTo>
                    <a:lnTo>
                      <a:pt x="269" y="166"/>
                    </a:lnTo>
                    <a:lnTo>
                      <a:pt x="264" y="169"/>
                    </a:lnTo>
                    <a:lnTo>
                      <a:pt x="261" y="170"/>
                    </a:lnTo>
                    <a:lnTo>
                      <a:pt x="256" y="171"/>
                    </a:lnTo>
                    <a:lnTo>
                      <a:pt x="251" y="173"/>
                    </a:lnTo>
                    <a:lnTo>
                      <a:pt x="241" y="170"/>
                    </a:lnTo>
                    <a:lnTo>
                      <a:pt x="232" y="165"/>
                    </a:lnTo>
                    <a:lnTo>
                      <a:pt x="228" y="159"/>
                    </a:lnTo>
                    <a:lnTo>
                      <a:pt x="228" y="151"/>
                    </a:lnTo>
                    <a:lnTo>
                      <a:pt x="232" y="148"/>
                    </a:lnTo>
                    <a:lnTo>
                      <a:pt x="238" y="144"/>
                    </a:lnTo>
                    <a:lnTo>
                      <a:pt x="244" y="140"/>
                    </a:lnTo>
                    <a:lnTo>
                      <a:pt x="248" y="134"/>
                    </a:lnTo>
                    <a:lnTo>
                      <a:pt x="254" y="132"/>
                    </a:lnTo>
                    <a:lnTo>
                      <a:pt x="261" y="129"/>
                    </a:lnTo>
                    <a:lnTo>
                      <a:pt x="268" y="128"/>
                    </a:lnTo>
                    <a:lnTo>
                      <a:pt x="276" y="125"/>
                    </a:lnTo>
                    <a:lnTo>
                      <a:pt x="279" y="122"/>
                    </a:lnTo>
                    <a:lnTo>
                      <a:pt x="279" y="120"/>
                    </a:lnTo>
                    <a:lnTo>
                      <a:pt x="279" y="119"/>
                    </a:lnTo>
                    <a:lnTo>
                      <a:pt x="277" y="119"/>
                    </a:lnTo>
                    <a:lnTo>
                      <a:pt x="274" y="119"/>
                    </a:lnTo>
                    <a:lnTo>
                      <a:pt x="272" y="120"/>
                    </a:lnTo>
                    <a:lnTo>
                      <a:pt x="269" y="120"/>
                    </a:lnTo>
                    <a:lnTo>
                      <a:pt x="266" y="122"/>
                    </a:lnTo>
                    <a:lnTo>
                      <a:pt x="263" y="123"/>
                    </a:lnTo>
                    <a:lnTo>
                      <a:pt x="262" y="124"/>
                    </a:lnTo>
                    <a:lnTo>
                      <a:pt x="258" y="124"/>
                    </a:lnTo>
                    <a:lnTo>
                      <a:pt x="256" y="123"/>
                    </a:lnTo>
                    <a:lnTo>
                      <a:pt x="253" y="123"/>
                    </a:lnTo>
                    <a:lnTo>
                      <a:pt x="251" y="123"/>
                    </a:lnTo>
                    <a:lnTo>
                      <a:pt x="248" y="124"/>
                    </a:lnTo>
                    <a:lnTo>
                      <a:pt x="244" y="125"/>
                    </a:lnTo>
                    <a:lnTo>
                      <a:pt x="242" y="125"/>
                    </a:lnTo>
                    <a:lnTo>
                      <a:pt x="240" y="125"/>
                    </a:lnTo>
                    <a:lnTo>
                      <a:pt x="238" y="124"/>
                    </a:lnTo>
                    <a:lnTo>
                      <a:pt x="236" y="123"/>
                    </a:lnTo>
                    <a:lnTo>
                      <a:pt x="233" y="123"/>
                    </a:lnTo>
                    <a:lnTo>
                      <a:pt x="232" y="124"/>
                    </a:lnTo>
                    <a:lnTo>
                      <a:pt x="231" y="127"/>
                    </a:lnTo>
                    <a:lnTo>
                      <a:pt x="231" y="128"/>
                    </a:lnTo>
                    <a:lnTo>
                      <a:pt x="231" y="129"/>
                    </a:lnTo>
                    <a:lnTo>
                      <a:pt x="222" y="136"/>
                    </a:lnTo>
                    <a:lnTo>
                      <a:pt x="215" y="141"/>
                    </a:lnTo>
                    <a:lnTo>
                      <a:pt x="207" y="143"/>
                    </a:lnTo>
                    <a:lnTo>
                      <a:pt x="205" y="141"/>
                    </a:lnTo>
                    <a:lnTo>
                      <a:pt x="203" y="139"/>
                    </a:lnTo>
                    <a:lnTo>
                      <a:pt x="203" y="138"/>
                    </a:lnTo>
                    <a:lnTo>
                      <a:pt x="203" y="135"/>
                    </a:lnTo>
                    <a:lnTo>
                      <a:pt x="202" y="133"/>
                    </a:lnTo>
                    <a:lnTo>
                      <a:pt x="202" y="132"/>
                    </a:lnTo>
                    <a:lnTo>
                      <a:pt x="201" y="132"/>
                    </a:lnTo>
                    <a:lnTo>
                      <a:pt x="200" y="130"/>
                    </a:lnTo>
                    <a:lnTo>
                      <a:pt x="198" y="130"/>
                    </a:lnTo>
                    <a:lnTo>
                      <a:pt x="196" y="132"/>
                    </a:lnTo>
                    <a:lnTo>
                      <a:pt x="193" y="132"/>
                    </a:lnTo>
                    <a:lnTo>
                      <a:pt x="191" y="132"/>
                    </a:lnTo>
                    <a:lnTo>
                      <a:pt x="188" y="132"/>
                    </a:lnTo>
                    <a:lnTo>
                      <a:pt x="186" y="132"/>
                    </a:lnTo>
                    <a:lnTo>
                      <a:pt x="183" y="130"/>
                    </a:lnTo>
                    <a:lnTo>
                      <a:pt x="182" y="129"/>
                    </a:lnTo>
                    <a:lnTo>
                      <a:pt x="181" y="127"/>
                    </a:lnTo>
                    <a:lnTo>
                      <a:pt x="180" y="125"/>
                    </a:lnTo>
                    <a:lnTo>
                      <a:pt x="181" y="122"/>
                    </a:lnTo>
                    <a:lnTo>
                      <a:pt x="182" y="119"/>
                    </a:lnTo>
                    <a:lnTo>
                      <a:pt x="186" y="115"/>
                    </a:lnTo>
                    <a:lnTo>
                      <a:pt x="196" y="110"/>
                    </a:lnTo>
                    <a:lnTo>
                      <a:pt x="206" y="108"/>
                    </a:lnTo>
                    <a:lnTo>
                      <a:pt x="217" y="105"/>
                    </a:lnTo>
                    <a:lnTo>
                      <a:pt x="221" y="103"/>
                    </a:lnTo>
                    <a:lnTo>
                      <a:pt x="222" y="102"/>
                    </a:lnTo>
                    <a:lnTo>
                      <a:pt x="222" y="102"/>
                    </a:lnTo>
                    <a:lnTo>
                      <a:pt x="221" y="100"/>
                    </a:lnTo>
                    <a:lnTo>
                      <a:pt x="220" y="100"/>
                    </a:lnTo>
                    <a:lnTo>
                      <a:pt x="217" y="100"/>
                    </a:lnTo>
                    <a:lnTo>
                      <a:pt x="213" y="100"/>
                    </a:lnTo>
                    <a:lnTo>
                      <a:pt x="211" y="100"/>
                    </a:lnTo>
                    <a:lnTo>
                      <a:pt x="208" y="100"/>
                    </a:lnTo>
                    <a:lnTo>
                      <a:pt x="206" y="100"/>
                    </a:lnTo>
                    <a:lnTo>
                      <a:pt x="205" y="100"/>
                    </a:lnTo>
                    <a:lnTo>
                      <a:pt x="205" y="99"/>
                    </a:lnTo>
                    <a:lnTo>
                      <a:pt x="205" y="98"/>
                    </a:lnTo>
                    <a:lnTo>
                      <a:pt x="206" y="97"/>
                    </a:lnTo>
                    <a:lnTo>
                      <a:pt x="208" y="94"/>
                    </a:lnTo>
                    <a:lnTo>
                      <a:pt x="211" y="93"/>
                    </a:lnTo>
                    <a:lnTo>
                      <a:pt x="215" y="92"/>
                    </a:lnTo>
                    <a:lnTo>
                      <a:pt x="217" y="92"/>
                    </a:lnTo>
                    <a:lnTo>
                      <a:pt x="220" y="90"/>
                    </a:lnTo>
                    <a:lnTo>
                      <a:pt x="220" y="89"/>
                    </a:lnTo>
                    <a:lnTo>
                      <a:pt x="220" y="88"/>
                    </a:lnTo>
                    <a:lnTo>
                      <a:pt x="218" y="87"/>
                    </a:lnTo>
                    <a:lnTo>
                      <a:pt x="216" y="87"/>
                    </a:lnTo>
                    <a:lnTo>
                      <a:pt x="213" y="87"/>
                    </a:lnTo>
                    <a:lnTo>
                      <a:pt x="211" y="87"/>
                    </a:lnTo>
                    <a:lnTo>
                      <a:pt x="210" y="85"/>
                    </a:lnTo>
                    <a:lnTo>
                      <a:pt x="207" y="85"/>
                    </a:lnTo>
                    <a:lnTo>
                      <a:pt x="207" y="84"/>
                    </a:lnTo>
                    <a:lnTo>
                      <a:pt x="210" y="76"/>
                    </a:lnTo>
                    <a:lnTo>
                      <a:pt x="218" y="68"/>
                    </a:lnTo>
                    <a:lnTo>
                      <a:pt x="228" y="62"/>
                    </a:lnTo>
                    <a:lnTo>
                      <a:pt x="231" y="61"/>
                    </a:lnTo>
                    <a:lnTo>
                      <a:pt x="232" y="57"/>
                    </a:lnTo>
                    <a:lnTo>
                      <a:pt x="235" y="54"/>
                    </a:lnTo>
                    <a:lnTo>
                      <a:pt x="236" y="51"/>
                    </a:lnTo>
                    <a:lnTo>
                      <a:pt x="237" y="48"/>
                    </a:lnTo>
                    <a:lnTo>
                      <a:pt x="238" y="46"/>
                    </a:lnTo>
                    <a:lnTo>
                      <a:pt x="241" y="44"/>
                    </a:lnTo>
                    <a:lnTo>
                      <a:pt x="243" y="43"/>
                    </a:lnTo>
                    <a:lnTo>
                      <a:pt x="248" y="43"/>
                    </a:lnTo>
                    <a:lnTo>
                      <a:pt x="252" y="43"/>
                    </a:lnTo>
                    <a:lnTo>
                      <a:pt x="254" y="43"/>
                    </a:lnTo>
                    <a:lnTo>
                      <a:pt x="257" y="44"/>
                    </a:lnTo>
                    <a:lnTo>
                      <a:pt x="258" y="46"/>
                    </a:lnTo>
                    <a:lnTo>
                      <a:pt x="258" y="48"/>
                    </a:lnTo>
                    <a:lnTo>
                      <a:pt x="258" y="52"/>
                    </a:lnTo>
                    <a:lnTo>
                      <a:pt x="259" y="54"/>
                    </a:lnTo>
                    <a:lnTo>
                      <a:pt x="261" y="56"/>
                    </a:lnTo>
                    <a:lnTo>
                      <a:pt x="263" y="57"/>
                    </a:lnTo>
                    <a:lnTo>
                      <a:pt x="266" y="57"/>
                    </a:lnTo>
                    <a:lnTo>
                      <a:pt x="269" y="56"/>
                    </a:lnTo>
                    <a:lnTo>
                      <a:pt x="272" y="56"/>
                    </a:lnTo>
                    <a:lnTo>
                      <a:pt x="274" y="53"/>
                    </a:lnTo>
                    <a:lnTo>
                      <a:pt x="277" y="52"/>
                    </a:lnTo>
                    <a:lnTo>
                      <a:pt x="282" y="49"/>
                    </a:lnTo>
                    <a:lnTo>
                      <a:pt x="286" y="48"/>
                    </a:lnTo>
                    <a:lnTo>
                      <a:pt x="289" y="49"/>
                    </a:lnTo>
                    <a:lnTo>
                      <a:pt x="293" y="52"/>
                    </a:lnTo>
                    <a:lnTo>
                      <a:pt x="296" y="54"/>
                    </a:lnTo>
                    <a:lnTo>
                      <a:pt x="296" y="56"/>
                    </a:lnTo>
                    <a:lnTo>
                      <a:pt x="296" y="58"/>
                    </a:lnTo>
                    <a:lnTo>
                      <a:pt x="296" y="62"/>
                    </a:lnTo>
                    <a:lnTo>
                      <a:pt x="296" y="64"/>
                    </a:lnTo>
                    <a:lnTo>
                      <a:pt x="296" y="68"/>
                    </a:lnTo>
                    <a:lnTo>
                      <a:pt x="296" y="68"/>
                    </a:lnTo>
                    <a:lnTo>
                      <a:pt x="297" y="69"/>
                    </a:lnTo>
                    <a:lnTo>
                      <a:pt x="298" y="69"/>
                    </a:lnTo>
                    <a:lnTo>
                      <a:pt x="299" y="69"/>
                    </a:lnTo>
                    <a:lnTo>
                      <a:pt x="302" y="71"/>
                    </a:lnTo>
                    <a:lnTo>
                      <a:pt x="303" y="72"/>
                    </a:lnTo>
                    <a:lnTo>
                      <a:pt x="303" y="73"/>
                    </a:lnTo>
                    <a:lnTo>
                      <a:pt x="303" y="74"/>
                    </a:lnTo>
                    <a:lnTo>
                      <a:pt x="303" y="77"/>
                    </a:lnTo>
                    <a:lnTo>
                      <a:pt x="303" y="78"/>
                    </a:lnTo>
                    <a:lnTo>
                      <a:pt x="302" y="79"/>
                    </a:lnTo>
                    <a:lnTo>
                      <a:pt x="303" y="81"/>
                    </a:lnTo>
                    <a:lnTo>
                      <a:pt x="306" y="82"/>
                    </a:lnTo>
                    <a:lnTo>
                      <a:pt x="308" y="83"/>
                    </a:lnTo>
                    <a:lnTo>
                      <a:pt x="311" y="83"/>
                    </a:lnTo>
                    <a:lnTo>
                      <a:pt x="314" y="84"/>
                    </a:lnTo>
                    <a:lnTo>
                      <a:pt x="315" y="84"/>
                    </a:lnTo>
                    <a:lnTo>
                      <a:pt x="322" y="84"/>
                    </a:lnTo>
                    <a:lnTo>
                      <a:pt x="328" y="85"/>
                    </a:lnTo>
                    <a:lnTo>
                      <a:pt x="334" y="85"/>
                    </a:lnTo>
                    <a:lnTo>
                      <a:pt x="340" y="84"/>
                    </a:lnTo>
                    <a:lnTo>
                      <a:pt x="344" y="78"/>
                    </a:lnTo>
                    <a:lnTo>
                      <a:pt x="345" y="76"/>
                    </a:lnTo>
                    <a:lnTo>
                      <a:pt x="344" y="73"/>
                    </a:lnTo>
                    <a:lnTo>
                      <a:pt x="343" y="71"/>
                    </a:lnTo>
                    <a:lnTo>
                      <a:pt x="342" y="68"/>
                    </a:lnTo>
                    <a:lnTo>
                      <a:pt x="339" y="66"/>
                    </a:lnTo>
                    <a:lnTo>
                      <a:pt x="338" y="63"/>
                    </a:lnTo>
                    <a:lnTo>
                      <a:pt x="337" y="59"/>
                    </a:lnTo>
                    <a:lnTo>
                      <a:pt x="337" y="57"/>
                    </a:lnTo>
                    <a:lnTo>
                      <a:pt x="337" y="53"/>
                    </a:lnTo>
                    <a:lnTo>
                      <a:pt x="338" y="51"/>
                    </a:lnTo>
                    <a:lnTo>
                      <a:pt x="338" y="48"/>
                    </a:lnTo>
                    <a:lnTo>
                      <a:pt x="337" y="46"/>
                    </a:lnTo>
                    <a:lnTo>
                      <a:pt x="334" y="44"/>
                    </a:lnTo>
                    <a:lnTo>
                      <a:pt x="332" y="44"/>
                    </a:lnTo>
                    <a:lnTo>
                      <a:pt x="328" y="43"/>
                    </a:lnTo>
                    <a:lnTo>
                      <a:pt x="327" y="43"/>
                    </a:lnTo>
                    <a:lnTo>
                      <a:pt x="323" y="42"/>
                    </a:lnTo>
                    <a:lnTo>
                      <a:pt x="320" y="41"/>
                    </a:lnTo>
                    <a:lnTo>
                      <a:pt x="320" y="38"/>
                    </a:lnTo>
                    <a:lnTo>
                      <a:pt x="320" y="36"/>
                    </a:lnTo>
                    <a:lnTo>
                      <a:pt x="322" y="32"/>
                    </a:lnTo>
                    <a:lnTo>
                      <a:pt x="324" y="30"/>
                    </a:lnTo>
                    <a:lnTo>
                      <a:pt x="325" y="27"/>
                    </a:lnTo>
                    <a:lnTo>
                      <a:pt x="329" y="25"/>
                    </a:lnTo>
                    <a:lnTo>
                      <a:pt x="338" y="21"/>
                    </a:lnTo>
                    <a:lnTo>
                      <a:pt x="344" y="16"/>
                    </a:lnTo>
                    <a:lnTo>
                      <a:pt x="349" y="8"/>
                    </a:lnTo>
                    <a:lnTo>
                      <a:pt x="350" y="7"/>
                    </a:lnTo>
                    <a:lnTo>
                      <a:pt x="350" y="5"/>
                    </a:lnTo>
                    <a:lnTo>
                      <a:pt x="352" y="3"/>
                    </a:lnTo>
                    <a:lnTo>
                      <a:pt x="354" y="1"/>
                    </a:lnTo>
                    <a:lnTo>
                      <a:pt x="357" y="0"/>
                    </a:lnTo>
                    <a:lnTo>
                      <a:pt x="359"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7" name="Freeform 10"/>
              <p:cNvSpPr>
                <a:spLocks noEditPoints="1"/>
              </p:cNvSpPr>
              <p:nvPr/>
            </p:nvSpPr>
            <p:spPr bwMode="auto">
              <a:xfrm>
                <a:off x="5256" y="92"/>
                <a:ext cx="639" cy="430"/>
              </a:xfrm>
              <a:custGeom>
                <a:avLst/>
                <a:gdLst>
                  <a:gd name="T0" fmla="*/ 395 w 1919"/>
                  <a:gd name="T1" fmla="*/ 472 h 1291"/>
                  <a:gd name="T2" fmla="*/ 393 w 1919"/>
                  <a:gd name="T3" fmla="*/ 396 h 1291"/>
                  <a:gd name="T4" fmla="*/ 132 w 1919"/>
                  <a:gd name="T5" fmla="*/ 405 h 1291"/>
                  <a:gd name="T6" fmla="*/ 56 w 1919"/>
                  <a:gd name="T7" fmla="*/ 482 h 1291"/>
                  <a:gd name="T8" fmla="*/ 37 w 1919"/>
                  <a:gd name="T9" fmla="*/ 449 h 1291"/>
                  <a:gd name="T10" fmla="*/ 408 w 1919"/>
                  <a:gd name="T11" fmla="*/ 256 h 1291"/>
                  <a:gd name="T12" fmla="*/ 392 w 1919"/>
                  <a:gd name="T13" fmla="*/ 294 h 1291"/>
                  <a:gd name="T14" fmla="*/ 344 w 1919"/>
                  <a:gd name="T15" fmla="*/ 245 h 1291"/>
                  <a:gd name="T16" fmla="*/ 1501 w 1919"/>
                  <a:gd name="T17" fmla="*/ 7 h 1291"/>
                  <a:gd name="T18" fmla="*/ 1518 w 1919"/>
                  <a:gd name="T19" fmla="*/ 51 h 1291"/>
                  <a:gd name="T20" fmla="*/ 1629 w 1919"/>
                  <a:gd name="T21" fmla="*/ 89 h 1291"/>
                  <a:gd name="T22" fmla="*/ 1660 w 1919"/>
                  <a:gd name="T23" fmla="*/ 141 h 1291"/>
                  <a:gd name="T24" fmla="*/ 1593 w 1919"/>
                  <a:gd name="T25" fmla="*/ 141 h 1291"/>
                  <a:gd name="T26" fmla="*/ 1679 w 1919"/>
                  <a:gd name="T27" fmla="*/ 160 h 1291"/>
                  <a:gd name="T28" fmla="*/ 1729 w 1919"/>
                  <a:gd name="T29" fmla="*/ 215 h 1291"/>
                  <a:gd name="T30" fmla="*/ 1760 w 1919"/>
                  <a:gd name="T31" fmla="*/ 204 h 1291"/>
                  <a:gd name="T32" fmla="*/ 1784 w 1919"/>
                  <a:gd name="T33" fmla="*/ 192 h 1291"/>
                  <a:gd name="T34" fmla="*/ 1820 w 1919"/>
                  <a:gd name="T35" fmla="*/ 276 h 1291"/>
                  <a:gd name="T36" fmla="*/ 1794 w 1919"/>
                  <a:gd name="T37" fmla="*/ 276 h 1291"/>
                  <a:gd name="T38" fmla="*/ 1816 w 1919"/>
                  <a:gd name="T39" fmla="*/ 312 h 1291"/>
                  <a:gd name="T40" fmla="*/ 1810 w 1919"/>
                  <a:gd name="T41" fmla="*/ 372 h 1291"/>
                  <a:gd name="T42" fmla="*/ 1846 w 1919"/>
                  <a:gd name="T43" fmla="*/ 460 h 1291"/>
                  <a:gd name="T44" fmla="*/ 1870 w 1919"/>
                  <a:gd name="T45" fmla="*/ 512 h 1291"/>
                  <a:gd name="T46" fmla="*/ 1862 w 1919"/>
                  <a:gd name="T47" fmla="*/ 539 h 1291"/>
                  <a:gd name="T48" fmla="*/ 1866 w 1919"/>
                  <a:gd name="T49" fmla="*/ 592 h 1291"/>
                  <a:gd name="T50" fmla="*/ 1868 w 1919"/>
                  <a:gd name="T51" fmla="*/ 641 h 1291"/>
                  <a:gd name="T52" fmla="*/ 1836 w 1919"/>
                  <a:gd name="T53" fmla="*/ 681 h 1291"/>
                  <a:gd name="T54" fmla="*/ 1907 w 1919"/>
                  <a:gd name="T55" fmla="*/ 801 h 1291"/>
                  <a:gd name="T56" fmla="*/ 1837 w 1919"/>
                  <a:gd name="T57" fmla="*/ 773 h 1291"/>
                  <a:gd name="T58" fmla="*/ 1842 w 1919"/>
                  <a:gd name="T59" fmla="*/ 803 h 1291"/>
                  <a:gd name="T60" fmla="*/ 1896 w 1919"/>
                  <a:gd name="T61" fmla="*/ 852 h 1291"/>
                  <a:gd name="T62" fmla="*/ 1802 w 1919"/>
                  <a:gd name="T63" fmla="*/ 935 h 1291"/>
                  <a:gd name="T64" fmla="*/ 1741 w 1919"/>
                  <a:gd name="T65" fmla="*/ 1019 h 1291"/>
                  <a:gd name="T66" fmla="*/ 1686 w 1919"/>
                  <a:gd name="T67" fmla="*/ 1031 h 1291"/>
                  <a:gd name="T68" fmla="*/ 1666 w 1919"/>
                  <a:gd name="T69" fmla="*/ 1087 h 1291"/>
                  <a:gd name="T70" fmla="*/ 1640 w 1919"/>
                  <a:gd name="T71" fmla="*/ 1243 h 1291"/>
                  <a:gd name="T72" fmla="*/ 1573 w 1919"/>
                  <a:gd name="T73" fmla="*/ 1245 h 1291"/>
                  <a:gd name="T74" fmla="*/ 1480 w 1919"/>
                  <a:gd name="T75" fmla="*/ 1064 h 1291"/>
                  <a:gd name="T76" fmla="*/ 1405 w 1919"/>
                  <a:gd name="T77" fmla="*/ 926 h 1291"/>
                  <a:gd name="T78" fmla="*/ 1460 w 1919"/>
                  <a:gd name="T79" fmla="*/ 883 h 1291"/>
                  <a:gd name="T80" fmla="*/ 1424 w 1919"/>
                  <a:gd name="T81" fmla="*/ 778 h 1291"/>
                  <a:gd name="T82" fmla="*/ 1370 w 1919"/>
                  <a:gd name="T83" fmla="*/ 761 h 1291"/>
                  <a:gd name="T84" fmla="*/ 1391 w 1919"/>
                  <a:gd name="T85" fmla="*/ 697 h 1291"/>
                  <a:gd name="T86" fmla="*/ 1341 w 1919"/>
                  <a:gd name="T87" fmla="*/ 638 h 1291"/>
                  <a:gd name="T88" fmla="*/ 1304 w 1919"/>
                  <a:gd name="T89" fmla="*/ 533 h 1291"/>
                  <a:gd name="T90" fmla="*/ 1146 w 1919"/>
                  <a:gd name="T91" fmla="*/ 405 h 1291"/>
                  <a:gd name="T92" fmla="*/ 1022 w 1919"/>
                  <a:gd name="T93" fmla="*/ 393 h 1291"/>
                  <a:gd name="T94" fmla="*/ 1010 w 1919"/>
                  <a:gd name="T95" fmla="*/ 333 h 1291"/>
                  <a:gd name="T96" fmla="*/ 1042 w 1919"/>
                  <a:gd name="T97" fmla="*/ 314 h 1291"/>
                  <a:gd name="T98" fmla="*/ 1003 w 1919"/>
                  <a:gd name="T99" fmla="*/ 237 h 1291"/>
                  <a:gd name="T100" fmla="*/ 1076 w 1919"/>
                  <a:gd name="T101" fmla="*/ 185 h 1291"/>
                  <a:gd name="T102" fmla="*/ 1034 w 1919"/>
                  <a:gd name="T103" fmla="*/ 153 h 1291"/>
                  <a:gd name="T104" fmla="*/ 1127 w 1919"/>
                  <a:gd name="T105" fmla="*/ 107 h 1291"/>
                  <a:gd name="T106" fmla="*/ 1184 w 1919"/>
                  <a:gd name="T107" fmla="*/ 83 h 1291"/>
                  <a:gd name="T108" fmla="*/ 1240 w 1919"/>
                  <a:gd name="T109" fmla="*/ 87 h 1291"/>
                  <a:gd name="T110" fmla="*/ 1268 w 1919"/>
                  <a:gd name="T111" fmla="*/ 78 h 1291"/>
                  <a:gd name="T112" fmla="*/ 1263 w 1919"/>
                  <a:gd name="T113" fmla="*/ 42 h 1291"/>
                  <a:gd name="T114" fmla="*/ 1361 w 1919"/>
                  <a:gd name="T115" fmla="*/ 69 h 1291"/>
                  <a:gd name="T116" fmla="*/ 1406 w 1919"/>
                  <a:gd name="T117" fmla="*/ 46 h 1291"/>
                  <a:gd name="T118" fmla="*/ 1339 w 1919"/>
                  <a:gd name="T119" fmla="*/ 13 h 1291"/>
                  <a:gd name="T120" fmla="*/ 1384 w 1919"/>
                  <a:gd name="T121" fmla="*/ 11 h 1291"/>
                  <a:gd name="T122" fmla="*/ 1444 w 1919"/>
                  <a:gd name="T123" fmla="*/ 28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9" h="1291">
                    <a:moveTo>
                      <a:pt x="413" y="375"/>
                    </a:moveTo>
                    <a:lnTo>
                      <a:pt x="424" y="375"/>
                    </a:lnTo>
                    <a:lnTo>
                      <a:pt x="428" y="375"/>
                    </a:lnTo>
                    <a:lnTo>
                      <a:pt x="432" y="376"/>
                    </a:lnTo>
                    <a:lnTo>
                      <a:pt x="434" y="376"/>
                    </a:lnTo>
                    <a:lnTo>
                      <a:pt x="437" y="378"/>
                    </a:lnTo>
                    <a:lnTo>
                      <a:pt x="441" y="378"/>
                    </a:lnTo>
                    <a:lnTo>
                      <a:pt x="444" y="379"/>
                    </a:lnTo>
                    <a:lnTo>
                      <a:pt x="448" y="380"/>
                    </a:lnTo>
                    <a:lnTo>
                      <a:pt x="452" y="381"/>
                    </a:lnTo>
                    <a:lnTo>
                      <a:pt x="454" y="383"/>
                    </a:lnTo>
                    <a:lnTo>
                      <a:pt x="459" y="389"/>
                    </a:lnTo>
                    <a:lnTo>
                      <a:pt x="461" y="396"/>
                    </a:lnTo>
                    <a:lnTo>
                      <a:pt x="459" y="404"/>
                    </a:lnTo>
                    <a:lnTo>
                      <a:pt x="459" y="411"/>
                    </a:lnTo>
                    <a:lnTo>
                      <a:pt x="459" y="419"/>
                    </a:lnTo>
                    <a:lnTo>
                      <a:pt x="462" y="424"/>
                    </a:lnTo>
                    <a:lnTo>
                      <a:pt x="466" y="429"/>
                    </a:lnTo>
                    <a:lnTo>
                      <a:pt x="471" y="435"/>
                    </a:lnTo>
                    <a:lnTo>
                      <a:pt x="471" y="437"/>
                    </a:lnTo>
                    <a:lnTo>
                      <a:pt x="469" y="440"/>
                    </a:lnTo>
                    <a:lnTo>
                      <a:pt x="468" y="441"/>
                    </a:lnTo>
                    <a:lnTo>
                      <a:pt x="466" y="441"/>
                    </a:lnTo>
                    <a:lnTo>
                      <a:pt x="464" y="442"/>
                    </a:lnTo>
                    <a:lnTo>
                      <a:pt x="461" y="442"/>
                    </a:lnTo>
                    <a:lnTo>
                      <a:pt x="458" y="444"/>
                    </a:lnTo>
                    <a:lnTo>
                      <a:pt x="456" y="445"/>
                    </a:lnTo>
                    <a:lnTo>
                      <a:pt x="454" y="446"/>
                    </a:lnTo>
                    <a:lnTo>
                      <a:pt x="451" y="450"/>
                    </a:lnTo>
                    <a:lnTo>
                      <a:pt x="449" y="454"/>
                    </a:lnTo>
                    <a:lnTo>
                      <a:pt x="447" y="457"/>
                    </a:lnTo>
                    <a:lnTo>
                      <a:pt x="446" y="459"/>
                    </a:lnTo>
                    <a:lnTo>
                      <a:pt x="443" y="462"/>
                    </a:lnTo>
                    <a:lnTo>
                      <a:pt x="441" y="465"/>
                    </a:lnTo>
                    <a:lnTo>
                      <a:pt x="437" y="467"/>
                    </a:lnTo>
                    <a:lnTo>
                      <a:pt x="434" y="470"/>
                    </a:lnTo>
                    <a:lnTo>
                      <a:pt x="428" y="475"/>
                    </a:lnTo>
                    <a:lnTo>
                      <a:pt x="418" y="478"/>
                    </a:lnTo>
                    <a:lnTo>
                      <a:pt x="410" y="480"/>
                    </a:lnTo>
                    <a:lnTo>
                      <a:pt x="400" y="477"/>
                    </a:lnTo>
                    <a:lnTo>
                      <a:pt x="397" y="475"/>
                    </a:lnTo>
                    <a:lnTo>
                      <a:pt x="395" y="472"/>
                    </a:lnTo>
                    <a:lnTo>
                      <a:pt x="392" y="470"/>
                    </a:lnTo>
                    <a:lnTo>
                      <a:pt x="390" y="467"/>
                    </a:lnTo>
                    <a:lnTo>
                      <a:pt x="388" y="465"/>
                    </a:lnTo>
                    <a:lnTo>
                      <a:pt x="387" y="462"/>
                    </a:lnTo>
                    <a:lnTo>
                      <a:pt x="388" y="460"/>
                    </a:lnTo>
                    <a:lnTo>
                      <a:pt x="390" y="456"/>
                    </a:lnTo>
                    <a:lnTo>
                      <a:pt x="393" y="454"/>
                    </a:lnTo>
                    <a:lnTo>
                      <a:pt x="398" y="450"/>
                    </a:lnTo>
                    <a:lnTo>
                      <a:pt x="406" y="446"/>
                    </a:lnTo>
                    <a:lnTo>
                      <a:pt x="410" y="442"/>
                    </a:lnTo>
                    <a:lnTo>
                      <a:pt x="411" y="439"/>
                    </a:lnTo>
                    <a:lnTo>
                      <a:pt x="407" y="437"/>
                    </a:lnTo>
                    <a:lnTo>
                      <a:pt x="400" y="440"/>
                    </a:lnTo>
                    <a:lnTo>
                      <a:pt x="392" y="442"/>
                    </a:lnTo>
                    <a:lnTo>
                      <a:pt x="387" y="444"/>
                    </a:lnTo>
                    <a:lnTo>
                      <a:pt x="382" y="446"/>
                    </a:lnTo>
                    <a:lnTo>
                      <a:pt x="376" y="450"/>
                    </a:lnTo>
                    <a:lnTo>
                      <a:pt x="370" y="451"/>
                    </a:lnTo>
                    <a:lnTo>
                      <a:pt x="365" y="451"/>
                    </a:lnTo>
                    <a:lnTo>
                      <a:pt x="362" y="449"/>
                    </a:lnTo>
                    <a:lnTo>
                      <a:pt x="362" y="442"/>
                    </a:lnTo>
                    <a:lnTo>
                      <a:pt x="363" y="434"/>
                    </a:lnTo>
                    <a:lnTo>
                      <a:pt x="367" y="427"/>
                    </a:lnTo>
                    <a:lnTo>
                      <a:pt x="373" y="422"/>
                    </a:lnTo>
                    <a:lnTo>
                      <a:pt x="381" y="420"/>
                    </a:lnTo>
                    <a:lnTo>
                      <a:pt x="387" y="416"/>
                    </a:lnTo>
                    <a:lnTo>
                      <a:pt x="390" y="411"/>
                    </a:lnTo>
                    <a:lnTo>
                      <a:pt x="388" y="411"/>
                    </a:lnTo>
                    <a:lnTo>
                      <a:pt x="387" y="410"/>
                    </a:lnTo>
                    <a:lnTo>
                      <a:pt x="385" y="409"/>
                    </a:lnTo>
                    <a:lnTo>
                      <a:pt x="382" y="409"/>
                    </a:lnTo>
                    <a:lnTo>
                      <a:pt x="380" y="408"/>
                    </a:lnTo>
                    <a:lnTo>
                      <a:pt x="378" y="406"/>
                    </a:lnTo>
                    <a:lnTo>
                      <a:pt x="377" y="405"/>
                    </a:lnTo>
                    <a:lnTo>
                      <a:pt x="377" y="403"/>
                    </a:lnTo>
                    <a:lnTo>
                      <a:pt x="378" y="401"/>
                    </a:lnTo>
                    <a:lnTo>
                      <a:pt x="381" y="399"/>
                    </a:lnTo>
                    <a:lnTo>
                      <a:pt x="382" y="399"/>
                    </a:lnTo>
                    <a:lnTo>
                      <a:pt x="383" y="399"/>
                    </a:lnTo>
                    <a:lnTo>
                      <a:pt x="387" y="398"/>
                    </a:lnTo>
                    <a:lnTo>
                      <a:pt x="391" y="396"/>
                    </a:lnTo>
                    <a:lnTo>
                      <a:pt x="393" y="396"/>
                    </a:lnTo>
                    <a:lnTo>
                      <a:pt x="397" y="395"/>
                    </a:lnTo>
                    <a:lnTo>
                      <a:pt x="401" y="394"/>
                    </a:lnTo>
                    <a:lnTo>
                      <a:pt x="402" y="393"/>
                    </a:lnTo>
                    <a:lnTo>
                      <a:pt x="403" y="391"/>
                    </a:lnTo>
                    <a:lnTo>
                      <a:pt x="402" y="390"/>
                    </a:lnTo>
                    <a:lnTo>
                      <a:pt x="400" y="388"/>
                    </a:lnTo>
                    <a:lnTo>
                      <a:pt x="398" y="388"/>
                    </a:lnTo>
                    <a:lnTo>
                      <a:pt x="396" y="388"/>
                    </a:lnTo>
                    <a:lnTo>
                      <a:pt x="393" y="388"/>
                    </a:lnTo>
                    <a:lnTo>
                      <a:pt x="390" y="388"/>
                    </a:lnTo>
                    <a:lnTo>
                      <a:pt x="387" y="388"/>
                    </a:lnTo>
                    <a:lnTo>
                      <a:pt x="386" y="386"/>
                    </a:lnTo>
                    <a:lnTo>
                      <a:pt x="385" y="385"/>
                    </a:lnTo>
                    <a:lnTo>
                      <a:pt x="385" y="384"/>
                    </a:lnTo>
                    <a:lnTo>
                      <a:pt x="386" y="383"/>
                    </a:lnTo>
                    <a:lnTo>
                      <a:pt x="390" y="380"/>
                    </a:lnTo>
                    <a:lnTo>
                      <a:pt x="401" y="375"/>
                    </a:lnTo>
                    <a:lnTo>
                      <a:pt x="413" y="375"/>
                    </a:lnTo>
                    <a:close/>
                    <a:moveTo>
                      <a:pt x="148" y="373"/>
                    </a:moveTo>
                    <a:lnTo>
                      <a:pt x="149" y="373"/>
                    </a:lnTo>
                    <a:lnTo>
                      <a:pt x="149" y="374"/>
                    </a:lnTo>
                    <a:lnTo>
                      <a:pt x="148" y="375"/>
                    </a:lnTo>
                    <a:lnTo>
                      <a:pt x="147" y="378"/>
                    </a:lnTo>
                    <a:lnTo>
                      <a:pt x="145" y="379"/>
                    </a:lnTo>
                    <a:lnTo>
                      <a:pt x="144" y="381"/>
                    </a:lnTo>
                    <a:lnTo>
                      <a:pt x="143" y="381"/>
                    </a:lnTo>
                    <a:lnTo>
                      <a:pt x="142" y="383"/>
                    </a:lnTo>
                    <a:lnTo>
                      <a:pt x="140" y="384"/>
                    </a:lnTo>
                    <a:lnTo>
                      <a:pt x="140" y="385"/>
                    </a:lnTo>
                    <a:lnTo>
                      <a:pt x="140" y="386"/>
                    </a:lnTo>
                    <a:lnTo>
                      <a:pt x="140" y="388"/>
                    </a:lnTo>
                    <a:lnTo>
                      <a:pt x="142" y="388"/>
                    </a:lnTo>
                    <a:lnTo>
                      <a:pt x="142" y="389"/>
                    </a:lnTo>
                    <a:lnTo>
                      <a:pt x="142" y="390"/>
                    </a:lnTo>
                    <a:lnTo>
                      <a:pt x="144" y="391"/>
                    </a:lnTo>
                    <a:lnTo>
                      <a:pt x="145" y="394"/>
                    </a:lnTo>
                    <a:lnTo>
                      <a:pt x="144" y="395"/>
                    </a:lnTo>
                    <a:lnTo>
                      <a:pt x="143" y="396"/>
                    </a:lnTo>
                    <a:lnTo>
                      <a:pt x="140" y="398"/>
                    </a:lnTo>
                    <a:lnTo>
                      <a:pt x="137" y="400"/>
                    </a:lnTo>
                    <a:lnTo>
                      <a:pt x="134" y="403"/>
                    </a:lnTo>
                    <a:lnTo>
                      <a:pt x="132" y="405"/>
                    </a:lnTo>
                    <a:lnTo>
                      <a:pt x="132" y="408"/>
                    </a:lnTo>
                    <a:lnTo>
                      <a:pt x="132" y="410"/>
                    </a:lnTo>
                    <a:lnTo>
                      <a:pt x="132" y="413"/>
                    </a:lnTo>
                    <a:lnTo>
                      <a:pt x="132" y="415"/>
                    </a:lnTo>
                    <a:lnTo>
                      <a:pt x="132" y="418"/>
                    </a:lnTo>
                    <a:lnTo>
                      <a:pt x="131" y="421"/>
                    </a:lnTo>
                    <a:lnTo>
                      <a:pt x="129" y="425"/>
                    </a:lnTo>
                    <a:lnTo>
                      <a:pt x="127" y="427"/>
                    </a:lnTo>
                    <a:lnTo>
                      <a:pt x="124" y="430"/>
                    </a:lnTo>
                    <a:lnTo>
                      <a:pt x="118" y="435"/>
                    </a:lnTo>
                    <a:lnTo>
                      <a:pt x="114" y="440"/>
                    </a:lnTo>
                    <a:lnTo>
                      <a:pt x="111" y="445"/>
                    </a:lnTo>
                    <a:lnTo>
                      <a:pt x="108" y="447"/>
                    </a:lnTo>
                    <a:lnTo>
                      <a:pt x="107" y="451"/>
                    </a:lnTo>
                    <a:lnTo>
                      <a:pt x="103" y="455"/>
                    </a:lnTo>
                    <a:lnTo>
                      <a:pt x="101" y="456"/>
                    </a:lnTo>
                    <a:lnTo>
                      <a:pt x="99" y="459"/>
                    </a:lnTo>
                    <a:lnTo>
                      <a:pt x="97" y="459"/>
                    </a:lnTo>
                    <a:lnTo>
                      <a:pt x="96" y="459"/>
                    </a:lnTo>
                    <a:lnTo>
                      <a:pt x="94" y="456"/>
                    </a:lnTo>
                    <a:lnTo>
                      <a:pt x="92" y="454"/>
                    </a:lnTo>
                    <a:lnTo>
                      <a:pt x="91" y="451"/>
                    </a:lnTo>
                    <a:lnTo>
                      <a:pt x="91" y="449"/>
                    </a:lnTo>
                    <a:lnTo>
                      <a:pt x="89" y="447"/>
                    </a:lnTo>
                    <a:lnTo>
                      <a:pt x="89" y="445"/>
                    </a:lnTo>
                    <a:lnTo>
                      <a:pt x="88" y="444"/>
                    </a:lnTo>
                    <a:lnTo>
                      <a:pt x="86" y="444"/>
                    </a:lnTo>
                    <a:lnTo>
                      <a:pt x="84" y="445"/>
                    </a:lnTo>
                    <a:lnTo>
                      <a:pt x="82" y="446"/>
                    </a:lnTo>
                    <a:lnTo>
                      <a:pt x="79" y="447"/>
                    </a:lnTo>
                    <a:lnTo>
                      <a:pt x="77" y="449"/>
                    </a:lnTo>
                    <a:lnTo>
                      <a:pt x="76" y="451"/>
                    </a:lnTo>
                    <a:lnTo>
                      <a:pt x="74" y="451"/>
                    </a:lnTo>
                    <a:lnTo>
                      <a:pt x="71" y="455"/>
                    </a:lnTo>
                    <a:lnTo>
                      <a:pt x="69" y="459"/>
                    </a:lnTo>
                    <a:lnTo>
                      <a:pt x="68" y="461"/>
                    </a:lnTo>
                    <a:lnTo>
                      <a:pt x="67" y="465"/>
                    </a:lnTo>
                    <a:lnTo>
                      <a:pt x="66" y="469"/>
                    </a:lnTo>
                    <a:lnTo>
                      <a:pt x="63" y="471"/>
                    </a:lnTo>
                    <a:lnTo>
                      <a:pt x="62" y="475"/>
                    </a:lnTo>
                    <a:lnTo>
                      <a:pt x="60" y="478"/>
                    </a:lnTo>
                    <a:lnTo>
                      <a:pt x="56" y="482"/>
                    </a:lnTo>
                    <a:lnTo>
                      <a:pt x="53" y="486"/>
                    </a:lnTo>
                    <a:lnTo>
                      <a:pt x="50" y="490"/>
                    </a:lnTo>
                    <a:lnTo>
                      <a:pt x="46" y="491"/>
                    </a:lnTo>
                    <a:lnTo>
                      <a:pt x="43" y="492"/>
                    </a:lnTo>
                    <a:lnTo>
                      <a:pt x="41" y="491"/>
                    </a:lnTo>
                    <a:lnTo>
                      <a:pt x="40" y="490"/>
                    </a:lnTo>
                    <a:lnTo>
                      <a:pt x="37" y="488"/>
                    </a:lnTo>
                    <a:lnTo>
                      <a:pt x="36" y="487"/>
                    </a:lnTo>
                    <a:lnTo>
                      <a:pt x="35" y="486"/>
                    </a:lnTo>
                    <a:lnTo>
                      <a:pt x="32" y="485"/>
                    </a:lnTo>
                    <a:lnTo>
                      <a:pt x="30" y="486"/>
                    </a:lnTo>
                    <a:lnTo>
                      <a:pt x="27" y="486"/>
                    </a:lnTo>
                    <a:lnTo>
                      <a:pt x="26" y="488"/>
                    </a:lnTo>
                    <a:lnTo>
                      <a:pt x="23" y="490"/>
                    </a:lnTo>
                    <a:lnTo>
                      <a:pt x="21" y="492"/>
                    </a:lnTo>
                    <a:lnTo>
                      <a:pt x="20" y="493"/>
                    </a:lnTo>
                    <a:lnTo>
                      <a:pt x="16" y="493"/>
                    </a:lnTo>
                    <a:lnTo>
                      <a:pt x="15" y="491"/>
                    </a:lnTo>
                    <a:lnTo>
                      <a:pt x="13" y="490"/>
                    </a:lnTo>
                    <a:lnTo>
                      <a:pt x="11" y="490"/>
                    </a:lnTo>
                    <a:lnTo>
                      <a:pt x="7" y="491"/>
                    </a:lnTo>
                    <a:lnTo>
                      <a:pt x="5" y="492"/>
                    </a:lnTo>
                    <a:lnTo>
                      <a:pt x="1" y="493"/>
                    </a:lnTo>
                    <a:lnTo>
                      <a:pt x="0" y="493"/>
                    </a:lnTo>
                    <a:lnTo>
                      <a:pt x="0" y="492"/>
                    </a:lnTo>
                    <a:lnTo>
                      <a:pt x="1" y="491"/>
                    </a:lnTo>
                    <a:lnTo>
                      <a:pt x="1" y="488"/>
                    </a:lnTo>
                    <a:lnTo>
                      <a:pt x="2" y="487"/>
                    </a:lnTo>
                    <a:lnTo>
                      <a:pt x="3" y="485"/>
                    </a:lnTo>
                    <a:lnTo>
                      <a:pt x="3" y="483"/>
                    </a:lnTo>
                    <a:lnTo>
                      <a:pt x="5" y="481"/>
                    </a:lnTo>
                    <a:lnTo>
                      <a:pt x="6" y="480"/>
                    </a:lnTo>
                    <a:lnTo>
                      <a:pt x="6" y="478"/>
                    </a:lnTo>
                    <a:lnTo>
                      <a:pt x="5" y="476"/>
                    </a:lnTo>
                    <a:lnTo>
                      <a:pt x="3" y="473"/>
                    </a:lnTo>
                    <a:lnTo>
                      <a:pt x="3" y="471"/>
                    </a:lnTo>
                    <a:lnTo>
                      <a:pt x="7" y="467"/>
                    </a:lnTo>
                    <a:lnTo>
                      <a:pt x="12" y="464"/>
                    </a:lnTo>
                    <a:lnTo>
                      <a:pt x="20" y="461"/>
                    </a:lnTo>
                    <a:lnTo>
                      <a:pt x="25" y="459"/>
                    </a:lnTo>
                    <a:lnTo>
                      <a:pt x="31" y="454"/>
                    </a:lnTo>
                    <a:lnTo>
                      <a:pt x="37" y="449"/>
                    </a:lnTo>
                    <a:lnTo>
                      <a:pt x="40" y="445"/>
                    </a:lnTo>
                    <a:lnTo>
                      <a:pt x="47" y="436"/>
                    </a:lnTo>
                    <a:lnTo>
                      <a:pt x="55" y="429"/>
                    </a:lnTo>
                    <a:lnTo>
                      <a:pt x="63" y="422"/>
                    </a:lnTo>
                    <a:lnTo>
                      <a:pt x="77" y="413"/>
                    </a:lnTo>
                    <a:lnTo>
                      <a:pt x="89" y="403"/>
                    </a:lnTo>
                    <a:lnTo>
                      <a:pt x="98" y="399"/>
                    </a:lnTo>
                    <a:lnTo>
                      <a:pt x="107" y="396"/>
                    </a:lnTo>
                    <a:lnTo>
                      <a:pt x="116" y="393"/>
                    </a:lnTo>
                    <a:lnTo>
                      <a:pt x="122" y="389"/>
                    </a:lnTo>
                    <a:lnTo>
                      <a:pt x="127" y="385"/>
                    </a:lnTo>
                    <a:lnTo>
                      <a:pt x="132" y="383"/>
                    </a:lnTo>
                    <a:lnTo>
                      <a:pt x="134" y="380"/>
                    </a:lnTo>
                    <a:lnTo>
                      <a:pt x="137" y="378"/>
                    </a:lnTo>
                    <a:lnTo>
                      <a:pt x="140" y="375"/>
                    </a:lnTo>
                    <a:lnTo>
                      <a:pt x="144" y="373"/>
                    </a:lnTo>
                    <a:lnTo>
                      <a:pt x="148" y="373"/>
                    </a:lnTo>
                    <a:close/>
                    <a:moveTo>
                      <a:pt x="370" y="231"/>
                    </a:moveTo>
                    <a:lnTo>
                      <a:pt x="372" y="232"/>
                    </a:lnTo>
                    <a:lnTo>
                      <a:pt x="375" y="232"/>
                    </a:lnTo>
                    <a:lnTo>
                      <a:pt x="377" y="233"/>
                    </a:lnTo>
                    <a:lnTo>
                      <a:pt x="380" y="235"/>
                    </a:lnTo>
                    <a:lnTo>
                      <a:pt x="382" y="236"/>
                    </a:lnTo>
                    <a:lnTo>
                      <a:pt x="383" y="240"/>
                    </a:lnTo>
                    <a:lnTo>
                      <a:pt x="385" y="243"/>
                    </a:lnTo>
                    <a:lnTo>
                      <a:pt x="385" y="247"/>
                    </a:lnTo>
                    <a:lnTo>
                      <a:pt x="385" y="250"/>
                    </a:lnTo>
                    <a:lnTo>
                      <a:pt x="387" y="251"/>
                    </a:lnTo>
                    <a:lnTo>
                      <a:pt x="388" y="252"/>
                    </a:lnTo>
                    <a:lnTo>
                      <a:pt x="391" y="253"/>
                    </a:lnTo>
                    <a:lnTo>
                      <a:pt x="393" y="252"/>
                    </a:lnTo>
                    <a:lnTo>
                      <a:pt x="395" y="250"/>
                    </a:lnTo>
                    <a:lnTo>
                      <a:pt x="396" y="250"/>
                    </a:lnTo>
                    <a:lnTo>
                      <a:pt x="398" y="248"/>
                    </a:lnTo>
                    <a:lnTo>
                      <a:pt x="400" y="247"/>
                    </a:lnTo>
                    <a:lnTo>
                      <a:pt x="401" y="247"/>
                    </a:lnTo>
                    <a:lnTo>
                      <a:pt x="402" y="247"/>
                    </a:lnTo>
                    <a:lnTo>
                      <a:pt x="406" y="248"/>
                    </a:lnTo>
                    <a:lnTo>
                      <a:pt x="407" y="250"/>
                    </a:lnTo>
                    <a:lnTo>
                      <a:pt x="408" y="252"/>
                    </a:lnTo>
                    <a:lnTo>
                      <a:pt x="408" y="255"/>
                    </a:lnTo>
                    <a:lnTo>
                      <a:pt x="408" y="256"/>
                    </a:lnTo>
                    <a:lnTo>
                      <a:pt x="410" y="258"/>
                    </a:lnTo>
                    <a:lnTo>
                      <a:pt x="410" y="261"/>
                    </a:lnTo>
                    <a:lnTo>
                      <a:pt x="412" y="263"/>
                    </a:lnTo>
                    <a:lnTo>
                      <a:pt x="416" y="266"/>
                    </a:lnTo>
                    <a:lnTo>
                      <a:pt x="420" y="267"/>
                    </a:lnTo>
                    <a:lnTo>
                      <a:pt x="422" y="270"/>
                    </a:lnTo>
                    <a:lnTo>
                      <a:pt x="424" y="272"/>
                    </a:lnTo>
                    <a:lnTo>
                      <a:pt x="427" y="275"/>
                    </a:lnTo>
                    <a:lnTo>
                      <a:pt x="427" y="278"/>
                    </a:lnTo>
                    <a:lnTo>
                      <a:pt x="427" y="282"/>
                    </a:lnTo>
                    <a:lnTo>
                      <a:pt x="427" y="284"/>
                    </a:lnTo>
                    <a:lnTo>
                      <a:pt x="427" y="288"/>
                    </a:lnTo>
                    <a:lnTo>
                      <a:pt x="427" y="291"/>
                    </a:lnTo>
                    <a:lnTo>
                      <a:pt x="429" y="294"/>
                    </a:lnTo>
                    <a:lnTo>
                      <a:pt x="431" y="294"/>
                    </a:lnTo>
                    <a:lnTo>
                      <a:pt x="432" y="296"/>
                    </a:lnTo>
                    <a:lnTo>
                      <a:pt x="433" y="297"/>
                    </a:lnTo>
                    <a:lnTo>
                      <a:pt x="434" y="299"/>
                    </a:lnTo>
                    <a:lnTo>
                      <a:pt x="436" y="302"/>
                    </a:lnTo>
                    <a:lnTo>
                      <a:pt x="437" y="306"/>
                    </a:lnTo>
                    <a:lnTo>
                      <a:pt x="438" y="308"/>
                    </a:lnTo>
                    <a:lnTo>
                      <a:pt x="437" y="312"/>
                    </a:lnTo>
                    <a:lnTo>
                      <a:pt x="436" y="314"/>
                    </a:lnTo>
                    <a:lnTo>
                      <a:pt x="433" y="316"/>
                    </a:lnTo>
                    <a:lnTo>
                      <a:pt x="429" y="317"/>
                    </a:lnTo>
                    <a:lnTo>
                      <a:pt x="424" y="318"/>
                    </a:lnTo>
                    <a:lnTo>
                      <a:pt x="421" y="317"/>
                    </a:lnTo>
                    <a:lnTo>
                      <a:pt x="417" y="316"/>
                    </a:lnTo>
                    <a:lnTo>
                      <a:pt x="416" y="314"/>
                    </a:lnTo>
                    <a:lnTo>
                      <a:pt x="413" y="312"/>
                    </a:lnTo>
                    <a:lnTo>
                      <a:pt x="413" y="308"/>
                    </a:lnTo>
                    <a:lnTo>
                      <a:pt x="412" y="306"/>
                    </a:lnTo>
                    <a:lnTo>
                      <a:pt x="412" y="302"/>
                    </a:lnTo>
                    <a:lnTo>
                      <a:pt x="412" y="299"/>
                    </a:lnTo>
                    <a:lnTo>
                      <a:pt x="412" y="298"/>
                    </a:lnTo>
                    <a:lnTo>
                      <a:pt x="411" y="297"/>
                    </a:lnTo>
                    <a:lnTo>
                      <a:pt x="408" y="297"/>
                    </a:lnTo>
                    <a:lnTo>
                      <a:pt x="406" y="297"/>
                    </a:lnTo>
                    <a:lnTo>
                      <a:pt x="402" y="297"/>
                    </a:lnTo>
                    <a:lnTo>
                      <a:pt x="398" y="297"/>
                    </a:lnTo>
                    <a:lnTo>
                      <a:pt x="395" y="296"/>
                    </a:lnTo>
                    <a:lnTo>
                      <a:pt x="392" y="294"/>
                    </a:lnTo>
                    <a:lnTo>
                      <a:pt x="390" y="293"/>
                    </a:lnTo>
                    <a:lnTo>
                      <a:pt x="387" y="292"/>
                    </a:lnTo>
                    <a:lnTo>
                      <a:pt x="385" y="293"/>
                    </a:lnTo>
                    <a:lnTo>
                      <a:pt x="382" y="294"/>
                    </a:lnTo>
                    <a:lnTo>
                      <a:pt x="381" y="296"/>
                    </a:lnTo>
                    <a:lnTo>
                      <a:pt x="381" y="298"/>
                    </a:lnTo>
                    <a:lnTo>
                      <a:pt x="380" y="299"/>
                    </a:lnTo>
                    <a:lnTo>
                      <a:pt x="378" y="302"/>
                    </a:lnTo>
                    <a:lnTo>
                      <a:pt x="377" y="302"/>
                    </a:lnTo>
                    <a:lnTo>
                      <a:pt x="370" y="304"/>
                    </a:lnTo>
                    <a:lnTo>
                      <a:pt x="361" y="303"/>
                    </a:lnTo>
                    <a:lnTo>
                      <a:pt x="352" y="299"/>
                    </a:lnTo>
                    <a:lnTo>
                      <a:pt x="346" y="294"/>
                    </a:lnTo>
                    <a:lnTo>
                      <a:pt x="342" y="289"/>
                    </a:lnTo>
                    <a:lnTo>
                      <a:pt x="344" y="287"/>
                    </a:lnTo>
                    <a:lnTo>
                      <a:pt x="346" y="284"/>
                    </a:lnTo>
                    <a:lnTo>
                      <a:pt x="349" y="283"/>
                    </a:lnTo>
                    <a:lnTo>
                      <a:pt x="352" y="281"/>
                    </a:lnTo>
                    <a:lnTo>
                      <a:pt x="355" y="281"/>
                    </a:lnTo>
                    <a:lnTo>
                      <a:pt x="357" y="281"/>
                    </a:lnTo>
                    <a:lnTo>
                      <a:pt x="361" y="279"/>
                    </a:lnTo>
                    <a:lnTo>
                      <a:pt x="362" y="278"/>
                    </a:lnTo>
                    <a:lnTo>
                      <a:pt x="366" y="277"/>
                    </a:lnTo>
                    <a:lnTo>
                      <a:pt x="367" y="275"/>
                    </a:lnTo>
                    <a:lnTo>
                      <a:pt x="367" y="273"/>
                    </a:lnTo>
                    <a:lnTo>
                      <a:pt x="366" y="271"/>
                    </a:lnTo>
                    <a:lnTo>
                      <a:pt x="365" y="268"/>
                    </a:lnTo>
                    <a:lnTo>
                      <a:pt x="362" y="266"/>
                    </a:lnTo>
                    <a:lnTo>
                      <a:pt x="360" y="265"/>
                    </a:lnTo>
                    <a:lnTo>
                      <a:pt x="357" y="263"/>
                    </a:lnTo>
                    <a:lnTo>
                      <a:pt x="355" y="261"/>
                    </a:lnTo>
                    <a:lnTo>
                      <a:pt x="352" y="261"/>
                    </a:lnTo>
                    <a:lnTo>
                      <a:pt x="351" y="260"/>
                    </a:lnTo>
                    <a:lnTo>
                      <a:pt x="349" y="260"/>
                    </a:lnTo>
                    <a:lnTo>
                      <a:pt x="346" y="260"/>
                    </a:lnTo>
                    <a:lnTo>
                      <a:pt x="345" y="260"/>
                    </a:lnTo>
                    <a:lnTo>
                      <a:pt x="344" y="258"/>
                    </a:lnTo>
                    <a:lnTo>
                      <a:pt x="341" y="258"/>
                    </a:lnTo>
                    <a:lnTo>
                      <a:pt x="341" y="256"/>
                    </a:lnTo>
                    <a:lnTo>
                      <a:pt x="340" y="252"/>
                    </a:lnTo>
                    <a:lnTo>
                      <a:pt x="342" y="248"/>
                    </a:lnTo>
                    <a:lnTo>
                      <a:pt x="344" y="245"/>
                    </a:lnTo>
                    <a:lnTo>
                      <a:pt x="346" y="241"/>
                    </a:lnTo>
                    <a:lnTo>
                      <a:pt x="350" y="237"/>
                    </a:lnTo>
                    <a:lnTo>
                      <a:pt x="355" y="235"/>
                    </a:lnTo>
                    <a:lnTo>
                      <a:pt x="358" y="233"/>
                    </a:lnTo>
                    <a:lnTo>
                      <a:pt x="362" y="232"/>
                    </a:lnTo>
                    <a:lnTo>
                      <a:pt x="366" y="231"/>
                    </a:lnTo>
                    <a:lnTo>
                      <a:pt x="370" y="231"/>
                    </a:lnTo>
                    <a:close/>
                    <a:moveTo>
                      <a:pt x="1432" y="0"/>
                    </a:moveTo>
                    <a:lnTo>
                      <a:pt x="1435" y="0"/>
                    </a:lnTo>
                    <a:lnTo>
                      <a:pt x="1437" y="1"/>
                    </a:lnTo>
                    <a:lnTo>
                      <a:pt x="1441" y="3"/>
                    </a:lnTo>
                    <a:lnTo>
                      <a:pt x="1444" y="6"/>
                    </a:lnTo>
                    <a:lnTo>
                      <a:pt x="1444" y="6"/>
                    </a:lnTo>
                    <a:lnTo>
                      <a:pt x="1445" y="7"/>
                    </a:lnTo>
                    <a:lnTo>
                      <a:pt x="1447" y="8"/>
                    </a:lnTo>
                    <a:lnTo>
                      <a:pt x="1448" y="10"/>
                    </a:lnTo>
                    <a:lnTo>
                      <a:pt x="1451" y="11"/>
                    </a:lnTo>
                    <a:lnTo>
                      <a:pt x="1452" y="12"/>
                    </a:lnTo>
                    <a:lnTo>
                      <a:pt x="1453" y="12"/>
                    </a:lnTo>
                    <a:lnTo>
                      <a:pt x="1455" y="11"/>
                    </a:lnTo>
                    <a:lnTo>
                      <a:pt x="1453" y="10"/>
                    </a:lnTo>
                    <a:lnTo>
                      <a:pt x="1452" y="7"/>
                    </a:lnTo>
                    <a:lnTo>
                      <a:pt x="1451" y="5"/>
                    </a:lnTo>
                    <a:lnTo>
                      <a:pt x="1450" y="2"/>
                    </a:lnTo>
                    <a:lnTo>
                      <a:pt x="1450" y="1"/>
                    </a:lnTo>
                    <a:lnTo>
                      <a:pt x="1448" y="1"/>
                    </a:lnTo>
                    <a:lnTo>
                      <a:pt x="1451" y="1"/>
                    </a:lnTo>
                    <a:lnTo>
                      <a:pt x="1453" y="1"/>
                    </a:lnTo>
                    <a:lnTo>
                      <a:pt x="1457" y="2"/>
                    </a:lnTo>
                    <a:lnTo>
                      <a:pt x="1460" y="2"/>
                    </a:lnTo>
                    <a:lnTo>
                      <a:pt x="1462" y="3"/>
                    </a:lnTo>
                    <a:lnTo>
                      <a:pt x="1465" y="2"/>
                    </a:lnTo>
                    <a:lnTo>
                      <a:pt x="1466" y="2"/>
                    </a:lnTo>
                    <a:lnTo>
                      <a:pt x="1468" y="1"/>
                    </a:lnTo>
                    <a:lnTo>
                      <a:pt x="1470" y="1"/>
                    </a:lnTo>
                    <a:lnTo>
                      <a:pt x="1472" y="1"/>
                    </a:lnTo>
                    <a:lnTo>
                      <a:pt x="1480" y="3"/>
                    </a:lnTo>
                    <a:lnTo>
                      <a:pt x="1486" y="7"/>
                    </a:lnTo>
                    <a:lnTo>
                      <a:pt x="1493" y="8"/>
                    </a:lnTo>
                    <a:lnTo>
                      <a:pt x="1496" y="7"/>
                    </a:lnTo>
                    <a:lnTo>
                      <a:pt x="1497" y="6"/>
                    </a:lnTo>
                    <a:lnTo>
                      <a:pt x="1501" y="7"/>
                    </a:lnTo>
                    <a:lnTo>
                      <a:pt x="1503" y="8"/>
                    </a:lnTo>
                    <a:lnTo>
                      <a:pt x="1508" y="10"/>
                    </a:lnTo>
                    <a:lnTo>
                      <a:pt x="1513" y="11"/>
                    </a:lnTo>
                    <a:lnTo>
                      <a:pt x="1518" y="12"/>
                    </a:lnTo>
                    <a:lnTo>
                      <a:pt x="1522" y="13"/>
                    </a:lnTo>
                    <a:lnTo>
                      <a:pt x="1538" y="17"/>
                    </a:lnTo>
                    <a:lnTo>
                      <a:pt x="1553" y="23"/>
                    </a:lnTo>
                    <a:lnTo>
                      <a:pt x="1556" y="26"/>
                    </a:lnTo>
                    <a:lnTo>
                      <a:pt x="1558" y="28"/>
                    </a:lnTo>
                    <a:lnTo>
                      <a:pt x="1559" y="31"/>
                    </a:lnTo>
                    <a:lnTo>
                      <a:pt x="1561" y="32"/>
                    </a:lnTo>
                    <a:lnTo>
                      <a:pt x="1564" y="34"/>
                    </a:lnTo>
                    <a:lnTo>
                      <a:pt x="1574" y="34"/>
                    </a:lnTo>
                    <a:lnTo>
                      <a:pt x="1583" y="37"/>
                    </a:lnTo>
                    <a:lnTo>
                      <a:pt x="1591" y="42"/>
                    </a:lnTo>
                    <a:lnTo>
                      <a:pt x="1598" y="44"/>
                    </a:lnTo>
                    <a:lnTo>
                      <a:pt x="1602" y="47"/>
                    </a:lnTo>
                    <a:lnTo>
                      <a:pt x="1605" y="49"/>
                    </a:lnTo>
                    <a:lnTo>
                      <a:pt x="1607" y="52"/>
                    </a:lnTo>
                    <a:lnTo>
                      <a:pt x="1607" y="54"/>
                    </a:lnTo>
                    <a:lnTo>
                      <a:pt x="1605" y="56"/>
                    </a:lnTo>
                    <a:lnTo>
                      <a:pt x="1603" y="58"/>
                    </a:lnTo>
                    <a:lnTo>
                      <a:pt x="1595" y="58"/>
                    </a:lnTo>
                    <a:lnTo>
                      <a:pt x="1593" y="58"/>
                    </a:lnTo>
                    <a:lnTo>
                      <a:pt x="1592" y="58"/>
                    </a:lnTo>
                    <a:lnTo>
                      <a:pt x="1591" y="59"/>
                    </a:lnTo>
                    <a:lnTo>
                      <a:pt x="1588" y="58"/>
                    </a:lnTo>
                    <a:lnTo>
                      <a:pt x="1584" y="58"/>
                    </a:lnTo>
                    <a:lnTo>
                      <a:pt x="1546" y="49"/>
                    </a:lnTo>
                    <a:lnTo>
                      <a:pt x="1543" y="49"/>
                    </a:lnTo>
                    <a:lnTo>
                      <a:pt x="1542" y="48"/>
                    </a:lnTo>
                    <a:lnTo>
                      <a:pt x="1541" y="49"/>
                    </a:lnTo>
                    <a:lnTo>
                      <a:pt x="1539" y="49"/>
                    </a:lnTo>
                    <a:lnTo>
                      <a:pt x="1539" y="49"/>
                    </a:lnTo>
                    <a:lnTo>
                      <a:pt x="1538" y="49"/>
                    </a:lnTo>
                    <a:lnTo>
                      <a:pt x="1534" y="51"/>
                    </a:lnTo>
                    <a:lnTo>
                      <a:pt x="1531" y="51"/>
                    </a:lnTo>
                    <a:lnTo>
                      <a:pt x="1527" y="51"/>
                    </a:lnTo>
                    <a:lnTo>
                      <a:pt x="1524" y="49"/>
                    </a:lnTo>
                    <a:lnTo>
                      <a:pt x="1522" y="49"/>
                    </a:lnTo>
                    <a:lnTo>
                      <a:pt x="1519" y="51"/>
                    </a:lnTo>
                    <a:lnTo>
                      <a:pt x="1518" y="51"/>
                    </a:lnTo>
                    <a:lnTo>
                      <a:pt x="1516" y="51"/>
                    </a:lnTo>
                    <a:lnTo>
                      <a:pt x="1512" y="51"/>
                    </a:lnTo>
                    <a:lnTo>
                      <a:pt x="1510" y="49"/>
                    </a:lnTo>
                    <a:lnTo>
                      <a:pt x="1498" y="49"/>
                    </a:lnTo>
                    <a:lnTo>
                      <a:pt x="1496" y="49"/>
                    </a:lnTo>
                    <a:lnTo>
                      <a:pt x="1493" y="49"/>
                    </a:lnTo>
                    <a:lnTo>
                      <a:pt x="1491" y="51"/>
                    </a:lnTo>
                    <a:lnTo>
                      <a:pt x="1488" y="51"/>
                    </a:lnTo>
                    <a:lnTo>
                      <a:pt x="1486" y="51"/>
                    </a:lnTo>
                    <a:lnTo>
                      <a:pt x="1485" y="52"/>
                    </a:lnTo>
                    <a:lnTo>
                      <a:pt x="1486" y="52"/>
                    </a:lnTo>
                    <a:lnTo>
                      <a:pt x="1490" y="53"/>
                    </a:lnTo>
                    <a:lnTo>
                      <a:pt x="1493" y="53"/>
                    </a:lnTo>
                    <a:lnTo>
                      <a:pt x="1496" y="53"/>
                    </a:lnTo>
                    <a:lnTo>
                      <a:pt x="1498" y="52"/>
                    </a:lnTo>
                    <a:lnTo>
                      <a:pt x="1507" y="52"/>
                    </a:lnTo>
                    <a:lnTo>
                      <a:pt x="1516" y="54"/>
                    </a:lnTo>
                    <a:lnTo>
                      <a:pt x="1524" y="56"/>
                    </a:lnTo>
                    <a:lnTo>
                      <a:pt x="1546" y="56"/>
                    </a:lnTo>
                    <a:lnTo>
                      <a:pt x="1554" y="54"/>
                    </a:lnTo>
                    <a:lnTo>
                      <a:pt x="1564" y="56"/>
                    </a:lnTo>
                    <a:lnTo>
                      <a:pt x="1574" y="61"/>
                    </a:lnTo>
                    <a:lnTo>
                      <a:pt x="1582" y="63"/>
                    </a:lnTo>
                    <a:lnTo>
                      <a:pt x="1591" y="66"/>
                    </a:lnTo>
                    <a:lnTo>
                      <a:pt x="1598" y="68"/>
                    </a:lnTo>
                    <a:lnTo>
                      <a:pt x="1600" y="67"/>
                    </a:lnTo>
                    <a:lnTo>
                      <a:pt x="1603" y="66"/>
                    </a:lnTo>
                    <a:lnTo>
                      <a:pt x="1605" y="66"/>
                    </a:lnTo>
                    <a:lnTo>
                      <a:pt x="1609" y="66"/>
                    </a:lnTo>
                    <a:lnTo>
                      <a:pt x="1614" y="67"/>
                    </a:lnTo>
                    <a:lnTo>
                      <a:pt x="1619" y="68"/>
                    </a:lnTo>
                    <a:lnTo>
                      <a:pt x="1622" y="68"/>
                    </a:lnTo>
                    <a:lnTo>
                      <a:pt x="1624" y="71"/>
                    </a:lnTo>
                    <a:lnTo>
                      <a:pt x="1625" y="72"/>
                    </a:lnTo>
                    <a:lnTo>
                      <a:pt x="1628" y="74"/>
                    </a:lnTo>
                    <a:lnTo>
                      <a:pt x="1629" y="76"/>
                    </a:lnTo>
                    <a:lnTo>
                      <a:pt x="1630" y="78"/>
                    </a:lnTo>
                    <a:lnTo>
                      <a:pt x="1629" y="80"/>
                    </a:lnTo>
                    <a:lnTo>
                      <a:pt x="1629" y="82"/>
                    </a:lnTo>
                    <a:lnTo>
                      <a:pt x="1629" y="84"/>
                    </a:lnTo>
                    <a:lnTo>
                      <a:pt x="1628" y="87"/>
                    </a:lnTo>
                    <a:lnTo>
                      <a:pt x="1629" y="89"/>
                    </a:lnTo>
                    <a:lnTo>
                      <a:pt x="1629" y="90"/>
                    </a:lnTo>
                    <a:lnTo>
                      <a:pt x="1632" y="92"/>
                    </a:lnTo>
                    <a:lnTo>
                      <a:pt x="1633" y="93"/>
                    </a:lnTo>
                    <a:lnTo>
                      <a:pt x="1635" y="93"/>
                    </a:lnTo>
                    <a:lnTo>
                      <a:pt x="1638" y="93"/>
                    </a:lnTo>
                    <a:lnTo>
                      <a:pt x="1640" y="93"/>
                    </a:lnTo>
                    <a:lnTo>
                      <a:pt x="1643" y="92"/>
                    </a:lnTo>
                    <a:lnTo>
                      <a:pt x="1643" y="90"/>
                    </a:lnTo>
                    <a:lnTo>
                      <a:pt x="1644" y="89"/>
                    </a:lnTo>
                    <a:lnTo>
                      <a:pt x="1645" y="90"/>
                    </a:lnTo>
                    <a:lnTo>
                      <a:pt x="1647" y="90"/>
                    </a:lnTo>
                    <a:lnTo>
                      <a:pt x="1649" y="92"/>
                    </a:lnTo>
                    <a:lnTo>
                      <a:pt x="1653" y="94"/>
                    </a:lnTo>
                    <a:lnTo>
                      <a:pt x="1655" y="98"/>
                    </a:lnTo>
                    <a:lnTo>
                      <a:pt x="1658" y="100"/>
                    </a:lnTo>
                    <a:lnTo>
                      <a:pt x="1662" y="102"/>
                    </a:lnTo>
                    <a:lnTo>
                      <a:pt x="1665" y="102"/>
                    </a:lnTo>
                    <a:lnTo>
                      <a:pt x="1669" y="104"/>
                    </a:lnTo>
                    <a:lnTo>
                      <a:pt x="1673" y="107"/>
                    </a:lnTo>
                    <a:lnTo>
                      <a:pt x="1676" y="110"/>
                    </a:lnTo>
                    <a:lnTo>
                      <a:pt x="1679" y="113"/>
                    </a:lnTo>
                    <a:lnTo>
                      <a:pt x="1680" y="115"/>
                    </a:lnTo>
                    <a:lnTo>
                      <a:pt x="1683" y="118"/>
                    </a:lnTo>
                    <a:lnTo>
                      <a:pt x="1685" y="120"/>
                    </a:lnTo>
                    <a:lnTo>
                      <a:pt x="1688" y="122"/>
                    </a:lnTo>
                    <a:lnTo>
                      <a:pt x="1689" y="124"/>
                    </a:lnTo>
                    <a:lnTo>
                      <a:pt x="1689" y="125"/>
                    </a:lnTo>
                    <a:lnTo>
                      <a:pt x="1689" y="127"/>
                    </a:lnTo>
                    <a:lnTo>
                      <a:pt x="1688" y="128"/>
                    </a:lnTo>
                    <a:lnTo>
                      <a:pt x="1686" y="129"/>
                    </a:lnTo>
                    <a:lnTo>
                      <a:pt x="1686" y="130"/>
                    </a:lnTo>
                    <a:lnTo>
                      <a:pt x="1684" y="131"/>
                    </a:lnTo>
                    <a:lnTo>
                      <a:pt x="1683" y="133"/>
                    </a:lnTo>
                    <a:lnTo>
                      <a:pt x="1681" y="135"/>
                    </a:lnTo>
                    <a:lnTo>
                      <a:pt x="1680" y="138"/>
                    </a:lnTo>
                    <a:lnTo>
                      <a:pt x="1679" y="138"/>
                    </a:lnTo>
                    <a:lnTo>
                      <a:pt x="1678" y="138"/>
                    </a:lnTo>
                    <a:lnTo>
                      <a:pt x="1676" y="138"/>
                    </a:lnTo>
                    <a:lnTo>
                      <a:pt x="1668" y="138"/>
                    </a:lnTo>
                    <a:lnTo>
                      <a:pt x="1665" y="139"/>
                    </a:lnTo>
                    <a:lnTo>
                      <a:pt x="1663" y="140"/>
                    </a:lnTo>
                    <a:lnTo>
                      <a:pt x="1660" y="141"/>
                    </a:lnTo>
                    <a:lnTo>
                      <a:pt x="1658" y="141"/>
                    </a:lnTo>
                    <a:lnTo>
                      <a:pt x="1655" y="141"/>
                    </a:lnTo>
                    <a:lnTo>
                      <a:pt x="1647" y="140"/>
                    </a:lnTo>
                    <a:lnTo>
                      <a:pt x="1638" y="139"/>
                    </a:lnTo>
                    <a:lnTo>
                      <a:pt x="1627" y="135"/>
                    </a:lnTo>
                    <a:lnTo>
                      <a:pt x="1622" y="134"/>
                    </a:lnTo>
                    <a:lnTo>
                      <a:pt x="1618" y="133"/>
                    </a:lnTo>
                    <a:lnTo>
                      <a:pt x="1613" y="131"/>
                    </a:lnTo>
                    <a:lnTo>
                      <a:pt x="1608" y="130"/>
                    </a:lnTo>
                    <a:lnTo>
                      <a:pt x="1595" y="130"/>
                    </a:lnTo>
                    <a:lnTo>
                      <a:pt x="1588" y="129"/>
                    </a:lnTo>
                    <a:lnTo>
                      <a:pt x="1583" y="129"/>
                    </a:lnTo>
                    <a:lnTo>
                      <a:pt x="1578" y="130"/>
                    </a:lnTo>
                    <a:lnTo>
                      <a:pt x="1572" y="130"/>
                    </a:lnTo>
                    <a:lnTo>
                      <a:pt x="1558" y="130"/>
                    </a:lnTo>
                    <a:lnTo>
                      <a:pt x="1556" y="130"/>
                    </a:lnTo>
                    <a:lnTo>
                      <a:pt x="1553" y="130"/>
                    </a:lnTo>
                    <a:lnTo>
                      <a:pt x="1551" y="131"/>
                    </a:lnTo>
                    <a:lnTo>
                      <a:pt x="1548" y="131"/>
                    </a:lnTo>
                    <a:lnTo>
                      <a:pt x="1548" y="133"/>
                    </a:lnTo>
                    <a:lnTo>
                      <a:pt x="1548" y="134"/>
                    </a:lnTo>
                    <a:lnTo>
                      <a:pt x="1548" y="136"/>
                    </a:lnTo>
                    <a:lnTo>
                      <a:pt x="1549" y="139"/>
                    </a:lnTo>
                    <a:lnTo>
                      <a:pt x="1549" y="141"/>
                    </a:lnTo>
                    <a:lnTo>
                      <a:pt x="1551" y="144"/>
                    </a:lnTo>
                    <a:lnTo>
                      <a:pt x="1553" y="146"/>
                    </a:lnTo>
                    <a:lnTo>
                      <a:pt x="1557" y="148"/>
                    </a:lnTo>
                    <a:lnTo>
                      <a:pt x="1559" y="148"/>
                    </a:lnTo>
                    <a:lnTo>
                      <a:pt x="1561" y="146"/>
                    </a:lnTo>
                    <a:lnTo>
                      <a:pt x="1562" y="145"/>
                    </a:lnTo>
                    <a:lnTo>
                      <a:pt x="1563" y="144"/>
                    </a:lnTo>
                    <a:lnTo>
                      <a:pt x="1563" y="143"/>
                    </a:lnTo>
                    <a:lnTo>
                      <a:pt x="1564" y="141"/>
                    </a:lnTo>
                    <a:lnTo>
                      <a:pt x="1566" y="140"/>
                    </a:lnTo>
                    <a:lnTo>
                      <a:pt x="1569" y="140"/>
                    </a:lnTo>
                    <a:lnTo>
                      <a:pt x="1573" y="140"/>
                    </a:lnTo>
                    <a:lnTo>
                      <a:pt x="1576" y="140"/>
                    </a:lnTo>
                    <a:lnTo>
                      <a:pt x="1579" y="141"/>
                    </a:lnTo>
                    <a:lnTo>
                      <a:pt x="1583" y="143"/>
                    </a:lnTo>
                    <a:lnTo>
                      <a:pt x="1587" y="143"/>
                    </a:lnTo>
                    <a:lnTo>
                      <a:pt x="1591" y="143"/>
                    </a:lnTo>
                    <a:lnTo>
                      <a:pt x="1593" y="141"/>
                    </a:lnTo>
                    <a:lnTo>
                      <a:pt x="1600" y="139"/>
                    </a:lnTo>
                    <a:lnTo>
                      <a:pt x="1608" y="139"/>
                    </a:lnTo>
                    <a:lnTo>
                      <a:pt x="1619" y="141"/>
                    </a:lnTo>
                    <a:lnTo>
                      <a:pt x="1633" y="148"/>
                    </a:lnTo>
                    <a:lnTo>
                      <a:pt x="1648" y="151"/>
                    </a:lnTo>
                    <a:lnTo>
                      <a:pt x="1653" y="154"/>
                    </a:lnTo>
                    <a:lnTo>
                      <a:pt x="1657" y="156"/>
                    </a:lnTo>
                    <a:lnTo>
                      <a:pt x="1659" y="159"/>
                    </a:lnTo>
                    <a:lnTo>
                      <a:pt x="1660" y="164"/>
                    </a:lnTo>
                    <a:lnTo>
                      <a:pt x="1662" y="166"/>
                    </a:lnTo>
                    <a:lnTo>
                      <a:pt x="1660" y="169"/>
                    </a:lnTo>
                    <a:lnTo>
                      <a:pt x="1659" y="170"/>
                    </a:lnTo>
                    <a:lnTo>
                      <a:pt x="1658" y="170"/>
                    </a:lnTo>
                    <a:lnTo>
                      <a:pt x="1655" y="170"/>
                    </a:lnTo>
                    <a:lnTo>
                      <a:pt x="1653" y="171"/>
                    </a:lnTo>
                    <a:lnTo>
                      <a:pt x="1650" y="171"/>
                    </a:lnTo>
                    <a:lnTo>
                      <a:pt x="1648" y="173"/>
                    </a:lnTo>
                    <a:lnTo>
                      <a:pt x="1645" y="173"/>
                    </a:lnTo>
                    <a:lnTo>
                      <a:pt x="1644" y="174"/>
                    </a:lnTo>
                    <a:lnTo>
                      <a:pt x="1642" y="175"/>
                    </a:lnTo>
                    <a:lnTo>
                      <a:pt x="1640" y="178"/>
                    </a:lnTo>
                    <a:lnTo>
                      <a:pt x="1639" y="180"/>
                    </a:lnTo>
                    <a:lnTo>
                      <a:pt x="1639" y="182"/>
                    </a:lnTo>
                    <a:lnTo>
                      <a:pt x="1642" y="184"/>
                    </a:lnTo>
                    <a:lnTo>
                      <a:pt x="1645" y="184"/>
                    </a:lnTo>
                    <a:lnTo>
                      <a:pt x="1648" y="184"/>
                    </a:lnTo>
                    <a:lnTo>
                      <a:pt x="1650" y="182"/>
                    </a:lnTo>
                    <a:lnTo>
                      <a:pt x="1653" y="181"/>
                    </a:lnTo>
                    <a:lnTo>
                      <a:pt x="1655" y="180"/>
                    </a:lnTo>
                    <a:lnTo>
                      <a:pt x="1655" y="180"/>
                    </a:lnTo>
                    <a:lnTo>
                      <a:pt x="1662" y="179"/>
                    </a:lnTo>
                    <a:lnTo>
                      <a:pt x="1669" y="179"/>
                    </a:lnTo>
                    <a:lnTo>
                      <a:pt x="1676" y="178"/>
                    </a:lnTo>
                    <a:lnTo>
                      <a:pt x="1679" y="176"/>
                    </a:lnTo>
                    <a:lnTo>
                      <a:pt x="1679" y="175"/>
                    </a:lnTo>
                    <a:lnTo>
                      <a:pt x="1680" y="173"/>
                    </a:lnTo>
                    <a:lnTo>
                      <a:pt x="1679" y="170"/>
                    </a:lnTo>
                    <a:lnTo>
                      <a:pt x="1679" y="169"/>
                    </a:lnTo>
                    <a:lnTo>
                      <a:pt x="1679" y="166"/>
                    </a:lnTo>
                    <a:lnTo>
                      <a:pt x="1678" y="164"/>
                    </a:lnTo>
                    <a:lnTo>
                      <a:pt x="1679" y="161"/>
                    </a:lnTo>
                    <a:lnTo>
                      <a:pt x="1679" y="160"/>
                    </a:lnTo>
                    <a:lnTo>
                      <a:pt x="1681" y="159"/>
                    </a:lnTo>
                    <a:lnTo>
                      <a:pt x="1684" y="158"/>
                    </a:lnTo>
                    <a:lnTo>
                      <a:pt x="1686" y="158"/>
                    </a:lnTo>
                    <a:lnTo>
                      <a:pt x="1690" y="159"/>
                    </a:lnTo>
                    <a:lnTo>
                      <a:pt x="1694" y="160"/>
                    </a:lnTo>
                    <a:lnTo>
                      <a:pt x="1696" y="161"/>
                    </a:lnTo>
                    <a:lnTo>
                      <a:pt x="1700" y="165"/>
                    </a:lnTo>
                    <a:lnTo>
                      <a:pt x="1703" y="169"/>
                    </a:lnTo>
                    <a:lnTo>
                      <a:pt x="1704" y="173"/>
                    </a:lnTo>
                    <a:lnTo>
                      <a:pt x="1705" y="175"/>
                    </a:lnTo>
                    <a:lnTo>
                      <a:pt x="1705" y="178"/>
                    </a:lnTo>
                    <a:lnTo>
                      <a:pt x="1709" y="190"/>
                    </a:lnTo>
                    <a:lnTo>
                      <a:pt x="1715" y="204"/>
                    </a:lnTo>
                    <a:lnTo>
                      <a:pt x="1715" y="214"/>
                    </a:lnTo>
                    <a:lnTo>
                      <a:pt x="1714" y="216"/>
                    </a:lnTo>
                    <a:lnTo>
                      <a:pt x="1714" y="217"/>
                    </a:lnTo>
                    <a:lnTo>
                      <a:pt x="1715" y="220"/>
                    </a:lnTo>
                    <a:lnTo>
                      <a:pt x="1715" y="221"/>
                    </a:lnTo>
                    <a:lnTo>
                      <a:pt x="1715" y="226"/>
                    </a:lnTo>
                    <a:lnTo>
                      <a:pt x="1715" y="230"/>
                    </a:lnTo>
                    <a:lnTo>
                      <a:pt x="1713" y="232"/>
                    </a:lnTo>
                    <a:lnTo>
                      <a:pt x="1711" y="235"/>
                    </a:lnTo>
                    <a:lnTo>
                      <a:pt x="1710" y="237"/>
                    </a:lnTo>
                    <a:lnTo>
                      <a:pt x="1710" y="240"/>
                    </a:lnTo>
                    <a:lnTo>
                      <a:pt x="1710" y="242"/>
                    </a:lnTo>
                    <a:lnTo>
                      <a:pt x="1713" y="247"/>
                    </a:lnTo>
                    <a:lnTo>
                      <a:pt x="1715" y="247"/>
                    </a:lnTo>
                    <a:lnTo>
                      <a:pt x="1716" y="245"/>
                    </a:lnTo>
                    <a:lnTo>
                      <a:pt x="1719" y="243"/>
                    </a:lnTo>
                    <a:lnTo>
                      <a:pt x="1720" y="242"/>
                    </a:lnTo>
                    <a:lnTo>
                      <a:pt x="1720" y="241"/>
                    </a:lnTo>
                    <a:lnTo>
                      <a:pt x="1721" y="238"/>
                    </a:lnTo>
                    <a:lnTo>
                      <a:pt x="1721" y="236"/>
                    </a:lnTo>
                    <a:lnTo>
                      <a:pt x="1721" y="235"/>
                    </a:lnTo>
                    <a:lnTo>
                      <a:pt x="1723" y="235"/>
                    </a:lnTo>
                    <a:lnTo>
                      <a:pt x="1725" y="233"/>
                    </a:lnTo>
                    <a:lnTo>
                      <a:pt x="1726" y="232"/>
                    </a:lnTo>
                    <a:lnTo>
                      <a:pt x="1728" y="231"/>
                    </a:lnTo>
                    <a:lnTo>
                      <a:pt x="1729" y="230"/>
                    </a:lnTo>
                    <a:lnTo>
                      <a:pt x="1729" y="219"/>
                    </a:lnTo>
                    <a:lnTo>
                      <a:pt x="1729" y="216"/>
                    </a:lnTo>
                    <a:lnTo>
                      <a:pt x="1729" y="215"/>
                    </a:lnTo>
                    <a:lnTo>
                      <a:pt x="1730" y="212"/>
                    </a:lnTo>
                    <a:lnTo>
                      <a:pt x="1731" y="211"/>
                    </a:lnTo>
                    <a:lnTo>
                      <a:pt x="1731" y="209"/>
                    </a:lnTo>
                    <a:lnTo>
                      <a:pt x="1733" y="206"/>
                    </a:lnTo>
                    <a:lnTo>
                      <a:pt x="1733" y="205"/>
                    </a:lnTo>
                    <a:lnTo>
                      <a:pt x="1734" y="202"/>
                    </a:lnTo>
                    <a:lnTo>
                      <a:pt x="1734" y="201"/>
                    </a:lnTo>
                    <a:lnTo>
                      <a:pt x="1733" y="199"/>
                    </a:lnTo>
                    <a:lnTo>
                      <a:pt x="1731" y="196"/>
                    </a:lnTo>
                    <a:lnTo>
                      <a:pt x="1729" y="192"/>
                    </a:lnTo>
                    <a:lnTo>
                      <a:pt x="1728" y="191"/>
                    </a:lnTo>
                    <a:lnTo>
                      <a:pt x="1726" y="190"/>
                    </a:lnTo>
                    <a:lnTo>
                      <a:pt x="1728" y="190"/>
                    </a:lnTo>
                    <a:lnTo>
                      <a:pt x="1728" y="190"/>
                    </a:lnTo>
                    <a:lnTo>
                      <a:pt x="1730" y="190"/>
                    </a:lnTo>
                    <a:lnTo>
                      <a:pt x="1731" y="191"/>
                    </a:lnTo>
                    <a:lnTo>
                      <a:pt x="1733" y="192"/>
                    </a:lnTo>
                    <a:lnTo>
                      <a:pt x="1734" y="192"/>
                    </a:lnTo>
                    <a:lnTo>
                      <a:pt x="1741" y="201"/>
                    </a:lnTo>
                    <a:lnTo>
                      <a:pt x="1744" y="202"/>
                    </a:lnTo>
                    <a:lnTo>
                      <a:pt x="1745" y="205"/>
                    </a:lnTo>
                    <a:lnTo>
                      <a:pt x="1746" y="205"/>
                    </a:lnTo>
                    <a:lnTo>
                      <a:pt x="1747" y="206"/>
                    </a:lnTo>
                    <a:lnTo>
                      <a:pt x="1750" y="206"/>
                    </a:lnTo>
                    <a:lnTo>
                      <a:pt x="1752" y="206"/>
                    </a:lnTo>
                    <a:lnTo>
                      <a:pt x="1752" y="206"/>
                    </a:lnTo>
                    <a:lnTo>
                      <a:pt x="1754" y="207"/>
                    </a:lnTo>
                    <a:lnTo>
                      <a:pt x="1755" y="209"/>
                    </a:lnTo>
                    <a:lnTo>
                      <a:pt x="1756" y="211"/>
                    </a:lnTo>
                    <a:lnTo>
                      <a:pt x="1759" y="212"/>
                    </a:lnTo>
                    <a:lnTo>
                      <a:pt x="1760" y="214"/>
                    </a:lnTo>
                    <a:lnTo>
                      <a:pt x="1762" y="215"/>
                    </a:lnTo>
                    <a:lnTo>
                      <a:pt x="1765" y="216"/>
                    </a:lnTo>
                    <a:lnTo>
                      <a:pt x="1767" y="217"/>
                    </a:lnTo>
                    <a:lnTo>
                      <a:pt x="1770" y="217"/>
                    </a:lnTo>
                    <a:lnTo>
                      <a:pt x="1771" y="217"/>
                    </a:lnTo>
                    <a:lnTo>
                      <a:pt x="1772" y="216"/>
                    </a:lnTo>
                    <a:lnTo>
                      <a:pt x="1771" y="214"/>
                    </a:lnTo>
                    <a:lnTo>
                      <a:pt x="1770" y="211"/>
                    </a:lnTo>
                    <a:lnTo>
                      <a:pt x="1767" y="209"/>
                    </a:lnTo>
                    <a:lnTo>
                      <a:pt x="1764" y="206"/>
                    </a:lnTo>
                    <a:lnTo>
                      <a:pt x="1760" y="204"/>
                    </a:lnTo>
                    <a:lnTo>
                      <a:pt x="1756" y="200"/>
                    </a:lnTo>
                    <a:lnTo>
                      <a:pt x="1754" y="197"/>
                    </a:lnTo>
                    <a:lnTo>
                      <a:pt x="1751" y="195"/>
                    </a:lnTo>
                    <a:lnTo>
                      <a:pt x="1749" y="192"/>
                    </a:lnTo>
                    <a:lnTo>
                      <a:pt x="1747" y="191"/>
                    </a:lnTo>
                    <a:lnTo>
                      <a:pt x="1746" y="191"/>
                    </a:lnTo>
                    <a:lnTo>
                      <a:pt x="1745" y="190"/>
                    </a:lnTo>
                    <a:lnTo>
                      <a:pt x="1742" y="189"/>
                    </a:lnTo>
                    <a:lnTo>
                      <a:pt x="1742" y="189"/>
                    </a:lnTo>
                    <a:lnTo>
                      <a:pt x="1742" y="187"/>
                    </a:lnTo>
                    <a:lnTo>
                      <a:pt x="1744" y="187"/>
                    </a:lnTo>
                    <a:lnTo>
                      <a:pt x="1745" y="186"/>
                    </a:lnTo>
                    <a:lnTo>
                      <a:pt x="1745" y="186"/>
                    </a:lnTo>
                    <a:lnTo>
                      <a:pt x="1747" y="187"/>
                    </a:lnTo>
                    <a:lnTo>
                      <a:pt x="1749" y="187"/>
                    </a:lnTo>
                    <a:lnTo>
                      <a:pt x="1750" y="189"/>
                    </a:lnTo>
                    <a:lnTo>
                      <a:pt x="1752" y="190"/>
                    </a:lnTo>
                    <a:lnTo>
                      <a:pt x="1752" y="191"/>
                    </a:lnTo>
                    <a:lnTo>
                      <a:pt x="1755" y="194"/>
                    </a:lnTo>
                    <a:lnTo>
                      <a:pt x="1757" y="195"/>
                    </a:lnTo>
                    <a:lnTo>
                      <a:pt x="1760" y="197"/>
                    </a:lnTo>
                    <a:lnTo>
                      <a:pt x="1762" y="200"/>
                    </a:lnTo>
                    <a:lnTo>
                      <a:pt x="1765" y="202"/>
                    </a:lnTo>
                    <a:lnTo>
                      <a:pt x="1766" y="204"/>
                    </a:lnTo>
                    <a:lnTo>
                      <a:pt x="1769" y="206"/>
                    </a:lnTo>
                    <a:lnTo>
                      <a:pt x="1770" y="206"/>
                    </a:lnTo>
                    <a:lnTo>
                      <a:pt x="1770" y="206"/>
                    </a:lnTo>
                    <a:lnTo>
                      <a:pt x="1770" y="204"/>
                    </a:lnTo>
                    <a:lnTo>
                      <a:pt x="1770" y="201"/>
                    </a:lnTo>
                    <a:lnTo>
                      <a:pt x="1767" y="199"/>
                    </a:lnTo>
                    <a:lnTo>
                      <a:pt x="1769" y="196"/>
                    </a:lnTo>
                    <a:lnTo>
                      <a:pt x="1769" y="196"/>
                    </a:lnTo>
                    <a:lnTo>
                      <a:pt x="1771" y="195"/>
                    </a:lnTo>
                    <a:lnTo>
                      <a:pt x="1772" y="195"/>
                    </a:lnTo>
                    <a:lnTo>
                      <a:pt x="1775" y="195"/>
                    </a:lnTo>
                    <a:lnTo>
                      <a:pt x="1776" y="195"/>
                    </a:lnTo>
                    <a:lnTo>
                      <a:pt x="1777" y="195"/>
                    </a:lnTo>
                    <a:lnTo>
                      <a:pt x="1777" y="195"/>
                    </a:lnTo>
                    <a:lnTo>
                      <a:pt x="1780" y="195"/>
                    </a:lnTo>
                    <a:lnTo>
                      <a:pt x="1781" y="194"/>
                    </a:lnTo>
                    <a:lnTo>
                      <a:pt x="1781" y="194"/>
                    </a:lnTo>
                    <a:lnTo>
                      <a:pt x="1784" y="192"/>
                    </a:lnTo>
                    <a:lnTo>
                      <a:pt x="1785" y="192"/>
                    </a:lnTo>
                    <a:lnTo>
                      <a:pt x="1787" y="194"/>
                    </a:lnTo>
                    <a:lnTo>
                      <a:pt x="1790" y="194"/>
                    </a:lnTo>
                    <a:lnTo>
                      <a:pt x="1794" y="195"/>
                    </a:lnTo>
                    <a:lnTo>
                      <a:pt x="1797" y="197"/>
                    </a:lnTo>
                    <a:lnTo>
                      <a:pt x="1801" y="201"/>
                    </a:lnTo>
                    <a:lnTo>
                      <a:pt x="1805" y="204"/>
                    </a:lnTo>
                    <a:lnTo>
                      <a:pt x="1807" y="206"/>
                    </a:lnTo>
                    <a:lnTo>
                      <a:pt x="1812" y="210"/>
                    </a:lnTo>
                    <a:lnTo>
                      <a:pt x="1817" y="215"/>
                    </a:lnTo>
                    <a:lnTo>
                      <a:pt x="1822" y="219"/>
                    </a:lnTo>
                    <a:lnTo>
                      <a:pt x="1830" y="224"/>
                    </a:lnTo>
                    <a:lnTo>
                      <a:pt x="1836" y="230"/>
                    </a:lnTo>
                    <a:lnTo>
                      <a:pt x="1841" y="235"/>
                    </a:lnTo>
                    <a:lnTo>
                      <a:pt x="1841" y="240"/>
                    </a:lnTo>
                    <a:lnTo>
                      <a:pt x="1840" y="242"/>
                    </a:lnTo>
                    <a:lnTo>
                      <a:pt x="1838" y="245"/>
                    </a:lnTo>
                    <a:lnTo>
                      <a:pt x="1837" y="247"/>
                    </a:lnTo>
                    <a:lnTo>
                      <a:pt x="1835" y="248"/>
                    </a:lnTo>
                    <a:lnTo>
                      <a:pt x="1833" y="252"/>
                    </a:lnTo>
                    <a:lnTo>
                      <a:pt x="1833" y="256"/>
                    </a:lnTo>
                    <a:lnTo>
                      <a:pt x="1832" y="257"/>
                    </a:lnTo>
                    <a:lnTo>
                      <a:pt x="1831" y="257"/>
                    </a:lnTo>
                    <a:lnTo>
                      <a:pt x="1830" y="257"/>
                    </a:lnTo>
                    <a:lnTo>
                      <a:pt x="1827" y="256"/>
                    </a:lnTo>
                    <a:lnTo>
                      <a:pt x="1826" y="256"/>
                    </a:lnTo>
                    <a:lnTo>
                      <a:pt x="1823" y="256"/>
                    </a:lnTo>
                    <a:lnTo>
                      <a:pt x="1822" y="256"/>
                    </a:lnTo>
                    <a:lnTo>
                      <a:pt x="1822" y="258"/>
                    </a:lnTo>
                    <a:lnTo>
                      <a:pt x="1823" y="261"/>
                    </a:lnTo>
                    <a:lnTo>
                      <a:pt x="1825" y="262"/>
                    </a:lnTo>
                    <a:lnTo>
                      <a:pt x="1826" y="265"/>
                    </a:lnTo>
                    <a:lnTo>
                      <a:pt x="1827" y="266"/>
                    </a:lnTo>
                    <a:lnTo>
                      <a:pt x="1828" y="268"/>
                    </a:lnTo>
                    <a:lnTo>
                      <a:pt x="1827" y="271"/>
                    </a:lnTo>
                    <a:lnTo>
                      <a:pt x="1822" y="271"/>
                    </a:lnTo>
                    <a:lnTo>
                      <a:pt x="1821" y="271"/>
                    </a:lnTo>
                    <a:lnTo>
                      <a:pt x="1821" y="272"/>
                    </a:lnTo>
                    <a:lnTo>
                      <a:pt x="1821" y="273"/>
                    </a:lnTo>
                    <a:lnTo>
                      <a:pt x="1821" y="275"/>
                    </a:lnTo>
                    <a:lnTo>
                      <a:pt x="1821" y="276"/>
                    </a:lnTo>
                    <a:lnTo>
                      <a:pt x="1820" y="276"/>
                    </a:lnTo>
                    <a:lnTo>
                      <a:pt x="1818" y="277"/>
                    </a:lnTo>
                    <a:lnTo>
                      <a:pt x="1816" y="277"/>
                    </a:lnTo>
                    <a:lnTo>
                      <a:pt x="1815" y="276"/>
                    </a:lnTo>
                    <a:lnTo>
                      <a:pt x="1812" y="275"/>
                    </a:lnTo>
                    <a:lnTo>
                      <a:pt x="1811" y="275"/>
                    </a:lnTo>
                    <a:lnTo>
                      <a:pt x="1810" y="273"/>
                    </a:lnTo>
                    <a:lnTo>
                      <a:pt x="1807" y="272"/>
                    </a:lnTo>
                    <a:lnTo>
                      <a:pt x="1804" y="271"/>
                    </a:lnTo>
                    <a:lnTo>
                      <a:pt x="1801" y="270"/>
                    </a:lnTo>
                    <a:lnTo>
                      <a:pt x="1799" y="268"/>
                    </a:lnTo>
                    <a:lnTo>
                      <a:pt x="1795" y="266"/>
                    </a:lnTo>
                    <a:lnTo>
                      <a:pt x="1790" y="263"/>
                    </a:lnTo>
                    <a:lnTo>
                      <a:pt x="1786" y="261"/>
                    </a:lnTo>
                    <a:lnTo>
                      <a:pt x="1785" y="261"/>
                    </a:lnTo>
                    <a:lnTo>
                      <a:pt x="1785" y="262"/>
                    </a:lnTo>
                    <a:lnTo>
                      <a:pt x="1786" y="263"/>
                    </a:lnTo>
                    <a:lnTo>
                      <a:pt x="1787" y="266"/>
                    </a:lnTo>
                    <a:lnTo>
                      <a:pt x="1787" y="267"/>
                    </a:lnTo>
                    <a:lnTo>
                      <a:pt x="1787" y="270"/>
                    </a:lnTo>
                    <a:lnTo>
                      <a:pt x="1787" y="271"/>
                    </a:lnTo>
                    <a:lnTo>
                      <a:pt x="1786" y="271"/>
                    </a:lnTo>
                    <a:lnTo>
                      <a:pt x="1785" y="271"/>
                    </a:lnTo>
                    <a:lnTo>
                      <a:pt x="1784" y="271"/>
                    </a:lnTo>
                    <a:lnTo>
                      <a:pt x="1781" y="270"/>
                    </a:lnTo>
                    <a:lnTo>
                      <a:pt x="1780" y="268"/>
                    </a:lnTo>
                    <a:lnTo>
                      <a:pt x="1777" y="268"/>
                    </a:lnTo>
                    <a:lnTo>
                      <a:pt x="1776" y="267"/>
                    </a:lnTo>
                    <a:lnTo>
                      <a:pt x="1775" y="267"/>
                    </a:lnTo>
                    <a:lnTo>
                      <a:pt x="1774" y="268"/>
                    </a:lnTo>
                    <a:lnTo>
                      <a:pt x="1775" y="270"/>
                    </a:lnTo>
                    <a:lnTo>
                      <a:pt x="1775" y="271"/>
                    </a:lnTo>
                    <a:lnTo>
                      <a:pt x="1779" y="273"/>
                    </a:lnTo>
                    <a:lnTo>
                      <a:pt x="1781" y="276"/>
                    </a:lnTo>
                    <a:lnTo>
                      <a:pt x="1782" y="276"/>
                    </a:lnTo>
                    <a:lnTo>
                      <a:pt x="1784" y="277"/>
                    </a:lnTo>
                    <a:lnTo>
                      <a:pt x="1786" y="278"/>
                    </a:lnTo>
                    <a:lnTo>
                      <a:pt x="1789" y="278"/>
                    </a:lnTo>
                    <a:lnTo>
                      <a:pt x="1790" y="277"/>
                    </a:lnTo>
                    <a:lnTo>
                      <a:pt x="1791" y="277"/>
                    </a:lnTo>
                    <a:lnTo>
                      <a:pt x="1791" y="276"/>
                    </a:lnTo>
                    <a:lnTo>
                      <a:pt x="1792" y="276"/>
                    </a:lnTo>
                    <a:lnTo>
                      <a:pt x="1794" y="276"/>
                    </a:lnTo>
                    <a:lnTo>
                      <a:pt x="1801" y="278"/>
                    </a:lnTo>
                    <a:lnTo>
                      <a:pt x="1809" y="282"/>
                    </a:lnTo>
                    <a:lnTo>
                      <a:pt x="1817" y="287"/>
                    </a:lnTo>
                    <a:lnTo>
                      <a:pt x="1822" y="294"/>
                    </a:lnTo>
                    <a:lnTo>
                      <a:pt x="1823" y="298"/>
                    </a:lnTo>
                    <a:lnTo>
                      <a:pt x="1822" y="302"/>
                    </a:lnTo>
                    <a:lnTo>
                      <a:pt x="1821" y="304"/>
                    </a:lnTo>
                    <a:lnTo>
                      <a:pt x="1817" y="307"/>
                    </a:lnTo>
                    <a:lnTo>
                      <a:pt x="1813" y="307"/>
                    </a:lnTo>
                    <a:lnTo>
                      <a:pt x="1807" y="304"/>
                    </a:lnTo>
                    <a:lnTo>
                      <a:pt x="1800" y="301"/>
                    </a:lnTo>
                    <a:lnTo>
                      <a:pt x="1794" y="297"/>
                    </a:lnTo>
                    <a:lnTo>
                      <a:pt x="1789" y="294"/>
                    </a:lnTo>
                    <a:lnTo>
                      <a:pt x="1785" y="293"/>
                    </a:lnTo>
                    <a:lnTo>
                      <a:pt x="1781" y="292"/>
                    </a:lnTo>
                    <a:lnTo>
                      <a:pt x="1779" y="293"/>
                    </a:lnTo>
                    <a:lnTo>
                      <a:pt x="1777" y="293"/>
                    </a:lnTo>
                    <a:lnTo>
                      <a:pt x="1777" y="296"/>
                    </a:lnTo>
                    <a:lnTo>
                      <a:pt x="1777" y="297"/>
                    </a:lnTo>
                    <a:lnTo>
                      <a:pt x="1777" y="299"/>
                    </a:lnTo>
                    <a:lnTo>
                      <a:pt x="1779" y="304"/>
                    </a:lnTo>
                    <a:lnTo>
                      <a:pt x="1780" y="311"/>
                    </a:lnTo>
                    <a:lnTo>
                      <a:pt x="1784" y="317"/>
                    </a:lnTo>
                    <a:lnTo>
                      <a:pt x="1789" y="321"/>
                    </a:lnTo>
                    <a:lnTo>
                      <a:pt x="1790" y="322"/>
                    </a:lnTo>
                    <a:lnTo>
                      <a:pt x="1792" y="322"/>
                    </a:lnTo>
                    <a:lnTo>
                      <a:pt x="1792" y="321"/>
                    </a:lnTo>
                    <a:lnTo>
                      <a:pt x="1792" y="319"/>
                    </a:lnTo>
                    <a:lnTo>
                      <a:pt x="1792" y="317"/>
                    </a:lnTo>
                    <a:lnTo>
                      <a:pt x="1792" y="314"/>
                    </a:lnTo>
                    <a:lnTo>
                      <a:pt x="1792" y="312"/>
                    </a:lnTo>
                    <a:lnTo>
                      <a:pt x="1791" y="311"/>
                    </a:lnTo>
                    <a:lnTo>
                      <a:pt x="1791" y="308"/>
                    </a:lnTo>
                    <a:lnTo>
                      <a:pt x="1791" y="307"/>
                    </a:lnTo>
                    <a:lnTo>
                      <a:pt x="1791" y="307"/>
                    </a:lnTo>
                    <a:lnTo>
                      <a:pt x="1792" y="307"/>
                    </a:lnTo>
                    <a:lnTo>
                      <a:pt x="1794" y="307"/>
                    </a:lnTo>
                    <a:lnTo>
                      <a:pt x="1796" y="308"/>
                    </a:lnTo>
                    <a:lnTo>
                      <a:pt x="1797" y="308"/>
                    </a:lnTo>
                    <a:lnTo>
                      <a:pt x="1799" y="309"/>
                    </a:lnTo>
                    <a:lnTo>
                      <a:pt x="1812" y="309"/>
                    </a:lnTo>
                    <a:lnTo>
                      <a:pt x="1816" y="312"/>
                    </a:lnTo>
                    <a:lnTo>
                      <a:pt x="1817" y="314"/>
                    </a:lnTo>
                    <a:lnTo>
                      <a:pt x="1818" y="318"/>
                    </a:lnTo>
                    <a:lnTo>
                      <a:pt x="1818" y="321"/>
                    </a:lnTo>
                    <a:lnTo>
                      <a:pt x="1818" y="323"/>
                    </a:lnTo>
                    <a:lnTo>
                      <a:pt x="1817" y="325"/>
                    </a:lnTo>
                    <a:lnTo>
                      <a:pt x="1817" y="328"/>
                    </a:lnTo>
                    <a:lnTo>
                      <a:pt x="1817" y="329"/>
                    </a:lnTo>
                    <a:lnTo>
                      <a:pt x="1817" y="330"/>
                    </a:lnTo>
                    <a:lnTo>
                      <a:pt x="1817" y="332"/>
                    </a:lnTo>
                    <a:lnTo>
                      <a:pt x="1816" y="333"/>
                    </a:lnTo>
                    <a:lnTo>
                      <a:pt x="1816" y="334"/>
                    </a:lnTo>
                    <a:lnTo>
                      <a:pt x="1815" y="333"/>
                    </a:lnTo>
                    <a:lnTo>
                      <a:pt x="1811" y="333"/>
                    </a:lnTo>
                    <a:lnTo>
                      <a:pt x="1809" y="332"/>
                    </a:lnTo>
                    <a:lnTo>
                      <a:pt x="1806" y="332"/>
                    </a:lnTo>
                    <a:lnTo>
                      <a:pt x="1804" y="330"/>
                    </a:lnTo>
                    <a:lnTo>
                      <a:pt x="1802" y="330"/>
                    </a:lnTo>
                    <a:lnTo>
                      <a:pt x="1801" y="332"/>
                    </a:lnTo>
                    <a:lnTo>
                      <a:pt x="1800" y="333"/>
                    </a:lnTo>
                    <a:lnTo>
                      <a:pt x="1800" y="335"/>
                    </a:lnTo>
                    <a:lnTo>
                      <a:pt x="1801" y="338"/>
                    </a:lnTo>
                    <a:lnTo>
                      <a:pt x="1801" y="342"/>
                    </a:lnTo>
                    <a:lnTo>
                      <a:pt x="1802" y="344"/>
                    </a:lnTo>
                    <a:lnTo>
                      <a:pt x="1804" y="347"/>
                    </a:lnTo>
                    <a:lnTo>
                      <a:pt x="1804" y="349"/>
                    </a:lnTo>
                    <a:lnTo>
                      <a:pt x="1807" y="352"/>
                    </a:lnTo>
                    <a:lnTo>
                      <a:pt x="1810" y="353"/>
                    </a:lnTo>
                    <a:lnTo>
                      <a:pt x="1812" y="354"/>
                    </a:lnTo>
                    <a:lnTo>
                      <a:pt x="1812" y="355"/>
                    </a:lnTo>
                    <a:lnTo>
                      <a:pt x="1813" y="357"/>
                    </a:lnTo>
                    <a:lnTo>
                      <a:pt x="1815" y="358"/>
                    </a:lnTo>
                    <a:lnTo>
                      <a:pt x="1817" y="359"/>
                    </a:lnTo>
                    <a:lnTo>
                      <a:pt x="1818" y="362"/>
                    </a:lnTo>
                    <a:lnTo>
                      <a:pt x="1818" y="364"/>
                    </a:lnTo>
                    <a:lnTo>
                      <a:pt x="1817" y="365"/>
                    </a:lnTo>
                    <a:lnTo>
                      <a:pt x="1816" y="365"/>
                    </a:lnTo>
                    <a:lnTo>
                      <a:pt x="1815" y="368"/>
                    </a:lnTo>
                    <a:lnTo>
                      <a:pt x="1812" y="368"/>
                    </a:lnTo>
                    <a:lnTo>
                      <a:pt x="1811" y="368"/>
                    </a:lnTo>
                    <a:lnTo>
                      <a:pt x="1810" y="368"/>
                    </a:lnTo>
                    <a:lnTo>
                      <a:pt x="1810" y="370"/>
                    </a:lnTo>
                    <a:lnTo>
                      <a:pt x="1810" y="372"/>
                    </a:lnTo>
                    <a:lnTo>
                      <a:pt x="1811" y="375"/>
                    </a:lnTo>
                    <a:lnTo>
                      <a:pt x="1811" y="378"/>
                    </a:lnTo>
                    <a:lnTo>
                      <a:pt x="1812" y="380"/>
                    </a:lnTo>
                    <a:lnTo>
                      <a:pt x="1813" y="381"/>
                    </a:lnTo>
                    <a:lnTo>
                      <a:pt x="1812" y="383"/>
                    </a:lnTo>
                    <a:lnTo>
                      <a:pt x="1811" y="383"/>
                    </a:lnTo>
                    <a:lnTo>
                      <a:pt x="1810" y="383"/>
                    </a:lnTo>
                    <a:lnTo>
                      <a:pt x="1807" y="383"/>
                    </a:lnTo>
                    <a:lnTo>
                      <a:pt x="1805" y="383"/>
                    </a:lnTo>
                    <a:lnTo>
                      <a:pt x="1802" y="384"/>
                    </a:lnTo>
                    <a:lnTo>
                      <a:pt x="1802" y="385"/>
                    </a:lnTo>
                    <a:lnTo>
                      <a:pt x="1801" y="388"/>
                    </a:lnTo>
                    <a:lnTo>
                      <a:pt x="1801" y="390"/>
                    </a:lnTo>
                    <a:lnTo>
                      <a:pt x="1805" y="403"/>
                    </a:lnTo>
                    <a:lnTo>
                      <a:pt x="1810" y="416"/>
                    </a:lnTo>
                    <a:lnTo>
                      <a:pt x="1810" y="420"/>
                    </a:lnTo>
                    <a:lnTo>
                      <a:pt x="1811" y="422"/>
                    </a:lnTo>
                    <a:lnTo>
                      <a:pt x="1810" y="424"/>
                    </a:lnTo>
                    <a:lnTo>
                      <a:pt x="1810" y="426"/>
                    </a:lnTo>
                    <a:lnTo>
                      <a:pt x="1810" y="430"/>
                    </a:lnTo>
                    <a:lnTo>
                      <a:pt x="1810" y="432"/>
                    </a:lnTo>
                    <a:lnTo>
                      <a:pt x="1810" y="435"/>
                    </a:lnTo>
                    <a:lnTo>
                      <a:pt x="1811" y="437"/>
                    </a:lnTo>
                    <a:lnTo>
                      <a:pt x="1812" y="440"/>
                    </a:lnTo>
                    <a:lnTo>
                      <a:pt x="1813" y="442"/>
                    </a:lnTo>
                    <a:lnTo>
                      <a:pt x="1816" y="444"/>
                    </a:lnTo>
                    <a:lnTo>
                      <a:pt x="1817" y="442"/>
                    </a:lnTo>
                    <a:lnTo>
                      <a:pt x="1817" y="442"/>
                    </a:lnTo>
                    <a:lnTo>
                      <a:pt x="1818" y="440"/>
                    </a:lnTo>
                    <a:lnTo>
                      <a:pt x="1818" y="439"/>
                    </a:lnTo>
                    <a:lnTo>
                      <a:pt x="1820" y="436"/>
                    </a:lnTo>
                    <a:lnTo>
                      <a:pt x="1820" y="435"/>
                    </a:lnTo>
                    <a:lnTo>
                      <a:pt x="1821" y="435"/>
                    </a:lnTo>
                    <a:lnTo>
                      <a:pt x="1822" y="435"/>
                    </a:lnTo>
                    <a:lnTo>
                      <a:pt x="1825" y="437"/>
                    </a:lnTo>
                    <a:lnTo>
                      <a:pt x="1827" y="440"/>
                    </a:lnTo>
                    <a:lnTo>
                      <a:pt x="1830" y="442"/>
                    </a:lnTo>
                    <a:lnTo>
                      <a:pt x="1832" y="446"/>
                    </a:lnTo>
                    <a:lnTo>
                      <a:pt x="1836" y="447"/>
                    </a:lnTo>
                    <a:lnTo>
                      <a:pt x="1843" y="456"/>
                    </a:lnTo>
                    <a:lnTo>
                      <a:pt x="1845" y="459"/>
                    </a:lnTo>
                    <a:lnTo>
                      <a:pt x="1846" y="460"/>
                    </a:lnTo>
                    <a:lnTo>
                      <a:pt x="1845" y="461"/>
                    </a:lnTo>
                    <a:lnTo>
                      <a:pt x="1843" y="461"/>
                    </a:lnTo>
                    <a:lnTo>
                      <a:pt x="1842" y="461"/>
                    </a:lnTo>
                    <a:lnTo>
                      <a:pt x="1840" y="461"/>
                    </a:lnTo>
                    <a:lnTo>
                      <a:pt x="1837" y="461"/>
                    </a:lnTo>
                    <a:lnTo>
                      <a:pt x="1835" y="461"/>
                    </a:lnTo>
                    <a:lnTo>
                      <a:pt x="1833" y="461"/>
                    </a:lnTo>
                    <a:lnTo>
                      <a:pt x="1831" y="462"/>
                    </a:lnTo>
                    <a:lnTo>
                      <a:pt x="1830" y="464"/>
                    </a:lnTo>
                    <a:lnTo>
                      <a:pt x="1831" y="465"/>
                    </a:lnTo>
                    <a:lnTo>
                      <a:pt x="1832" y="467"/>
                    </a:lnTo>
                    <a:lnTo>
                      <a:pt x="1835" y="469"/>
                    </a:lnTo>
                    <a:lnTo>
                      <a:pt x="1837" y="471"/>
                    </a:lnTo>
                    <a:lnTo>
                      <a:pt x="1838" y="472"/>
                    </a:lnTo>
                    <a:lnTo>
                      <a:pt x="1841" y="473"/>
                    </a:lnTo>
                    <a:lnTo>
                      <a:pt x="1843" y="475"/>
                    </a:lnTo>
                    <a:lnTo>
                      <a:pt x="1846" y="476"/>
                    </a:lnTo>
                    <a:lnTo>
                      <a:pt x="1848" y="476"/>
                    </a:lnTo>
                    <a:lnTo>
                      <a:pt x="1850" y="478"/>
                    </a:lnTo>
                    <a:lnTo>
                      <a:pt x="1851" y="480"/>
                    </a:lnTo>
                    <a:lnTo>
                      <a:pt x="1852" y="481"/>
                    </a:lnTo>
                    <a:lnTo>
                      <a:pt x="1853" y="482"/>
                    </a:lnTo>
                    <a:lnTo>
                      <a:pt x="1856" y="482"/>
                    </a:lnTo>
                    <a:lnTo>
                      <a:pt x="1857" y="483"/>
                    </a:lnTo>
                    <a:lnTo>
                      <a:pt x="1858" y="483"/>
                    </a:lnTo>
                    <a:lnTo>
                      <a:pt x="1861" y="483"/>
                    </a:lnTo>
                    <a:lnTo>
                      <a:pt x="1862" y="485"/>
                    </a:lnTo>
                    <a:lnTo>
                      <a:pt x="1865" y="487"/>
                    </a:lnTo>
                    <a:lnTo>
                      <a:pt x="1867" y="490"/>
                    </a:lnTo>
                    <a:lnTo>
                      <a:pt x="1871" y="492"/>
                    </a:lnTo>
                    <a:lnTo>
                      <a:pt x="1872" y="496"/>
                    </a:lnTo>
                    <a:lnTo>
                      <a:pt x="1875" y="500"/>
                    </a:lnTo>
                    <a:lnTo>
                      <a:pt x="1875" y="502"/>
                    </a:lnTo>
                    <a:lnTo>
                      <a:pt x="1876" y="503"/>
                    </a:lnTo>
                    <a:lnTo>
                      <a:pt x="1876" y="506"/>
                    </a:lnTo>
                    <a:lnTo>
                      <a:pt x="1876" y="508"/>
                    </a:lnTo>
                    <a:lnTo>
                      <a:pt x="1876" y="511"/>
                    </a:lnTo>
                    <a:lnTo>
                      <a:pt x="1875" y="513"/>
                    </a:lnTo>
                    <a:lnTo>
                      <a:pt x="1875" y="513"/>
                    </a:lnTo>
                    <a:lnTo>
                      <a:pt x="1873" y="513"/>
                    </a:lnTo>
                    <a:lnTo>
                      <a:pt x="1872" y="513"/>
                    </a:lnTo>
                    <a:lnTo>
                      <a:pt x="1870" y="512"/>
                    </a:lnTo>
                    <a:lnTo>
                      <a:pt x="1868" y="512"/>
                    </a:lnTo>
                    <a:lnTo>
                      <a:pt x="1867" y="511"/>
                    </a:lnTo>
                    <a:lnTo>
                      <a:pt x="1863" y="510"/>
                    </a:lnTo>
                    <a:lnTo>
                      <a:pt x="1860" y="508"/>
                    </a:lnTo>
                    <a:lnTo>
                      <a:pt x="1856" y="506"/>
                    </a:lnTo>
                    <a:lnTo>
                      <a:pt x="1853" y="502"/>
                    </a:lnTo>
                    <a:lnTo>
                      <a:pt x="1850" y="500"/>
                    </a:lnTo>
                    <a:lnTo>
                      <a:pt x="1846" y="498"/>
                    </a:lnTo>
                    <a:lnTo>
                      <a:pt x="1843" y="497"/>
                    </a:lnTo>
                    <a:lnTo>
                      <a:pt x="1841" y="497"/>
                    </a:lnTo>
                    <a:lnTo>
                      <a:pt x="1840" y="498"/>
                    </a:lnTo>
                    <a:lnTo>
                      <a:pt x="1840" y="501"/>
                    </a:lnTo>
                    <a:lnTo>
                      <a:pt x="1841" y="502"/>
                    </a:lnTo>
                    <a:lnTo>
                      <a:pt x="1841" y="505"/>
                    </a:lnTo>
                    <a:lnTo>
                      <a:pt x="1841" y="506"/>
                    </a:lnTo>
                    <a:lnTo>
                      <a:pt x="1841" y="507"/>
                    </a:lnTo>
                    <a:lnTo>
                      <a:pt x="1838" y="508"/>
                    </a:lnTo>
                    <a:lnTo>
                      <a:pt x="1836" y="508"/>
                    </a:lnTo>
                    <a:lnTo>
                      <a:pt x="1833" y="507"/>
                    </a:lnTo>
                    <a:lnTo>
                      <a:pt x="1830" y="505"/>
                    </a:lnTo>
                    <a:lnTo>
                      <a:pt x="1827" y="503"/>
                    </a:lnTo>
                    <a:lnTo>
                      <a:pt x="1826" y="503"/>
                    </a:lnTo>
                    <a:lnTo>
                      <a:pt x="1825" y="503"/>
                    </a:lnTo>
                    <a:lnTo>
                      <a:pt x="1823" y="505"/>
                    </a:lnTo>
                    <a:lnTo>
                      <a:pt x="1825" y="506"/>
                    </a:lnTo>
                    <a:lnTo>
                      <a:pt x="1826" y="508"/>
                    </a:lnTo>
                    <a:lnTo>
                      <a:pt x="1827" y="511"/>
                    </a:lnTo>
                    <a:lnTo>
                      <a:pt x="1828" y="513"/>
                    </a:lnTo>
                    <a:lnTo>
                      <a:pt x="1828" y="515"/>
                    </a:lnTo>
                    <a:lnTo>
                      <a:pt x="1831" y="516"/>
                    </a:lnTo>
                    <a:lnTo>
                      <a:pt x="1832" y="517"/>
                    </a:lnTo>
                    <a:lnTo>
                      <a:pt x="1836" y="518"/>
                    </a:lnTo>
                    <a:lnTo>
                      <a:pt x="1837" y="518"/>
                    </a:lnTo>
                    <a:lnTo>
                      <a:pt x="1838" y="520"/>
                    </a:lnTo>
                    <a:lnTo>
                      <a:pt x="1840" y="521"/>
                    </a:lnTo>
                    <a:lnTo>
                      <a:pt x="1840" y="523"/>
                    </a:lnTo>
                    <a:lnTo>
                      <a:pt x="1840" y="524"/>
                    </a:lnTo>
                    <a:lnTo>
                      <a:pt x="1841" y="526"/>
                    </a:lnTo>
                    <a:lnTo>
                      <a:pt x="1846" y="529"/>
                    </a:lnTo>
                    <a:lnTo>
                      <a:pt x="1851" y="532"/>
                    </a:lnTo>
                    <a:lnTo>
                      <a:pt x="1856" y="533"/>
                    </a:lnTo>
                    <a:lnTo>
                      <a:pt x="1862" y="539"/>
                    </a:lnTo>
                    <a:lnTo>
                      <a:pt x="1863" y="542"/>
                    </a:lnTo>
                    <a:lnTo>
                      <a:pt x="1865" y="544"/>
                    </a:lnTo>
                    <a:lnTo>
                      <a:pt x="1866" y="546"/>
                    </a:lnTo>
                    <a:lnTo>
                      <a:pt x="1867" y="548"/>
                    </a:lnTo>
                    <a:lnTo>
                      <a:pt x="1867" y="549"/>
                    </a:lnTo>
                    <a:lnTo>
                      <a:pt x="1867" y="549"/>
                    </a:lnTo>
                    <a:lnTo>
                      <a:pt x="1866" y="551"/>
                    </a:lnTo>
                    <a:lnTo>
                      <a:pt x="1865" y="552"/>
                    </a:lnTo>
                    <a:lnTo>
                      <a:pt x="1863" y="552"/>
                    </a:lnTo>
                    <a:lnTo>
                      <a:pt x="1862" y="553"/>
                    </a:lnTo>
                    <a:lnTo>
                      <a:pt x="1862" y="554"/>
                    </a:lnTo>
                    <a:lnTo>
                      <a:pt x="1862" y="557"/>
                    </a:lnTo>
                    <a:lnTo>
                      <a:pt x="1865" y="559"/>
                    </a:lnTo>
                    <a:lnTo>
                      <a:pt x="1867" y="561"/>
                    </a:lnTo>
                    <a:lnTo>
                      <a:pt x="1871" y="563"/>
                    </a:lnTo>
                    <a:lnTo>
                      <a:pt x="1875" y="566"/>
                    </a:lnTo>
                    <a:lnTo>
                      <a:pt x="1877" y="568"/>
                    </a:lnTo>
                    <a:lnTo>
                      <a:pt x="1880" y="579"/>
                    </a:lnTo>
                    <a:lnTo>
                      <a:pt x="1882" y="588"/>
                    </a:lnTo>
                    <a:lnTo>
                      <a:pt x="1882" y="590"/>
                    </a:lnTo>
                    <a:lnTo>
                      <a:pt x="1883" y="592"/>
                    </a:lnTo>
                    <a:lnTo>
                      <a:pt x="1883" y="594"/>
                    </a:lnTo>
                    <a:lnTo>
                      <a:pt x="1883" y="597"/>
                    </a:lnTo>
                    <a:lnTo>
                      <a:pt x="1884" y="598"/>
                    </a:lnTo>
                    <a:lnTo>
                      <a:pt x="1884" y="600"/>
                    </a:lnTo>
                    <a:lnTo>
                      <a:pt x="1884" y="600"/>
                    </a:lnTo>
                    <a:lnTo>
                      <a:pt x="1883" y="602"/>
                    </a:lnTo>
                    <a:lnTo>
                      <a:pt x="1882" y="600"/>
                    </a:lnTo>
                    <a:lnTo>
                      <a:pt x="1880" y="599"/>
                    </a:lnTo>
                    <a:lnTo>
                      <a:pt x="1875" y="595"/>
                    </a:lnTo>
                    <a:lnTo>
                      <a:pt x="1870" y="590"/>
                    </a:lnTo>
                    <a:lnTo>
                      <a:pt x="1867" y="585"/>
                    </a:lnTo>
                    <a:lnTo>
                      <a:pt x="1866" y="585"/>
                    </a:lnTo>
                    <a:lnTo>
                      <a:pt x="1865" y="585"/>
                    </a:lnTo>
                    <a:lnTo>
                      <a:pt x="1862" y="584"/>
                    </a:lnTo>
                    <a:lnTo>
                      <a:pt x="1861" y="584"/>
                    </a:lnTo>
                    <a:lnTo>
                      <a:pt x="1860" y="583"/>
                    </a:lnTo>
                    <a:lnTo>
                      <a:pt x="1858" y="583"/>
                    </a:lnTo>
                    <a:lnTo>
                      <a:pt x="1858" y="584"/>
                    </a:lnTo>
                    <a:lnTo>
                      <a:pt x="1858" y="585"/>
                    </a:lnTo>
                    <a:lnTo>
                      <a:pt x="1862" y="589"/>
                    </a:lnTo>
                    <a:lnTo>
                      <a:pt x="1866" y="592"/>
                    </a:lnTo>
                    <a:lnTo>
                      <a:pt x="1870" y="593"/>
                    </a:lnTo>
                    <a:lnTo>
                      <a:pt x="1872" y="595"/>
                    </a:lnTo>
                    <a:lnTo>
                      <a:pt x="1875" y="598"/>
                    </a:lnTo>
                    <a:lnTo>
                      <a:pt x="1877" y="602"/>
                    </a:lnTo>
                    <a:lnTo>
                      <a:pt x="1878" y="603"/>
                    </a:lnTo>
                    <a:lnTo>
                      <a:pt x="1880" y="605"/>
                    </a:lnTo>
                    <a:lnTo>
                      <a:pt x="1878" y="605"/>
                    </a:lnTo>
                    <a:lnTo>
                      <a:pt x="1877" y="605"/>
                    </a:lnTo>
                    <a:lnTo>
                      <a:pt x="1876" y="605"/>
                    </a:lnTo>
                    <a:lnTo>
                      <a:pt x="1875" y="605"/>
                    </a:lnTo>
                    <a:lnTo>
                      <a:pt x="1873" y="605"/>
                    </a:lnTo>
                    <a:lnTo>
                      <a:pt x="1872" y="605"/>
                    </a:lnTo>
                    <a:lnTo>
                      <a:pt x="1871" y="607"/>
                    </a:lnTo>
                    <a:lnTo>
                      <a:pt x="1871" y="607"/>
                    </a:lnTo>
                    <a:lnTo>
                      <a:pt x="1871" y="609"/>
                    </a:lnTo>
                    <a:lnTo>
                      <a:pt x="1872" y="612"/>
                    </a:lnTo>
                    <a:lnTo>
                      <a:pt x="1873" y="615"/>
                    </a:lnTo>
                    <a:lnTo>
                      <a:pt x="1875" y="618"/>
                    </a:lnTo>
                    <a:lnTo>
                      <a:pt x="1876" y="621"/>
                    </a:lnTo>
                    <a:lnTo>
                      <a:pt x="1877" y="625"/>
                    </a:lnTo>
                    <a:lnTo>
                      <a:pt x="1880" y="628"/>
                    </a:lnTo>
                    <a:lnTo>
                      <a:pt x="1882" y="629"/>
                    </a:lnTo>
                    <a:lnTo>
                      <a:pt x="1884" y="629"/>
                    </a:lnTo>
                    <a:lnTo>
                      <a:pt x="1887" y="630"/>
                    </a:lnTo>
                    <a:lnTo>
                      <a:pt x="1891" y="630"/>
                    </a:lnTo>
                    <a:lnTo>
                      <a:pt x="1894" y="634"/>
                    </a:lnTo>
                    <a:lnTo>
                      <a:pt x="1898" y="639"/>
                    </a:lnTo>
                    <a:lnTo>
                      <a:pt x="1901" y="645"/>
                    </a:lnTo>
                    <a:lnTo>
                      <a:pt x="1901" y="650"/>
                    </a:lnTo>
                    <a:lnTo>
                      <a:pt x="1901" y="651"/>
                    </a:lnTo>
                    <a:lnTo>
                      <a:pt x="1899" y="651"/>
                    </a:lnTo>
                    <a:lnTo>
                      <a:pt x="1897" y="651"/>
                    </a:lnTo>
                    <a:lnTo>
                      <a:pt x="1896" y="650"/>
                    </a:lnTo>
                    <a:lnTo>
                      <a:pt x="1893" y="649"/>
                    </a:lnTo>
                    <a:lnTo>
                      <a:pt x="1891" y="648"/>
                    </a:lnTo>
                    <a:lnTo>
                      <a:pt x="1886" y="645"/>
                    </a:lnTo>
                    <a:lnTo>
                      <a:pt x="1882" y="643"/>
                    </a:lnTo>
                    <a:lnTo>
                      <a:pt x="1877" y="640"/>
                    </a:lnTo>
                    <a:lnTo>
                      <a:pt x="1875" y="640"/>
                    </a:lnTo>
                    <a:lnTo>
                      <a:pt x="1872" y="640"/>
                    </a:lnTo>
                    <a:lnTo>
                      <a:pt x="1870" y="641"/>
                    </a:lnTo>
                    <a:lnTo>
                      <a:pt x="1868" y="641"/>
                    </a:lnTo>
                    <a:lnTo>
                      <a:pt x="1867" y="644"/>
                    </a:lnTo>
                    <a:lnTo>
                      <a:pt x="1867" y="645"/>
                    </a:lnTo>
                    <a:lnTo>
                      <a:pt x="1867" y="648"/>
                    </a:lnTo>
                    <a:lnTo>
                      <a:pt x="1867" y="650"/>
                    </a:lnTo>
                    <a:lnTo>
                      <a:pt x="1868" y="654"/>
                    </a:lnTo>
                    <a:lnTo>
                      <a:pt x="1870" y="656"/>
                    </a:lnTo>
                    <a:lnTo>
                      <a:pt x="1872" y="659"/>
                    </a:lnTo>
                    <a:lnTo>
                      <a:pt x="1875" y="661"/>
                    </a:lnTo>
                    <a:lnTo>
                      <a:pt x="1878" y="663"/>
                    </a:lnTo>
                    <a:lnTo>
                      <a:pt x="1882" y="665"/>
                    </a:lnTo>
                    <a:lnTo>
                      <a:pt x="1884" y="666"/>
                    </a:lnTo>
                    <a:lnTo>
                      <a:pt x="1887" y="669"/>
                    </a:lnTo>
                    <a:lnTo>
                      <a:pt x="1891" y="671"/>
                    </a:lnTo>
                    <a:lnTo>
                      <a:pt x="1893" y="675"/>
                    </a:lnTo>
                    <a:lnTo>
                      <a:pt x="1896" y="676"/>
                    </a:lnTo>
                    <a:lnTo>
                      <a:pt x="1897" y="680"/>
                    </a:lnTo>
                    <a:lnTo>
                      <a:pt x="1897" y="682"/>
                    </a:lnTo>
                    <a:lnTo>
                      <a:pt x="1896" y="685"/>
                    </a:lnTo>
                    <a:lnTo>
                      <a:pt x="1896" y="687"/>
                    </a:lnTo>
                    <a:lnTo>
                      <a:pt x="1894" y="689"/>
                    </a:lnTo>
                    <a:lnTo>
                      <a:pt x="1893" y="690"/>
                    </a:lnTo>
                    <a:lnTo>
                      <a:pt x="1892" y="692"/>
                    </a:lnTo>
                    <a:lnTo>
                      <a:pt x="1891" y="695"/>
                    </a:lnTo>
                    <a:lnTo>
                      <a:pt x="1889" y="697"/>
                    </a:lnTo>
                    <a:lnTo>
                      <a:pt x="1888" y="700"/>
                    </a:lnTo>
                    <a:lnTo>
                      <a:pt x="1882" y="701"/>
                    </a:lnTo>
                    <a:lnTo>
                      <a:pt x="1876" y="699"/>
                    </a:lnTo>
                    <a:lnTo>
                      <a:pt x="1868" y="695"/>
                    </a:lnTo>
                    <a:lnTo>
                      <a:pt x="1862" y="690"/>
                    </a:lnTo>
                    <a:lnTo>
                      <a:pt x="1856" y="685"/>
                    </a:lnTo>
                    <a:lnTo>
                      <a:pt x="1850" y="679"/>
                    </a:lnTo>
                    <a:lnTo>
                      <a:pt x="1843" y="674"/>
                    </a:lnTo>
                    <a:lnTo>
                      <a:pt x="1842" y="674"/>
                    </a:lnTo>
                    <a:lnTo>
                      <a:pt x="1841" y="674"/>
                    </a:lnTo>
                    <a:lnTo>
                      <a:pt x="1840" y="674"/>
                    </a:lnTo>
                    <a:lnTo>
                      <a:pt x="1840" y="675"/>
                    </a:lnTo>
                    <a:lnTo>
                      <a:pt x="1841" y="676"/>
                    </a:lnTo>
                    <a:lnTo>
                      <a:pt x="1841" y="677"/>
                    </a:lnTo>
                    <a:lnTo>
                      <a:pt x="1841" y="679"/>
                    </a:lnTo>
                    <a:lnTo>
                      <a:pt x="1840" y="680"/>
                    </a:lnTo>
                    <a:lnTo>
                      <a:pt x="1837" y="681"/>
                    </a:lnTo>
                    <a:lnTo>
                      <a:pt x="1836" y="681"/>
                    </a:lnTo>
                    <a:lnTo>
                      <a:pt x="1833" y="682"/>
                    </a:lnTo>
                    <a:lnTo>
                      <a:pt x="1832" y="684"/>
                    </a:lnTo>
                    <a:lnTo>
                      <a:pt x="1831" y="685"/>
                    </a:lnTo>
                    <a:lnTo>
                      <a:pt x="1830" y="687"/>
                    </a:lnTo>
                    <a:lnTo>
                      <a:pt x="1830" y="690"/>
                    </a:lnTo>
                    <a:lnTo>
                      <a:pt x="1832" y="691"/>
                    </a:lnTo>
                    <a:lnTo>
                      <a:pt x="1835" y="694"/>
                    </a:lnTo>
                    <a:lnTo>
                      <a:pt x="1837" y="696"/>
                    </a:lnTo>
                    <a:lnTo>
                      <a:pt x="1841" y="697"/>
                    </a:lnTo>
                    <a:lnTo>
                      <a:pt x="1843" y="700"/>
                    </a:lnTo>
                    <a:lnTo>
                      <a:pt x="1845" y="701"/>
                    </a:lnTo>
                    <a:lnTo>
                      <a:pt x="1845" y="704"/>
                    </a:lnTo>
                    <a:lnTo>
                      <a:pt x="1843" y="705"/>
                    </a:lnTo>
                    <a:lnTo>
                      <a:pt x="1843" y="706"/>
                    </a:lnTo>
                    <a:lnTo>
                      <a:pt x="1841" y="707"/>
                    </a:lnTo>
                    <a:lnTo>
                      <a:pt x="1840" y="707"/>
                    </a:lnTo>
                    <a:lnTo>
                      <a:pt x="1837" y="707"/>
                    </a:lnTo>
                    <a:lnTo>
                      <a:pt x="1836" y="709"/>
                    </a:lnTo>
                    <a:lnTo>
                      <a:pt x="1835" y="710"/>
                    </a:lnTo>
                    <a:lnTo>
                      <a:pt x="1833" y="711"/>
                    </a:lnTo>
                    <a:lnTo>
                      <a:pt x="1833" y="712"/>
                    </a:lnTo>
                    <a:lnTo>
                      <a:pt x="1835" y="715"/>
                    </a:lnTo>
                    <a:lnTo>
                      <a:pt x="1836" y="715"/>
                    </a:lnTo>
                    <a:lnTo>
                      <a:pt x="1838" y="716"/>
                    </a:lnTo>
                    <a:lnTo>
                      <a:pt x="1841" y="717"/>
                    </a:lnTo>
                    <a:lnTo>
                      <a:pt x="1845" y="718"/>
                    </a:lnTo>
                    <a:lnTo>
                      <a:pt x="1847" y="720"/>
                    </a:lnTo>
                    <a:lnTo>
                      <a:pt x="1850" y="721"/>
                    </a:lnTo>
                    <a:lnTo>
                      <a:pt x="1851" y="723"/>
                    </a:lnTo>
                    <a:lnTo>
                      <a:pt x="1852" y="728"/>
                    </a:lnTo>
                    <a:lnTo>
                      <a:pt x="1853" y="733"/>
                    </a:lnTo>
                    <a:lnTo>
                      <a:pt x="1856" y="737"/>
                    </a:lnTo>
                    <a:lnTo>
                      <a:pt x="1860" y="740"/>
                    </a:lnTo>
                    <a:lnTo>
                      <a:pt x="1863" y="743"/>
                    </a:lnTo>
                    <a:lnTo>
                      <a:pt x="1867" y="746"/>
                    </a:lnTo>
                    <a:lnTo>
                      <a:pt x="1870" y="750"/>
                    </a:lnTo>
                    <a:lnTo>
                      <a:pt x="1884" y="766"/>
                    </a:lnTo>
                    <a:lnTo>
                      <a:pt x="1892" y="772"/>
                    </a:lnTo>
                    <a:lnTo>
                      <a:pt x="1898" y="778"/>
                    </a:lnTo>
                    <a:lnTo>
                      <a:pt x="1903" y="787"/>
                    </a:lnTo>
                    <a:lnTo>
                      <a:pt x="1906" y="797"/>
                    </a:lnTo>
                    <a:lnTo>
                      <a:pt x="1907" y="801"/>
                    </a:lnTo>
                    <a:lnTo>
                      <a:pt x="1908" y="804"/>
                    </a:lnTo>
                    <a:lnTo>
                      <a:pt x="1911" y="808"/>
                    </a:lnTo>
                    <a:lnTo>
                      <a:pt x="1911" y="812"/>
                    </a:lnTo>
                    <a:lnTo>
                      <a:pt x="1913" y="818"/>
                    </a:lnTo>
                    <a:lnTo>
                      <a:pt x="1913" y="822"/>
                    </a:lnTo>
                    <a:lnTo>
                      <a:pt x="1914" y="827"/>
                    </a:lnTo>
                    <a:lnTo>
                      <a:pt x="1914" y="830"/>
                    </a:lnTo>
                    <a:lnTo>
                      <a:pt x="1917" y="842"/>
                    </a:lnTo>
                    <a:lnTo>
                      <a:pt x="1919" y="854"/>
                    </a:lnTo>
                    <a:lnTo>
                      <a:pt x="1919" y="854"/>
                    </a:lnTo>
                    <a:lnTo>
                      <a:pt x="1918" y="854"/>
                    </a:lnTo>
                    <a:lnTo>
                      <a:pt x="1917" y="853"/>
                    </a:lnTo>
                    <a:lnTo>
                      <a:pt x="1916" y="852"/>
                    </a:lnTo>
                    <a:lnTo>
                      <a:pt x="1914" y="850"/>
                    </a:lnTo>
                    <a:lnTo>
                      <a:pt x="1914" y="849"/>
                    </a:lnTo>
                    <a:lnTo>
                      <a:pt x="1914" y="848"/>
                    </a:lnTo>
                    <a:lnTo>
                      <a:pt x="1912" y="845"/>
                    </a:lnTo>
                    <a:lnTo>
                      <a:pt x="1911" y="843"/>
                    </a:lnTo>
                    <a:lnTo>
                      <a:pt x="1908" y="840"/>
                    </a:lnTo>
                    <a:lnTo>
                      <a:pt x="1907" y="838"/>
                    </a:lnTo>
                    <a:lnTo>
                      <a:pt x="1906" y="837"/>
                    </a:lnTo>
                    <a:lnTo>
                      <a:pt x="1904" y="837"/>
                    </a:lnTo>
                    <a:lnTo>
                      <a:pt x="1903" y="838"/>
                    </a:lnTo>
                    <a:lnTo>
                      <a:pt x="1902" y="839"/>
                    </a:lnTo>
                    <a:lnTo>
                      <a:pt x="1902" y="842"/>
                    </a:lnTo>
                    <a:lnTo>
                      <a:pt x="1901" y="843"/>
                    </a:lnTo>
                    <a:lnTo>
                      <a:pt x="1898" y="845"/>
                    </a:lnTo>
                    <a:lnTo>
                      <a:pt x="1893" y="843"/>
                    </a:lnTo>
                    <a:lnTo>
                      <a:pt x="1888" y="837"/>
                    </a:lnTo>
                    <a:lnTo>
                      <a:pt x="1882" y="829"/>
                    </a:lnTo>
                    <a:lnTo>
                      <a:pt x="1877" y="823"/>
                    </a:lnTo>
                    <a:lnTo>
                      <a:pt x="1875" y="817"/>
                    </a:lnTo>
                    <a:lnTo>
                      <a:pt x="1872" y="809"/>
                    </a:lnTo>
                    <a:lnTo>
                      <a:pt x="1870" y="801"/>
                    </a:lnTo>
                    <a:lnTo>
                      <a:pt x="1866" y="792"/>
                    </a:lnTo>
                    <a:lnTo>
                      <a:pt x="1858" y="786"/>
                    </a:lnTo>
                    <a:lnTo>
                      <a:pt x="1855" y="784"/>
                    </a:lnTo>
                    <a:lnTo>
                      <a:pt x="1851" y="783"/>
                    </a:lnTo>
                    <a:lnTo>
                      <a:pt x="1847" y="781"/>
                    </a:lnTo>
                    <a:lnTo>
                      <a:pt x="1843" y="778"/>
                    </a:lnTo>
                    <a:lnTo>
                      <a:pt x="1841" y="776"/>
                    </a:lnTo>
                    <a:lnTo>
                      <a:pt x="1837" y="773"/>
                    </a:lnTo>
                    <a:lnTo>
                      <a:pt x="1835" y="769"/>
                    </a:lnTo>
                    <a:lnTo>
                      <a:pt x="1830" y="766"/>
                    </a:lnTo>
                    <a:lnTo>
                      <a:pt x="1825" y="761"/>
                    </a:lnTo>
                    <a:lnTo>
                      <a:pt x="1820" y="757"/>
                    </a:lnTo>
                    <a:lnTo>
                      <a:pt x="1815" y="755"/>
                    </a:lnTo>
                    <a:lnTo>
                      <a:pt x="1812" y="753"/>
                    </a:lnTo>
                    <a:lnTo>
                      <a:pt x="1811" y="752"/>
                    </a:lnTo>
                    <a:lnTo>
                      <a:pt x="1810" y="751"/>
                    </a:lnTo>
                    <a:lnTo>
                      <a:pt x="1810" y="750"/>
                    </a:lnTo>
                    <a:lnTo>
                      <a:pt x="1807" y="747"/>
                    </a:lnTo>
                    <a:lnTo>
                      <a:pt x="1804" y="745"/>
                    </a:lnTo>
                    <a:lnTo>
                      <a:pt x="1801" y="745"/>
                    </a:lnTo>
                    <a:lnTo>
                      <a:pt x="1802" y="748"/>
                    </a:lnTo>
                    <a:lnTo>
                      <a:pt x="1805" y="752"/>
                    </a:lnTo>
                    <a:lnTo>
                      <a:pt x="1807" y="756"/>
                    </a:lnTo>
                    <a:lnTo>
                      <a:pt x="1811" y="758"/>
                    </a:lnTo>
                    <a:lnTo>
                      <a:pt x="1816" y="761"/>
                    </a:lnTo>
                    <a:lnTo>
                      <a:pt x="1820" y="762"/>
                    </a:lnTo>
                    <a:lnTo>
                      <a:pt x="1823" y="767"/>
                    </a:lnTo>
                    <a:lnTo>
                      <a:pt x="1828" y="772"/>
                    </a:lnTo>
                    <a:lnTo>
                      <a:pt x="1832" y="777"/>
                    </a:lnTo>
                    <a:lnTo>
                      <a:pt x="1838" y="781"/>
                    </a:lnTo>
                    <a:lnTo>
                      <a:pt x="1841" y="782"/>
                    </a:lnTo>
                    <a:lnTo>
                      <a:pt x="1843" y="783"/>
                    </a:lnTo>
                    <a:lnTo>
                      <a:pt x="1847" y="784"/>
                    </a:lnTo>
                    <a:lnTo>
                      <a:pt x="1851" y="786"/>
                    </a:lnTo>
                    <a:lnTo>
                      <a:pt x="1853" y="788"/>
                    </a:lnTo>
                    <a:lnTo>
                      <a:pt x="1856" y="791"/>
                    </a:lnTo>
                    <a:lnTo>
                      <a:pt x="1857" y="793"/>
                    </a:lnTo>
                    <a:lnTo>
                      <a:pt x="1858" y="796"/>
                    </a:lnTo>
                    <a:lnTo>
                      <a:pt x="1857" y="797"/>
                    </a:lnTo>
                    <a:lnTo>
                      <a:pt x="1857" y="798"/>
                    </a:lnTo>
                    <a:lnTo>
                      <a:pt x="1856" y="799"/>
                    </a:lnTo>
                    <a:lnTo>
                      <a:pt x="1853" y="799"/>
                    </a:lnTo>
                    <a:lnTo>
                      <a:pt x="1852" y="801"/>
                    </a:lnTo>
                    <a:lnTo>
                      <a:pt x="1851" y="802"/>
                    </a:lnTo>
                    <a:lnTo>
                      <a:pt x="1850" y="803"/>
                    </a:lnTo>
                    <a:lnTo>
                      <a:pt x="1848" y="804"/>
                    </a:lnTo>
                    <a:lnTo>
                      <a:pt x="1846" y="804"/>
                    </a:lnTo>
                    <a:lnTo>
                      <a:pt x="1843" y="804"/>
                    </a:lnTo>
                    <a:lnTo>
                      <a:pt x="1843" y="804"/>
                    </a:lnTo>
                    <a:lnTo>
                      <a:pt x="1842" y="803"/>
                    </a:lnTo>
                    <a:lnTo>
                      <a:pt x="1840" y="802"/>
                    </a:lnTo>
                    <a:lnTo>
                      <a:pt x="1838" y="802"/>
                    </a:lnTo>
                    <a:lnTo>
                      <a:pt x="1837" y="801"/>
                    </a:lnTo>
                    <a:lnTo>
                      <a:pt x="1836" y="801"/>
                    </a:lnTo>
                    <a:lnTo>
                      <a:pt x="1836" y="802"/>
                    </a:lnTo>
                    <a:lnTo>
                      <a:pt x="1837" y="804"/>
                    </a:lnTo>
                    <a:lnTo>
                      <a:pt x="1840" y="807"/>
                    </a:lnTo>
                    <a:lnTo>
                      <a:pt x="1843" y="809"/>
                    </a:lnTo>
                    <a:lnTo>
                      <a:pt x="1846" y="812"/>
                    </a:lnTo>
                    <a:lnTo>
                      <a:pt x="1850" y="813"/>
                    </a:lnTo>
                    <a:lnTo>
                      <a:pt x="1851" y="814"/>
                    </a:lnTo>
                    <a:lnTo>
                      <a:pt x="1853" y="817"/>
                    </a:lnTo>
                    <a:lnTo>
                      <a:pt x="1855" y="818"/>
                    </a:lnTo>
                    <a:lnTo>
                      <a:pt x="1855" y="819"/>
                    </a:lnTo>
                    <a:lnTo>
                      <a:pt x="1855" y="819"/>
                    </a:lnTo>
                    <a:lnTo>
                      <a:pt x="1853" y="820"/>
                    </a:lnTo>
                    <a:lnTo>
                      <a:pt x="1852" y="820"/>
                    </a:lnTo>
                    <a:lnTo>
                      <a:pt x="1850" y="820"/>
                    </a:lnTo>
                    <a:lnTo>
                      <a:pt x="1848" y="820"/>
                    </a:lnTo>
                    <a:lnTo>
                      <a:pt x="1847" y="819"/>
                    </a:lnTo>
                    <a:lnTo>
                      <a:pt x="1846" y="819"/>
                    </a:lnTo>
                    <a:lnTo>
                      <a:pt x="1846" y="822"/>
                    </a:lnTo>
                    <a:lnTo>
                      <a:pt x="1846" y="823"/>
                    </a:lnTo>
                    <a:lnTo>
                      <a:pt x="1847" y="824"/>
                    </a:lnTo>
                    <a:lnTo>
                      <a:pt x="1850" y="827"/>
                    </a:lnTo>
                    <a:lnTo>
                      <a:pt x="1851" y="827"/>
                    </a:lnTo>
                    <a:lnTo>
                      <a:pt x="1851" y="828"/>
                    </a:lnTo>
                    <a:lnTo>
                      <a:pt x="1853" y="830"/>
                    </a:lnTo>
                    <a:lnTo>
                      <a:pt x="1855" y="833"/>
                    </a:lnTo>
                    <a:lnTo>
                      <a:pt x="1856" y="835"/>
                    </a:lnTo>
                    <a:lnTo>
                      <a:pt x="1860" y="838"/>
                    </a:lnTo>
                    <a:lnTo>
                      <a:pt x="1862" y="839"/>
                    </a:lnTo>
                    <a:lnTo>
                      <a:pt x="1865" y="839"/>
                    </a:lnTo>
                    <a:lnTo>
                      <a:pt x="1868" y="838"/>
                    </a:lnTo>
                    <a:lnTo>
                      <a:pt x="1870" y="838"/>
                    </a:lnTo>
                    <a:lnTo>
                      <a:pt x="1872" y="838"/>
                    </a:lnTo>
                    <a:lnTo>
                      <a:pt x="1875" y="838"/>
                    </a:lnTo>
                    <a:lnTo>
                      <a:pt x="1880" y="842"/>
                    </a:lnTo>
                    <a:lnTo>
                      <a:pt x="1884" y="845"/>
                    </a:lnTo>
                    <a:lnTo>
                      <a:pt x="1891" y="848"/>
                    </a:lnTo>
                    <a:lnTo>
                      <a:pt x="1893" y="849"/>
                    </a:lnTo>
                    <a:lnTo>
                      <a:pt x="1896" y="852"/>
                    </a:lnTo>
                    <a:lnTo>
                      <a:pt x="1901" y="854"/>
                    </a:lnTo>
                    <a:lnTo>
                      <a:pt x="1903" y="857"/>
                    </a:lnTo>
                    <a:lnTo>
                      <a:pt x="1907" y="858"/>
                    </a:lnTo>
                    <a:lnTo>
                      <a:pt x="1909" y="860"/>
                    </a:lnTo>
                    <a:lnTo>
                      <a:pt x="1912" y="863"/>
                    </a:lnTo>
                    <a:lnTo>
                      <a:pt x="1913" y="865"/>
                    </a:lnTo>
                    <a:lnTo>
                      <a:pt x="1914" y="869"/>
                    </a:lnTo>
                    <a:lnTo>
                      <a:pt x="1913" y="871"/>
                    </a:lnTo>
                    <a:lnTo>
                      <a:pt x="1912" y="874"/>
                    </a:lnTo>
                    <a:lnTo>
                      <a:pt x="1909" y="876"/>
                    </a:lnTo>
                    <a:lnTo>
                      <a:pt x="1907" y="878"/>
                    </a:lnTo>
                    <a:lnTo>
                      <a:pt x="1903" y="880"/>
                    </a:lnTo>
                    <a:lnTo>
                      <a:pt x="1901" y="881"/>
                    </a:lnTo>
                    <a:lnTo>
                      <a:pt x="1899" y="883"/>
                    </a:lnTo>
                    <a:lnTo>
                      <a:pt x="1898" y="885"/>
                    </a:lnTo>
                    <a:lnTo>
                      <a:pt x="1897" y="889"/>
                    </a:lnTo>
                    <a:lnTo>
                      <a:pt x="1896" y="893"/>
                    </a:lnTo>
                    <a:lnTo>
                      <a:pt x="1893" y="895"/>
                    </a:lnTo>
                    <a:lnTo>
                      <a:pt x="1892" y="895"/>
                    </a:lnTo>
                    <a:lnTo>
                      <a:pt x="1889" y="896"/>
                    </a:lnTo>
                    <a:lnTo>
                      <a:pt x="1887" y="896"/>
                    </a:lnTo>
                    <a:lnTo>
                      <a:pt x="1884" y="896"/>
                    </a:lnTo>
                    <a:lnTo>
                      <a:pt x="1882" y="898"/>
                    </a:lnTo>
                    <a:lnTo>
                      <a:pt x="1878" y="904"/>
                    </a:lnTo>
                    <a:lnTo>
                      <a:pt x="1875" y="911"/>
                    </a:lnTo>
                    <a:lnTo>
                      <a:pt x="1871" y="917"/>
                    </a:lnTo>
                    <a:lnTo>
                      <a:pt x="1866" y="922"/>
                    </a:lnTo>
                    <a:lnTo>
                      <a:pt x="1858" y="924"/>
                    </a:lnTo>
                    <a:lnTo>
                      <a:pt x="1851" y="922"/>
                    </a:lnTo>
                    <a:lnTo>
                      <a:pt x="1841" y="924"/>
                    </a:lnTo>
                    <a:lnTo>
                      <a:pt x="1833" y="926"/>
                    </a:lnTo>
                    <a:lnTo>
                      <a:pt x="1831" y="926"/>
                    </a:lnTo>
                    <a:lnTo>
                      <a:pt x="1827" y="926"/>
                    </a:lnTo>
                    <a:lnTo>
                      <a:pt x="1825" y="927"/>
                    </a:lnTo>
                    <a:lnTo>
                      <a:pt x="1822" y="929"/>
                    </a:lnTo>
                    <a:lnTo>
                      <a:pt x="1820" y="930"/>
                    </a:lnTo>
                    <a:lnTo>
                      <a:pt x="1817" y="931"/>
                    </a:lnTo>
                    <a:lnTo>
                      <a:pt x="1815" y="934"/>
                    </a:lnTo>
                    <a:lnTo>
                      <a:pt x="1812" y="935"/>
                    </a:lnTo>
                    <a:lnTo>
                      <a:pt x="1809" y="936"/>
                    </a:lnTo>
                    <a:lnTo>
                      <a:pt x="1806" y="936"/>
                    </a:lnTo>
                    <a:lnTo>
                      <a:pt x="1802" y="935"/>
                    </a:lnTo>
                    <a:lnTo>
                      <a:pt x="1799" y="932"/>
                    </a:lnTo>
                    <a:lnTo>
                      <a:pt x="1796" y="929"/>
                    </a:lnTo>
                    <a:lnTo>
                      <a:pt x="1792" y="925"/>
                    </a:lnTo>
                    <a:lnTo>
                      <a:pt x="1790" y="921"/>
                    </a:lnTo>
                    <a:lnTo>
                      <a:pt x="1786" y="919"/>
                    </a:lnTo>
                    <a:lnTo>
                      <a:pt x="1784" y="916"/>
                    </a:lnTo>
                    <a:lnTo>
                      <a:pt x="1782" y="920"/>
                    </a:lnTo>
                    <a:lnTo>
                      <a:pt x="1782" y="924"/>
                    </a:lnTo>
                    <a:lnTo>
                      <a:pt x="1784" y="926"/>
                    </a:lnTo>
                    <a:lnTo>
                      <a:pt x="1785" y="929"/>
                    </a:lnTo>
                    <a:lnTo>
                      <a:pt x="1786" y="931"/>
                    </a:lnTo>
                    <a:lnTo>
                      <a:pt x="1789" y="935"/>
                    </a:lnTo>
                    <a:lnTo>
                      <a:pt x="1789" y="937"/>
                    </a:lnTo>
                    <a:lnTo>
                      <a:pt x="1790" y="939"/>
                    </a:lnTo>
                    <a:lnTo>
                      <a:pt x="1789" y="941"/>
                    </a:lnTo>
                    <a:lnTo>
                      <a:pt x="1786" y="942"/>
                    </a:lnTo>
                    <a:lnTo>
                      <a:pt x="1784" y="945"/>
                    </a:lnTo>
                    <a:lnTo>
                      <a:pt x="1780" y="947"/>
                    </a:lnTo>
                    <a:lnTo>
                      <a:pt x="1775" y="949"/>
                    </a:lnTo>
                    <a:lnTo>
                      <a:pt x="1770" y="950"/>
                    </a:lnTo>
                    <a:lnTo>
                      <a:pt x="1767" y="951"/>
                    </a:lnTo>
                    <a:lnTo>
                      <a:pt x="1765" y="952"/>
                    </a:lnTo>
                    <a:lnTo>
                      <a:pt x="1765" y="955"/>
                    </a:lnTo>
                    <a:lnTo>
                      <a:pt x="1765" y="956"/>
                    </a:lnTo>
                    <a:lnTo>
                      <a:pt x="1765" y="960"/>
                    </a:lnTo>
                    <a:lnTo>
                      <a:pt x="1765" y="962"/>
                    </a:lnTo>
                    <a:lnTo>
                      <a:pt x="1765" y="973"/>
                    </a:lnTo>
                    <a:lnTo>
                      <a:pt x="1764" y="983"/>
                    </a:lnTo>
                    <a:lnTo>
                      <a:pt x="1762" y="991"/>
                    </a:lnTo>
                    <a:lnTo>
                      <a:pt x="1762" y="995"/>
                    </a:lnTo>
                    <a:lnTo>
                      <a:pt x="1761" y="997"/>
                    </a:lnTo>
                    <a:lnTo>
                      <a:pt x="1760" y="998"/>
                    </a:lnTo>
                    <a:lnTo>
                      <a:pt x="1757" y="1000"/>
                    </a:lnTo>
                    <a:lnTo>
                      <a:pt x="1756" y="1001"/>
                    </a:lnTo>
                    <a:lnTo>
                      <a:pt x="1755" y="1002"/>
                    </a:lnTo>
                    <a:lnTo>
                      <a:pt x="1751" y="1003"/>
                    </a:lnTo>
                    <a:lnTo>
                      <a:pt x="1750" y="1006"/>
                    </a:lnTo>
                    <a:lnTo>
                      <a:pt x="1747" y="1008"/>
                    </a:lnTo>
                    <a:lnTo>
                      <a:pt x="1747" y="1011"/>
                    </a:lnTo>
                    <a:lnTo>
                      <a:pt x="1746" y="1014"/>
                    </a:lnTo>
                    <a:lnTo>
                      <a:pt x="1744" y="1017"/>
                    </a:lnTo>
                    <a:lnTo>
                      <a:pt x="1741" y="1019"/>
                    </a:lnTo>
                    <a:lnTo>
                      <a:pt x="1736" y="1023"/>
                    </a:lnTo>
                    <a:lnTo>
                      <a:pt x="1735" y="1023"/>
                    </a:lnTo>
                    <a:lnTo>
                      <a:pt x="1733" y="1022"/>
                    </a:lnTo>
                    <a:lnTo>
                      <a:pt x="1731" y="1022"/>
                    </a:lnTo>
                    <a:lnTo>
                      <a:pt x="1729" y="1021"/>
                    </a:lnTo>
                    <a:lnTo>
                      <a:pt x="1728" y="1019"/>
                    </a:lnTo>
                    <a:lnTo>
                      <a:pt x="1726" y="1019"/>
                    </a:lnTo>
                    <a:lnTo>
                      <a:pt x="1724" y="1022"/>
                    </a:lnTo>
                    <a:lnTo>
                      <a:pt x="1723" y="1023"/>
                    </a:lnTo>
                    <a:lnTo>
                      <a:pt x="1723" y="1024"/>
                    </a:lnTo>
                    <a:lnTo>
                      <a:pt x="1721" y="1027"/>
                    </a:lnTo>
                    <a:lnTo>
                      <a:pt x="1721" y="1028"/>
                    </a:lnTo>
                    <a:lnTo>
                      <a:pt x="1720" y="1028"/>
                    </a:lnTo>
                    <a:lnTo>
                      <a:pt x="1718" y="1028"/>
                    </a:lnTo>
                    <a:lnTo>
                      <a:pt x="1715" y="1027"/>
                    </a:lnTo>
                    <a:lnTo>
                      <a:pt x="1713" y="1026"/>
                    </a:lnTo>
                    <a:lnTo>
                      <a:pt x="1710" y="1024"/>
                    </a:lnTo>
                    <a:lnTo>
                      <a:pt x="1708" y="1022"/>
                    </a:lnTo>
                    <a:lnTo>
                      <a:pt x="1706" y="1019"/>
                    </a:lnTo>
                    <a:lnTo>
                      <a:pt x="1708" y="1017"/>
                    </a:lnTo>
                    <a:lnTo>
                      <a:pt x="1708" y="1016"/>
                    </a:lnTo>
                    <a:lnTo>
                      <a:pt x="1709" y="1013"/>
                    </a:lnTo>
                    <a:lnTo>
                      <a:pt x="1710" y="1011"/>
                    </a:lnTo>
                    <a:lnTo>
                      <a:pt x="1710" y="1007"/>
                    </a:lnTo>
                    <a:lnTo>
                      <a:pt x="1710" y="1006"/>
                    </a:lnTo>
                    <a:lnTo>
                      <a:pt x="1709" y="1005"/>
                    </a:lnTo>
                    <a:lnTo>
                      <a:pt x="1708" y="1005"/>
                    </a:lnTo>
                    <a:lnTo>
                      <a:pt x="1705" y="1005"/>
                    </a:lnTo>
                    <a:lnTo>
                      <a:pt x="1704" y="1005"/>
                    </a:lnTo>
                    <a:lnTo>
                      <a:pt x="1703" y="1006"/>
                    </a:lnTo>
                    <a:lnTo>
                      <a:pt x="1703" y="1007"/>
                    </a:lnTo>
                    <a:lnTo>
                      <a:pt x="1701" y="1011"/>
                    </a:lnTo>
                    <a:lnTo>
                      <a:pt x="1701" y="1014"/>
                    </a:lnTo>
                    <a:lnTo>
                      <a:pt x="1701" y="1018"/>
                    </a:lnTo>
                    <a:lnTo>
                      <a:pt x="1701" y="1021"/>
                    </a:lnTo>
                    <a:lnTo>
                      <a:pt x="1700" y="1022"/>
                    </a:lnTo>
                    <a:lnTo>
                      <a:pt x="1698" y="1024"/>
                    </a:lnTo>
                    <a:lnTo>
                      <a:pt x="1694" y="1026"/>
                    </a:lnTo>
                    <a:lnTo>
                      <a:pt x="1693" y="1026"/>
                    </a:lnTo>
                    <a:lnTo>
                      <a:pt x="1690" y="1028"/>
                    </a:lnTo>
                    <a:lnTo>
                      <a:pt x="1689" y="1029"/>
                    </a:lnTo>
                    <a:lnTo>
                      <a:pt x="1686" y="1031"/>
                    </a:lnTo>
                    <a:lnTo>
                      <a:pt x="1684" y="1031"/>
                    </a:lnTo>
                    <a:lnTo>
                      <a:pt x="1680" y="1031"/>
                    </a:lnTo>
                    <a:lnTo>
                      <a:pt x="1678" y="1032"/>
                    </a:lnTo>
                    <a:lnTo>
                      <a:pt x="1675" y="1033"/>
                    </a:lnTo>
                    <a:lnTo>
                      <a:pt x="1674" y="1036"/>
                    </a:lnTo>
                    <a:lnTo>
                      <a:pt x="1673" y="1038"/>
                    </a:lnTo>
                    <a:lnTo>
                      <a:pt x="1673" y="1039"/>
                    </a:lnTo>
                    <a:lnTo>
                      <a:pt x="1673" y="1042"/>
                    </a:lnTo>
                    <a:lnTo>
                      <a:pt x="1671" y="1044"/>
                    </a:lnTo>
                    <a:lnTo>
                      <a:pt x="1671" y="1046"/>
                    </a:lnTo>
                    <a:lnTo>
                      <a:pt x="1670" y="1047"/>
                    </a:lnTo>
                    <a:lnTo>
                      <a:pt x="1669" y="1048"/>
                    </a:lnTo>
                    <a:lnTo>
                      <a:pt x="1668" y="1048"/>
                    </a:lnTo>
                    <a:lnTo>
                      <a:pt x="1666" y="1049"/>
                    </a:lnTo>
                    <a:lnTo>
                      <a:pt x="1665" y="1051"/>
                    </a:lnTo>
                    <a:lnTo>
                      <a:pt x="1665" y="1052"/>
                    </a:lnTo>
                    <a:lnTo>
                      <a:pt x="1668" y="1052"/>
                    </a:lnTo>
                    <a:lnTo>
                      <a:pt x="1669" y="1053"/>
                    </a:lnTo>
                    <a:lnTo>
                      <a:pt x="1671" y="1056"/>
                    </a:lnTo>
                    <a:lnTo>
                      <a:pt x="1673" y="1057"/>
                    </a:lnTo>
                    <a:lnTo>
                      <a:pt x="1674" y="1059"/>
                    </a:lnTo>
                    <a:lnTo>
                      <a:pt x="1671" y="1060"/>
                    </a:lnTo>
                    <a:lnTo>
                      <a:pt x="1669" y="1060"/>
                    </a:lnTo>
                    <a:lnTo>
                      <a:pt x="1666" y="1059"/>
                    </a:lnTo>
                    <a:lnTo>
                      <a:pt x="1665" y="1059"/>
                    </a:lnTo>
                    <a:lnTo>
                      <a:pt x="1663" y="1059"/>
                    </a:lnTo>
                    <a:lnTo>
                      <a:pt x="1662" y="1059"/>
                    </a:lnTo>
                    <a:lnTo>
                      <a:pt x="1659" y="1060"/>
                    </a:lnTo>
                    <a:lnTo>
                      <a:pt x="1657" y="1062"/>
                    </a:lnTo>
                    <a:lnTo>
                      <a:pt x="1654" y="1063"/>
                    </a:lnTo>
                    <a:lnTo>
                      <a:pt x="1654" y="1065"/>
                    </a:lnTo>
                    <a:lnTo>
                      <a:pt x="1654" y="1068"/>
                    </a:lnTo>
                    <a:lnTo>
                      <a:pt x="1655" y="1070"/>
                    </a:lnTo>
                    <a:lnTo>
                      <a:pt x="1658" y="1074"/>
                    </a:lnTo>
                    <a:lnTo>
                      <a:pt x="1660" y="1075"/>
                    </a:lnTo>
                    <a:lnTo>
                      <a:pt x="1663" y="1077"/>
                    </a:lnTo>
                    <a:lnTo>
                      <a:pt x="1664" y="1079"/>
                    </a:lnTo>
                    <a:lnTo>
                      <a:pt x="1666" y="1080"/>
                    </a:lnTo>
                    <a:lnTo>
                      <a:pt x="1668" y="1082"/>
                    </a:lnTo>
                    <a:lnTo>
                      <a:pt x="1669" y="1084"/>
                    </a:lnTo>
                    <a:lnTo>
                      <a:pt x="1668" y="1085"/>
                    </a:lnTo>
                    <a:lnTo>
                      <a:pt x="1666" y="1087"/>
                    </a:lnTo>
                    <a:lnTo>
                      <a:pt x="1663" y="1088"/>
                    </a:lnTo>
                    <a:lnTo>
                      <a:pt x="1662" y="1089"/>
                    </a:lnTo>
                    <a:lnTo>
                      <a:pt x="1660" y="1092"/>
                    </a:lnTo>
                    <a:lnTo>
                      <a:pt x="1660" y="1094"/>
                    </a:lnTo>
                    <a:lnTo>
                      <a:pt x="1660" y="1098"/>
                    </a:lnTo>
                    <a:lnTo>
                      <a:pt x="1662" y="1100"/>
                    </a:lnTo>
                    <a:lnTo>
                      <a:pt x="1663" y="1103"/>
                    </a:lnTo>
                    <a:lnTo>
                      <a:pt x="1668" y="1109"/>
                    </a:lnTo>
                    <a:lnTo>
                      <a:pt x="1669" y="1116"/>
                    </a:lnTo>
                    <a:lnTo>
                      <a:pt x="1668" y="1124"/>
                    </a:lnTo>
                    <a:lnTo>
                      <a:pt x="1666" y="1129"/>
                    </a:lnTo>
                    <a:lnTo>
                      <a:pt x="1664" y="1134"/>
                    </a:lnTo>
                    <a:lnTo>
                      <a:pt x="1662" y="1138"/>
                    </a:lnTo>
                    <a:lnTo>
                      <a:pt x="1658" y="1140"/>
                    </a:lnTo>
                    <a:lnTo>
                      <a:pt x="1657" y="1141"/>
                    </a:lnTo>
                    <a:lnTo>
                      <a:pt x="1655" y="1145"/>
                    </a:lnTo>
                    <a:lnTo>
                      <a:pt x="1655" y="1149"/>
                    </a:lnTo>
                    <a:lnTo>
                      <a:pt x="1655" y="1154"/>
                    </a:lnTo>
                    <a:lnTo>
                      <a:pt x="1655" y="1157"/>
                    </a:lnTo>
                    <a:lnTo>
                      <a:pt x="1655" y="1160"/>
                    </a:lnTo>
                    <a:lnTo>
                      <a:pt x="1655" y="1162"/>
                    </a:lnTo>
                    <a:lnTo>
                      <a:pt x="1654" y="1164"/>
                    </a:lnTo>
                    <a:lnTo>
                      <a:pt x="1652" y="1164"/>
                    </a:lnTo>
                    <a:lnTo>
                      <a:pt x="1649" y="1164"/>
                    </a:lnTo>
                    <a:lnTo>
                      <a:pt x="1647" y="1164"/>
                    </a:lnTo>
                    <a:lnTo>
                      <a:pt x="1644" y="1165"/>
                    </a:lnTo>
                    <a:lnTo>
                      <a:pt x="1643" y="1165"/>
                    </a:lnTo>
                    <a:lnTo>
                      <a:pt x="1640" y="1166"/>
                    </a:lnTo>
                    <a:lnTo>
                      <a:pt x="1639" y="1169"/>
                    </a:lnTo>
                    <a:lnTo>
                      <a:pt x="1640" y="1175"/>
                    </a:lnTo>
                    <a:lnTo>
                      <a:pt x="1643" y="1182"/>
                    </a:lnTo>
                    <a:lnTo>
                      <a:pt x="1645" y="1189"/>
                    </a:lnTo>
                    <a:lnTo>
                      <a:pt x="1648" y="1201"/>
                    </a:lnTo>
                    <a:lnTo>
                      <a:pt x="1650" y="1212"/>
                    </a:lnTo>
                    <a:lnTo>
                      <a:pt x="1650" y="1216"/>
                    </a:lnTo>
                    <a:lnTo>
                      <a:pt x="1650" y="1218"/>
                    </a:lnTo>
                    <a:lnTo>
                      <a:pt x="1649" y="1222"/>
                    </a:lnTo>
                    <a:lnTo>
                      <a:pt x="1648" y="1225"/>
                    </a:lnTo>
                    <a:lnTo>
                      <a:pt x="1647" y="1227"/>
                    </a:lnTo>
                    <a:lnTo>
                      <a:pt x="1645" y="1231"/>
                    </a:lnTo>
                    <a:lnTo>
                      <a:pt x="1642" y="1237"/>
                    </a:lnTo>
                    <a:lnTo>
                      <a:pt x="1640" y="1243"/>
                    </a:lnTo>
                    <a:lnTo>
                      <a:pt x="1639" y="1252"/>
                    </a:lnTo>
                    <a:lnTo>
                      <a:pt x="1640" y="1257"/>
                    </a:lnTo>
                    <a:lnTo>
                      <a:pt x="1640" y="1264"/>
                    </a:lnTo>
                    <a:lnTo>
                      <a:pt x="1640" y="1272"/>
                    </a:lnTo>
                    <a:lnTo>
                      <a:pt x="1640" y="1279"/>
                    </a:lnTo>
                    <a:lnTo>
                      <a:pt x="1639" y="1286"/>
                    </a:lnTo>
                    <a:lnTo>
                      <a:pt x="1637" y="1288"/>
                    </a:lnTo>
                    <a:lnTo>
                      <a:pt x="1632" y="1286"/>
                    </a:lnTo>
                    <a:lnTo>
                      <a:pt x="1629" y="1283"/>
                    </a:lnTo>
                    <a:lnTo>
                      <a:pt x="1625" y="1281"/>
                    </a:lnTo>
                    <a:lnTo>
                      <a:pt x="1623" y="1279"/>
                    </a:lnTo>
                    <a:lnTo>
                      <a:pt x="1619" y="1281"/>
                    </a:lnTo>
                    <a:lnTo>
                      <a:pt x="1617" y="1283"/>
                    </a:lnTo>
                    <a:lnTo>
                      <a:pt x="1615" y="1284"/>
                    </a:lnTo>
                    <a:lnTo>
                      <a:pt x="1614" y="1286"/>
                    </a:lnTo>
                    <a:lnTo>
                      <a:pt x="1613" y="1288"/>
                    </a:lnTo>
                    <a:lnTo>
                      <a:pt x="1612" y="1289"/>
                    </a:lnTo>
                    <a:lnTo>
                      <a:pt x="1610" y="1291"/>
                    </a:lnTo>
                    <a:lnTo>
                      <a:pt x="1609" y="1291"/>
                    </a:lnTo>
                    <a:lnTo>
                      <a:pt x="1608" y="1291"/>
                    </a:lnTo>
                    <a:lnTo>
                      <a:pt x="1605" y="1288"/>
                    </a:lnTo>
                    <a:lnTo>
                      <a:pt x="1603" y="1286"/>
                    </a:lnTo>
                    <a:lnTo>
                      <a:pt x="1602" y="1283"/>
                    </a:lnTo>
                    <a:lnTo>
                      <a:pt x="1600" y="1279"/>
                    </a:lnTo>
                    <a:lnTo>
                      <a:pt x="1602" y="1277"/>
                    </a:lnTo>
                    <a:lnTo>
                      <a:pt x="1602" y="1273"/>
                    </a:lnTo>
                    <a:lnTo>
                      <a:pt x="1600" y="1269"/>
                    </a:lnTo>
                    <a:lnTo>
                      <a:pt x="1599" y="1268"/>
                    </a:lnTo>
                    <a:lnTo>
                      <a:pt x="1598" y="1267"/>
                    </a:lnTo>
                    <a:lnTo>
                      <a:pt x="1595" y="1266"/>
                    </a:lnTo>
                    <a:lnTo>
                      <a:pt x="1593" y="1264"/>
                    </a:lnTo>
                    <a:lnTo>
                      <a:pt x="1591" y="1263"/>
                    </a:lnTo>
                    <a:lnTo>
                      <a:pt x="1589" y="1263"/>
                    </a:lnTo>
                    <a:lnTo>
                      <a:pt x="1587" y="1262"/>
                    </a:lnTo>
                    <a:lnTo>
                      <a:pt x="1584" y="1261"/>
                    </a:lnTo>
                    <a:lnTo>
                      <a:pt x="1583" y="1258"/>
                    </a:lnTo>
                    <a:lnTo>
                      <a:pt x="1582" y="1256"/>
                    </a:lnTo>
                    <a:lnTo>
                      <a:pt x="1581" y="1253"/>
                    </a:lnTo>
                    <a:lnTo>
                      <a:pt x="1579" y="1250"/>
                    </a:lnTo>
                    <a:lnTo>
                      <a:pt x="1578" y="1247"/>
                    </a:lnTo>
                    <a:lnTo>
                      <a:pt x="1576" y="1246"/>
                    </a:lnTo>
                    <a:lnTo>
                      <a:pt x="1573" y="1245"/>
                    </a:lnTo>
                    <a:lnTo>
                      <a:pt x="1569" y="1245"/>
                    </a:lnTo>
                    <a:lnTo>
                      <a:pt x="1567" y="1243"/>
                    </a:lnTo>
                    <a:lnTo>
                      <a:pt x="1564" y="1243"/>
                    </a:lnTo>
                    <a:lnTo>
                      <a:pt x="1561" y="1243"/>
                    </a:lnTo>
                    <a:lnTo>
                      <a:pt x="1558" y="1243"/>
                    </a:lnTo>
                    <a:lnTo>
                      <a:pt x="1557" y="1245"/>
                    </a:lnTo>
                    <a:lnTo>
                      <a:pt x="1556" y="1246"/>
                    </a:lnTo>
                    <a:lnTo>
                      <a:pt x="1554" y="1248"/>
                    </a:lnTo>
                    <a:lnTo>
                      <a:pt x="1553" y="1250"/>
                    </a:lnTo>
                    <a:lnTo>
                      <a:pt x="1552" y="1252"/>
                    </a:lnTo>
                    <a:lnTo>
                      <a:pt x="1551" y="1254"/>
                    </a:lnTo>
                    <a:lnTo>
                      <a:pt x="1549" y="1254"/>
                    </a:lnTo>
                    <a:lnTo>
                      <a:pt x="1549" y="1254"/>
                    </a:lnTo>
                    <a:lnTo>
                      <a:pt x="1549" y="1252"/>
                    </a:lnTo>
                    <a:lnTo>
                      <a:pt x="1548" y="1250"/>
                    </a:lnTo>
                    <a:lnTo>
                      <a:pt x="1548" y="1247"/>
                    </a:lnTo>
                    <a:lnTo>
                      <a:pt x="1548" y="1243"/>
                    </a:lnTo>
                    <a:lnTo>
                      <a:pt x="1548" y="1242"/>
                    </a:lnTo>
                    <a:lnTo>
                      <a:pt x="1548" y="1241"/>
                    </a:lnTo>
                    <a:lnTo>
                      <a:pt x="1548" y="1237"/>
                    </a:lnTo>
                    <a:lnTo>
                      <a:pt x="1546" y="1235"/>
                    </a:lnTo>
                    <a:lnTo>
                      <a:pt x="1543" y="1232"/>
                    </a:lnTo>
                    <a:lnTo>
                      <a:pt x="1541" y="1231"/>
                    </a:lnTo>
                    <a:lnTo>
                      <a:pt x="1538" y="1230"/>
                    </a:lnTo>
                    <a:lnTo>
                      <a:pt x="1536" y="1228"/>
                    </a:lnTo>
                    <a:lnTo>
                      <a:pt x="1529" y="1225"/>
                    </a:lnTo>
                    <a:lnTo>
                      <a:pt x="1526" y="1220"/>
                    </a:lnTo>
                    <a:lnTo>
                      <a:pt x="1522" y="1215"/>
                    </a:lnTo>
                    <a:lnTo>
                      <a:pt x="1517" y="1204"/>
                    </a:lnTo>
                    <a:lnTo>
                      <a:pt x="1511" y="1194"/>
                    </a:lnTo>
                    <a:lnTo>
                      <a:pt x="1503" y="1181"/>
                    </a:lnTo>
                    <a:lnTo>
                      <a:pt x="1500" y="1167"/>
                    </a:lnTo>
                    <a:lnTo>
                      <a:pt x="1496" y="1154"/>
                    </a:lnTo>
                    <a:lnTo>
                      <a:pt x="1491" y="1143"/>
                    </a:lnTo>
                    <a:lnTo>
                      <a:pt x="1483" y="1129"/>
                    </a:lnTo>
                    <a:lnTo>
                      <a:pt x="1476" y="1118"/>
                    </a:lnTo>
                    <a:lnTo>
                      <a:pt x="1471" y="1104"/>
                    </a:lnTo>
                    <a:lnTo>
                      <a:pt x="1470" y="1090"/>
                    </a:lnTo>
                    <a:lnTo>
                      <a:pt x="1471" y="1085"/>
                    </a:lnTo>
                    <a:lnTo>
                      <a:pt x="1475" y="1079"/>
                    </a:lnTo>
                    <a:lnTo>
                      <a:pt x="1477" y="1072"/>
                    </a:lnTo>
                    <a:lnTo>
                      <a:pt x="1480" y="1064"/>
                    </a:lnTo>
                    <a:lnTo>
                      <a:pt x="1480" y="1059"/>
                    </a:lnTo>
                    <a:lnTo>
                      <a:pt x="1475" y="1057"/>
                    </a:lnTo>
                    <a:lnTo>
                      <a:pt x="1471" y="1057"/>
                    </a:lnTo>
                    <a:lnTo>
                      <a:pt x="1468" y="1059"/>
                    </a:lnTo>
                    <a:lnTo>
                      <a:pt x="1467" y="1060"/>
                    </a:lnTo>
                    <a:lnTo>
                      <a:pt x="1465" y="1064"/>
                    </a:lnTo>
                    <a:lnTo>
                      <a:pt x="1463" y="1067"/>
                    </a:lnTo>
                    <a:lnTo>
                      <a:pt x="1462" y="1069"/>
                    </a:lnTo>
                    <a:lnTo>
                      <a:pt x="1461" y="1070"/>
                    </a:lnTo>
                    <a:lnTo>
                      <a:pt x="1460" y="1073"/>
                    </a:lnTo>
                    <a:lnTo>
                      <a:pt x="1458" y="1074"/>
                    </a:lnTo>
                    <a:lnTo>
                      <a:pt x="1457" y="1075"/>
                    </a:lnTo>
                    <a:lnTo>
                      <a:pt x="1456" y="1077"/>
                    </a:lnTo>
                    <a:lnTo>
                      <a:pt x="1453" y="1077"/>
                    </a:lnTo>
                    <a:lnTo>
                      <a:pt x="1451" y="1074"/>
                    </a:lnTo>
                    <a:lnTo>
                      <a:pt x="1451" y="1063"/>
                    </a:lnTo>
                    <a:lnTo>
                      <a:pt x="1451" y="1052"/>
                    </a:lnTo>
                    <a:lnTo>
                      <a:pt x="1447" y="1036"/>
                    </a:lnTo>
                    <a:lnTo>
                      <a:pt x="1444" y="1023"/>
                    </a:lnTo>
                    <a:lnTo>
                      <a:pt x="1441" y="1013"/>
                    </a:lnTo>
                    <a:lnTo>
                      <a:pt x="1439" y="1007"/>
                    </a:lnTo>
                    <a:lnTo>
                      <a:pt x="1434" y="1000"/>
                    </a:lnTo>
                    <a:lnTo>
                      <a:pt x="1417" y="976"/>
                    </a:lnTo>
                    <a:lnTo>
                      <a:pt x="1415" y="968"/>
                    </a:lnTo>
                    <a:lnTo>
                      <a:pt x="1415" y="962"/>
                    </a:lnTo>
                    <a:lnTo>
                      <a:pt x="1417" y="955"/>
                    </a:lnTo>
                    <a:lnTo>
                      <a:pt x="1419" y="952"/>
                    </a:lnTo>
                    <a:lnTo>
                      <a:pt x="1420" y="950"/>
                    </a:lnTo>
                    <a:lnTo>
                      <a:pt x="1421" y="947"/>
                    </a:lnTo>
                    <a:lnTo>
                      <a:pt x="1422" y="945"/>
                    </a:lnTo>
                    <a:lnTo>
                      <a:pt x="1422" y="942"/>
                    </a:lnTo>
                    <a:lnTo>
                      <a:pt x="1417" y="941"/>
                    </a:lnTo>
                    <a:lnTo>
                      <a:pt x="1411" y="939"/>
                    </a:lnTo>
                    <a:lnTo>
                      <a:pt x="1407" y="935"/>
                    </a:lnTo>
                    <a:lnTo>
                      <a:pt x="1405" y="931"/>
                    </a:lnTo>
                    <a:lnTo>
                      <a:pt x="1404" y="930"/>
                    </a:lnTo>
                    <a:lnTo>
                      <a:pt x="1402" y="929"/>
                    </a:lnTo>
                    <a:lnTo>
                      <a:pt x="1401" y="927"/>
                    </a:lnTo>
                    <a:lnTo>
                      <a:pt x="1401" y="926"/>
                    </a:lnTo>
                    <a:lnTo>
                      <a:pt x="1401" y="926"/>
                    </a:lnTo>
                    <a:lnTo>
                      <a:pt x="1402" y="926"/>
                    </a:lnTo>
                    <a:lnTo>
                      <a:pt x="1405" y="926"/>
                    </a:lnTo>
                    <a:lnTo>
                      <a:pt x="1407" y="926"/>
                    </a:lnTo>
                    <a:lnTo>
                      <a:pt x="1410" y="925"/>
                    </a:lnTo>
                    <a:lnTo>
                      <a:pt x="1411" y="924"/>
                    </a:lnTo>
                    <a:lnTo>
                      <a:pt x="1411" y="921"/>
                    </a:lnTo>
                    <a:lnTo>
                      <a:pt x="1410" y="919"/>
                    </a:lnTo>
                    <a:lnTo>
                      <a:pt x="1407" y="915"/>
                    </a:lnTo>
                    <a:lnTo>
                      <a:pt x="1406" y="912"/>
                    </a:lnTo>
                    <a:lnTo>
                      <a:pt x="1406" y="909"/>
                    </a:lnTo>
                    <a:lnTo>
                      <a:pt x="1406" y="906"/>
                    </a:lnTo>
                    <a:lnTo>
                      <a:pt x="1405" y="903"/>
                    </a:lnTo>
                    <a:lnTo>
                      <a:pt x="1402" y="901"/>
                    </a:lnTo>
                    <a:lnTo>
                      <a:pt x="1400" y="900"/>
                    </a:lnTo>
                    <a:lnTo>
                      <a:pt x="1399" y="898"/>
                    </a:lnTo>
                    <a:lnTo>
                      <a:pt x="1397" y="895"/>
                    </a:lnTo>
                    <a:lnTo>
                      <a:pt x="1397" y="894"/>
                    </a:lnTo>
                    <a:lnTo>
                      <a:pt x="1397" y="891"/>
                    </a:lnTo>
                    <a:lnTo>
                      <a:pt x="1399" y="890"/>
                    </a:lnTo>
                    <a:lnTo>
                      <a:pt x="1404" y="886"/>
                    </a:lnTo>
                    <a:lnTo>
                      <a:pt x="1407" y="885"/>
                    </a:lnTo>
                    <a:lnTo>
                      <a:pt x="1410" y="884"/>
                    </a:lnTo>
                    <a:lnTo>
                      <a:pt x="1412" y="883"/>
                    </a:lnTo>
                    <a:lnTo>
                      <a:pt x="1415" y="880"/>
                    </a:lnTo>
                    <a:lnTo>
                      <a:pt x="1417" y="878"/>
                    </a:lnTo>
                    <a:lnTo>
                      <a:pt x="1421" y="878"/>
                    </a:lnTo>
                    <a:lnTo>
                      <a:pt x="1424" y="879"/>
                    </a:lnTo>
                    <a:lnTo>
                      <a:pt x="1429" y="880"/>
                    </a:lnTo>
                    <a:lnTo>
                      <a:pt x="1434" y="883"/>
                    </a:lnTo>
                    <a:lnTo>
                      <a:pt x="1441" y="883"/>
                    </a:lnTo>
                    <a:lnTo>
                      <a:pt x="1448" y="883"/>
                    </a:lnTo>
                    <a:lnTo>
                      <a:pt x="1451" y="884"/>
                    </a:lnTo>
                    <a:lnTo>
                      <a:pt x="1453" y="886"/>
                    </a:lnTo>
                    <a:lnTo>
                      <a:pt x="1456" y="889"/>
                    </a:lnTo>
                    <a:lnTo>
                      <a:pt x="1457" y="890"/>
                    </a:lnTo>
                    <a:lnTo>
                      <a:pt x="1460" y="893"/>
                    </a:lnTo>
                    <a:lnTo>
                      <a:pt x="1462" y="893"/>
                    </a:lnTo>
                    <a:lnTo>
                      <a:pt x="1463" y="893"/>
                    </a:lnTo>
                    <a:lnTo>
                      <a:pt x="1465" y="891"/>
                    </a:lnTo>
                    <a:lnTo>
                      <a:pt x="1465" y="890"/>
                    </a:lnTo>
                    <a:lnTo>
                      <a:pt x="1465" y="889"/>
                    </a:lnTo>
                    <a:lnTo>
                      <a:pt x="1463" y="888"/>
                    </a:lnTo>
                    <a:lnTo>
                      <a:pt x="1462" y="885"/>
                    </a:lnTo>
                    <a:lnTo>
                      <a:pt x="1460" y="883"/>
                    </a:lnTo>
                    <a:lnTo>
                      <a:pt x="1457" y="881"/>
                    </a:lnTo>
                    <a:lnTo>
                      <a:pt x="1455" y="880"/>
                    </a:lnTo>
                    <a:lnTo>
                      <a:pt x="1452" y="878"/>
                    </a:lnTo>
                    <a:lnTo>
                      <a:pt x="1451" y="875"/>
                    </a:lnTo>
                    <a:lnTo>
                      <a:pt x="1450" y="873"/>
                    </a:lnTo>
                    <a:lnTo>
                      <a:pt x="1450" y="870"/>
                    </a:lnTo>
                    <a:lnTo>
                      <a:pt x="1448" y="868"/>
                    </a:lnTo>
                    <a:lnTo>
                      <a:pt x="1446" y="866"/>
                    </a:lnTo>
                    <a:lnTo>
                      <a:pt x="1440" y="866"/>
                    </a:lnTo>
                    <a:lnTo>
                      <a:pt x="1432" y="869"/>
                    </a:lnTo>
                    <a:lnTo>
                      <a:pt x="1425" y="870"/>
                    </a:lnTo>
                    <a:lnTo>
                      <a:pt x="1420" y="869"/>
                    </a:lnTo>
                    <a:lnTo>
                      <a:pt x="1419" y="866"/>
                    </a:lnTo>
                    <a:lnTo>
                      <a:pt x="1419" y="864"/>
                    </a:lnTo>
                    <a:lnTo>
                      <a:pt x="1419" y="862"/>
                    </a:lnTo>
                    <a:lnTo>
                      <a:pt x="1421" y="860"/>
                    </a:lnTo>
                    <a:lnTo>
                      <a:pt x="1424" y="859"/>
                    </a:lnTo>
                    <a:lnTo>
                      <a:pt x="1426" y="858"/>
                    </a:lnTo>
                    <a:lnTo>
                      <a:pt x="1429" y="857"/>
                    </a:lnTo>
                    <a:lnTo>
                      <a:pt x="1431" y="857"/>
                    </a:lnTo>
                    <a:lnTo>
                      <a:pt x="1434" y="857"/>
                    </a:lnTo>
                    <a:lnTo>
                      <a:pt x="1436" y="857"/>
                    </a:lnTo>
                    <a:lnTo>
                      <a:pt x="1441" y="855"/>
                    </a:lnTo>
                    <a:lnTo>
                      <a:pt x="1442" y="852"/>
                    </a:lnTo>
                    <a:lnTo>
                      <a:pt x="1442" y="847"/>
                    </a:lnTo>
                    <a:lnTo>
                      <a:pt x="1441" y="842"/>
                    </a:lnTo>
                    <a:lnTo>
                      <a:pt x="1441" y="838"/>
                    </a:lnTo>
                    <a:lnTo>
                      <a:pt x="1444" y="835"/>
                    </a:lnTo>
                    <a:lnTo>
                      <a:pt x="1446" y="833"/>
                    </a:lnTo>
                    <a:lnTo>
                      <a:pt x="1447" y="830"/>
                    </a:lnTo>
                    <a:lnTo>
                      <a:pt x="1448" y="827"/>
                    </a:lnTo>
                    <a:lnTo>
                      <a:pt x="1448" y="824"/>
                    </a:lnTo>
                    <a:lnTo>
                      <a:pt x="1448" y="820"/>
                    </a:lnTo>
                    <a:lnTo>
                      <a:pt x="1448" y="817"/>
                    </a:lnTo>
                    <a:lnTo>
                      <a:pt x="1452" y="808"/>
                    </a:lnTo>
                    <a:lnTo>
                      <a:pt x="1451" y="797"/>
                    </a:lnTo>
                    <a:lnTo>
                      <a:pt x="1450" y="788"/>
                    </a:lnTo>
                    <a:lnTo>
                      <a:pt x="1445" y="782"/>
                    </a:lnTo>
                    <a:lnTo>
                      <a:pt x="1437" y="777"/>
                    </a:lnTo>
                    <a:lnTo>
                      <a:pt x="1429" y="778"/>
                    </a:lnTo>
                    <a:lnTo>
                      <a:pt x="1426" y="778"/>
                    </a:lnTo>
                    <a:lnTo>
                      <a:pt x="1424" y="778"/>
                    </a:lnTo>
                    <a:lnTo>
                      <a:pt x="1421" y="778"/>
                    </a:lnTo>
                    <a:lnTo>
                      <a:pt x="1419" y="778"/>
                    </a:lnTo>
                    <a:lnTo>
                      <a:pt x="1416" y="778"/>
                    </a:lnTo>
                    <a:lnTo>
                      <a:pt x="1414" y="778"/>
                    </a:lnTo>
                    <a:lnTo>
                      <a:pt x="1411" y="779"/>
                    </a:lnTo>
                    <a:lnTo>
                      <a:pt x="1410" y="781"/>
                    </a:lnTo>
                    <a:lnTo>
                      <a:pt x="1410" y="782"/>
                    </a:lnTo>
                    <a:lnTo>
                      <a:pt x="1410" y="783"/>
                    </a:lnTo>
                    <a:lnTo>
                      <a:pt x="1412" y="786"/>
                    </a:lnTo>
                    <a:lnTo>
                      <a:pt x="1415" y="788"/>
                    </a:lnTo>
                    <a:lnTo>
                      <a:pt x="1420" y="794"/>
                    </a:lnTo>
                    <a:lnTo>
                      <a:pt x="1424" y="799"/>
                    </a:lnTo>
                    <a:lnTo>
                      <a:pt x="1426" y="804"/>
                    </a:lnTo>
                    <a:lnTo>
                      <a:pt x="1424" y="809"/>
                    </a:lnTo>
                    <a:lnTo>
                      <a:pt x="1417" y="812"/>
                    </a:lnTo>
                    <a:lnTo>
                      <a:pt x="1399" y="812"/>
                    </a:lnTo>
                    <a:lnTo>
                      <a:pt x="1396" y="813"/>
                    </a:lnTo>
                    <a:lnTo>
                      <a:pt x="1392" y="814"/>
                    </a:lnTo>
                    <a:lnTo>
                      <a:pt x="1390" y="814"/>
                    </a:lnTo>
                    <a:lnTo>
                      <a:pt x="1389" y="814"/>
                    </a:lnTo>
                    <a:lnTo>
                      <a:pt x="1386" y="813"/>
                    </a:lnTo>
                    <a:lnTo>
                      <a:pt x="1384" y="809"/>
                    </a:lnTo>
                    <a:lnTo>
                      <a:pt x="1382" y="808"/>
                    </a:lnTo>
                    <a:lnTo>
                      <a:pt x="1381" y="806"/>
                    </a:lnTo>
                    <a:lnTo>
                      <a:pt x="1381" y="803"/>
                    </a:lnTo>
                    <a:lnTo>
                      <a:pt x="1381" y="802"/>
                    </a:lnTo>
                    <a:lnTo>
                      <a:pt x="1381" y="801"/>
                    </a:lnTo>
                    <a:lnTo>
                      <a:pt x="1381" y="799"/>
                    </a:lnTo>
                    <a:lnTo>
                      <a:pt x="1379" y="797"/>
                    </a:lnTo>
                    <a:lnTo>
                      <a:pt x="1376" y="797"/>
                    </a:lnTo>
                    <a:lnTo>
                      <a:pt x="1373" y="796"/>
                    </a:lnTo>
                    <a:lnTo>
                      <a:pt x="1370" y="794"/>
                    </a:lnTo>
                    <a:lnTo>
                      <a:pt x="1369" y="792"/>
                    </a:lnTo>
                    <a:lnTo>
                      <a:pt x="1368" y="789"/>
                    </a:lnTo>
                    <a:lnTo>
                      <a:pt x="1366" y="786"/>
                    </a:lnTo>
                    <a:lnTo>
                      <a:pt x="1365" y="783"/>
                    </a:lnTo>
                    <a:lnTo>
                      <a:pt x="1365" y="781"/>
                    </a:lnTo>
                    <a:lnTo>
                      <a:pt x="1365" y="777"/>
                    </a:lnTo>
                    <a:lnTo>
                      <a:pt x="1365" y="772"/>
                    </a:lnTo>
                    <a:lnTo>
                      <a:pt x="1366" y="767"/>
                    </a:lnTo>
                    <a:lnTo>
                      <a:pt x="1368" y="762"/>
                    </a:lnTo>
                    <a:lnTo>
                      <a:pt x="1370" y="761"/>
                    </a:lnTo>
                    <a:lnTo>
                      <a:pt x="1371" y="760"/>
                    </a:lnTo>
                    <a:lnTo>
                      <a:pt x="1374" y="757"/>
                    </a:lnTo>
                    <a:lnTo>
                      <a:pt x="1375" y="755"/>
                    </a:lnTo>
                    <a:lnTo>
                      <a:pt x="1376" y="752"/>
                    </a:lnTo>
                    <a:lnTo>
                      <a:pt x="1375" y="747"/>
                    </a:lnTo>
                    <a:lnTo>
                      <a:pt x="1373" y="741"/>
                    </a:lnTo>
                    <a:lnTo>
                      <a:pt x="1370" y="733"/>
                    </a:lnTo>
                    <a:lnTo>
                      <a:pt x="1369" y="728"/>
                    </a:lnTo>
                    <a:lnTo>
                      <a:pt x="1370" y="725"/>
                    </a:lnTo>
                    <a:lnTo>
                      <a:pt x="1376" y="723"/>
                    </a:lnTo>
                    <a:lnTo>
                      <a:pt x="1380" y="725"/>
                    </a:lnTo>
                    <a:lnTo>
                      <a:pt x="1384" y="726"/>
                    </a:lnTo>
                    <a:lnTo>
                      <a:pt x="1387" y="728"/>
                    </a:lnTo>
                    <a:lnTo>
                      <a:pt x="1391" y="731"/>
                    </a:lnTo>
                    <a:lnTo>
                      <a:pt x="1399" y="735"/>
                    </a:lnTo>
                    <a:lnTo>
                      <a:pt x="1405" y="737"/>
                    </a:lnTo>
                    <a:lnTo>
                      <a:pt x="1412" y="740"/>
                    </a:lnTo>
                    <a:lnTo>
                      <a:pt x="1417" y="741"/>
                    </a:lnTo>
                    <a:lnTo>
                      <a:pt x="1424" y="743"/>
                    </a:lnTo>
                    <a:lnTo>
                      <a:pt x="1429" y="746"/>
                    </a:lnTo>
                    <a:lnTo>
                      <a:pt x="1432" y="746"/>
                    </a:lnTo>
                    <a:lnTo>
                      <a:pt x="1435" y="743"/>
                    </a:lnTo>
                    <a:lnTo>
                      <a:pt x="1434" y="737"/>
                    </a:lnTo>
                    <a:lnTo>
                      <a:pt x="1431" y="731"/>
                    </a:lnTo>
                    <a:lnTo>
                      <a:pt x="1429" y="727"/>
                    </a:lnTo>
                    <a:lnTo>
                      <a:pt x="1426" y="723"/>
                    </a:lnTo>
                    <a:lnTo>
                      <a:pt x="1422" y="721"/>
                    </a:lnTo>
                    <a:lnTo>
                      <a:pt x="1417" y="718"/>
                    </a:lnTo>
                    <a:lnTo>
                      <a:pt x="1415" y="717"/>
                    </a:lnTo>
                    <a:lnTo>
                      <a:pt x="1412" y="714"/>
                    </a:lnTo>
                    <a:lnTo>
                      <a:pt x="1410" y="711"/>
                    </a:lnTo>
                    <a:lnTo>
                      <a:pt x="1410" y="709"/>
                    </a:lnTo>
                    <a:lnTo>
                      <a:pt x="1410" y="705"/>
                    </a:lnTo>
                    <a:lnTo>
                      <a:pt x="1409" y="704"/>
                    </a:lnTo>
                    <a:lnTo>
                      <a:pt x="1407" y="701"/>
                    </a:lnTo>
                    <a:lnTo>
                      <a:pt x="1405" y="699"/>
                    </a:lnTo>
                    <a:lnTo>
                      <a:pt x="1402" y="697"/>
                    </a:lnTo>
                    <a:lnTo>
                      <a:pt x="1400" y="697"/>
                    </a:lnTo>
                    <a:lnTo>
                      <a:pt x="1399" y="697"/>
                    </a:lnTo>
                    <a:lnTo>
                      <a:pt x="1396" y="699"/>
                    </a:lnTo>
                    <a:lnTo>
                      <a:pt x="1394" y="699"/>
                    </a:lnTo>
                    <a:lnTo>
                      <a:pt x="1391" y="697"/>
                    </a:lnTo>
                    <a:lnTo>
                      <a:pt x="1390" y="696"/>
                    </a:lnTo>
                    <a:lnTo>
                      <a:pt x="1389" y="695"/>
                    </a:lnTo>
                    <a:lnTo>
                      <a:pt x="1389" y="692"/>
                    </a:lnTo>
                    <a:lnTo>
                      <a:pt x="1389" y="691"/>
                    </a:lnTo>
                    <a:lnTo>
                      <a:pt x="1389" y="689"/>
                    </a:lnTo>
                    <a:lnTo>
                      <a:pt x="1390" y="686"/>
                    </a:lnTo>
                    <a:lnTo>
                      <a:pt x="1390" y="684"/>
                    </a:lnTo>
                    <a:lnTo>
                      <a:pt x="1390" y="682"/>
                    </a:lnTo>
                    <a:lnTo>
                      <a:pt x="1389" y="680"/>
                    </a:lnTo>
                    <a:lnTo>
                      <a:pt x="1386" y="679"/>
                    </a:lnTo>
                    <a:lnTo>
                      <a:pt x="1382" y="677"/>
                    </a:lnTo>
                    <a:lnTo>
                      <a:pt x="1379" y="677"/>
                    </a:lnTo>
                    <a:lnTo>
                      <a:pt x="1376" y="677"/>
                    </a:lnTo>
                    <a:lnTo>
                      <a:pt x="1373" y="677"/>
                    </a:lnTo>
                    <a:lnTo>
                      <a:pt x="1370" y="679"/>
                    </a:lnTo>
                    <a:lnTo>
                      <a:pt x="1369" y="680"/>
                    </a:lnTo>
                    <a:lnTo>
                      <a:pt x="1368" y="681"/>
                    </a:lnTo>
                    <a:lnTo>
                      <a:pt x="1368" y="682"/>
                    </a:lnTo>
                    <a:lnTo>
                      <a:pt x="1368" y="685"/>
                    </a:lnTo>
                    <a:lnTo>
                      <a:pt x="1368" y="687"/>
                    </a:lnTo>
                    <a:lnTo>
                      <a:pt x="1368" y="690"/>
                    </a:lnTo>
                    <a:lnTo>
                      <a:pt x="1366" y="696"/>
                    </a:lnTo>
                    <a:lnTo>
                      <a:pt x="1361" y="697"/>
                    </a:lnTo>
                    <a:lnTo>
                      <a:pt x="1355" y="696"/>
                    </a:lnTo>
                    <a:lnTo>
                      <a:pt x="1348" y="690"/>
                    </a:lnTo>
                    <a:lnTo>
                      <a:pt x="1344" y="687"/>
                    </a:lnTo>
                    <a:lnTo>
                      <a:pt x="1343" y="685"/>
                    </a:lnTo>
                    <a:lnTo>
                      <a:pt x="1343" y="682"/>
                    </a:lnTo>
                    <a:lnTo>
                      <a:pt x="1343" y="679"/>
                    </a:lnTo>
                    <a:lnTo>
                      <a:pt x="1343" y="676"/>
                    </a:lnTo>
                    <a:lnTo>
                      <a:pt x="1341" y="674"/>
                    </a:lnTo>
                    <a:lnTo>
                      <a:pt x="1341" y="670"/>
                    </a:lnTo>
                    <a:lnTo>
                      <a:pt x="1340" y="667"/>
                    </a:lnTo>
                    <a:lnTo>
                      <a:pt x="1339" y="665"/>
                    </a:lnTo>
                    <a:lnTo>
                      <a:pt x="1338" y="663"/>
                    </a:lnTo>
                    <a:lnTo>
                      <a:pt x="1338" y="661"/>
                    </a:lnTo>
                    <a:lnTo>
                      <a:pt x="1336" y="659"/>
                    </a:lnTo>
                    <a:lnTo>
                      <a:pt x="1335" y="653"/>
                    </a:lnTo>
                    <a:lnTo>
                      <a:pt x="1338" y="649"/>
                    </a:lnTo>
                    <a:lnTo>
                      <a:pt x="1341" y="646"/>
                    </a:lnTo>
                    <a:lnTo>
                      <a:pt x="1343" y="643"/>
                    </a:lnTo>
                    <a:lnTo>
                      <a:pt x="1341" y="638"/>
                    </a:lnTo>
                    <a:lnTo>
                      <a:pt x="1340" y="636"/>
                    </a:lnTo>
                    <a:lnTo>
                      <a:pt x="1338" y="634"/>
                    </a:lnTo>
                    <a:lnTo>
                      <a:pt x="1335" y="631"/>
                    </a:lnTo>
                    <a:lnTo>
                      <a:pt x="1334" y="629"/>
                    </a:lnTo>
                    <a:lnTo>
                      <a:pt x="1331" y="626"/>
                    </a:lnTo>
                    <a:lnTo>
                      <a:pt x="1331" y="625"/>
                    </a:lnTo>
                    <a:lnTo>
                      <a:pt x="1333" y="623"/>
                    </a:lnTo>
                    <a:lnTo>
                      <a:pt x="1335" y="620"/>
                    </a:lnTo>
                    <a:lnTo>
                      <a:pt x="1338" y="619"/>
                    </a:lnTo>
                    <a:lnTo>
                      <a:pt x="1340" y="618"/>
                    </a:lnTo>
                    <a:lnTo>
                      <a:pt x="1341" y="617"/>
                    </a:lnTo>
                    <a:lnTo>
                      <a:pt x="1344" y="613"/>
                    </a:lnTo>
                    <a:lnTo>
                      <a:pt x="1345" y="610"/>
                    </a:lnTo>
                    <a:lnTo>
                      <a:pt x="1344" y="608"/>
                    </a:lnTo>
                    <a:lnTo>
                      <a:pt x="1343" y="607"/>
                    </a:lnTo>
                    <a:lnTo>
                      <a:pt x="1340" y="605"/>
                    </a:lnTo>
                    <a:lnTo>
                      <a:pt x="1336" y="604"/>
                    </a:lnTo>
                    <a:lnTo>
                      <a:pt x="1333" y="603"/>
                    </a:lnTo>
                    <a:lnTo>
                      <a:pt x="1330" y="602"/>
                    </a:lnTo>
                    <a:lnTo>
                      <a:pt x="1329" y="600"/>
                    </a:lnTo>
                    <a:lnTo>
                      <a:pt x="1328" y="598"/>
                    </a:lnTo>
                    <a:lnTo>
                      <a:pt x="1328" y="595"/>
                    </a:lnTo>
                    <a:lnTo>
                      <a:pt x="1328" y="594"/>
                    </a:lnTo>
                    <a:lnTo>
                      <a:pt x="1329" y="592"/>
                    </a:lnTo>
                    <a:lnTo>
                      <a:pt x="1329" y="589"/>
                    </a:lnTo>
                    <a:lnTo>
                      <a:pt x="1329" y="588"/>
                    </a:lnTo>
                    <a:lnTo>
                      <a:pt x="1329" y="585"/>
                    </a:lnTo>
                    <a:lnTo>
                      <a:pt x="1326" y="582"/>
                    </a:lnTo>
                    <a:lnTo>
                      <a:pt x="1324" y="578"/>
                    </a:lnTo>
                    <a:lnTo>
                      <a:pt x="1320" y="574"/>
                    </a:lnTo>
                    <a:lnTo>
                      <a:pt x="1316" y="572"/>
                    </a:lnTo>
                    <a:lnTo>
                      <a:pt x="1313" y="570"/>
                    </a:lnTo>
                    <a:lnTo>
                      <a:pt x="1309" y="569"/>
                    </a:lnTo>
                    <a:lnTo>
                      <a:pt x="1308" y="568"/>
                    </a:lnTo>
                    <a:lnTo>
                      <a:pt x="1306" y="567"/>
                    </a:lnTo>
                    <a:lnTo>
                      <a:pt x="1306" y="566"/>
                    </a:lnTo>
                    <a:lnTo>
                      <a:pt x="1308" y="563"/>
                    </a:lnTo>
                    <a:lnTo>
                      <a:pt x="1308" y="562"/>
                    </a:lnTo>
                    <a:lnTo>
                      <a:pt x="1308" y="559"/>
                    </a:lnTo>
                    <a:lnTo>
                      <a:pt x="1309" y="548"/>
                    </a:lnTo>
                    <a:lnTo>
                      <a:pt x="1305" y="539"/>
                    </a:lnTo>
                    <a:lnTo>
                      <a:pt x="1304" y="533"/>
                    </a:lnTo>
                    <a:lnTo>
                      <a:pt x="1303" y="528"/>
                    </a:lnTo>
                    <a:lnTo>
                      <a:pt x="1300" y="524"/>
                    </a:lnTo>
                    <a:lnTo>
                      <a:pt x="1298" y="521"/>
                    </a:lnTo>
                    <a:lnTo>
                      <a:pt x="1297" y="517"/>
                    </a:lnTo>
                    <a:lnTo>
                      <a:pt x="1295" y="515"/>
                    </a:lnTo>
                    <a:lnTo>
                      <a:pt x="1292" y="512"/>
                    </a:lnTo>
                    <a:lnTo>
                      <a:pt x="1287" y="511"/>
                    </a:lnTo>
                    <a:lnTo>
                      <a:pt x="1285" y="508"/>
                    </a:lnTo>
                    <a:lnTo>
                      <a:pt x="1283" y="506"/>
                    </a:lnTo>
                    <a:lnTo>
                      <a:pt x="1280" y="502"/>
                    </a:lnTo>
                    <a:lnTo>
                      <a:pt x="1278" y="500"/>
                    </a:lnTo>
                    <a:lnTo>
                      <a:pt x="1277" y="497"/>
                    </a:lnTo>
                    <a:lnTo>
                      <a:pt x="1274" y="493"/>
                    </a:lnTo>
                    <a:lnTo>
                      <a:pt x="1269" y="490"/>
                    </a:lnTo>
                    <a:lnTo>
                      <a:pt x="1265" y="486"/>
                    </a:lnTo>
                    <a:lnTo>
                      <a:pt x="1260" y="482"/>
                    </a:lnTo>
                    <a:lnTo>
                      <a:pt x="1258" y="476"/>
                    </a:lnTo>
                    <a:lnTo>
                      <a:pt x="1257" y="471"/>
                    </a:lnTo>
                    <a:lnTo>
                      <a:pt x="1255" y="466"/>
                    </a:lnTo>
                    <a:lnTo>
                      <a:pt x="1252" y="457"/>
                    </a:lnTo>
                    <a:lnTo>
                      <a:pt x="1245" y="449"/>
                    </a:lnTo>
                    <a:lnTo>
                      <a:pt x="1238" y="440"/>
                    </a:lnTo>
                    <a:lnTo>
                      <a:pt x="1229" y="435"/>
                    </a:lnTo>
                    <a:lnTo>
                      <a:pt x="1216" y="427"/>
                    </a:lnTo>
                    <a:lnTo>
                      <a:pt x="1201" y="421"/>
                    </a:lnTo>
                    <a:lnTo>
                      <a:pt x="1194" y="418"/>
                    </a:lnTo>
                    <a:lnTo>
                      <a:pt x="1188" y="416"/>
                    </a:lnTo>
                    <a:lnTo>
                      <a:pt x="1179" y="414"/>
                    </a:lnTo>
                    <a:lnTo>
                      <a:pt x="1176" y="411"/>
                    </a:lnTo>
                    <a:lnTo>
                      <a:pt x="1171" y="409"/>
                    </a:lnTo>
                    <a:lnTo>
                      <a:pt x="1166" y="406"/>
                    </a:lnTo>
                    <a:lnTo>
                      <a:pt x="1162" y="404"/>
                    </a:lnTo>
                    <a:lnTo>
                      <a:pt x="1158" y="403"/>
                    </a:lnTo>
                    <a:lnTo>
                      <a:pt x="1156" y="403"/>
                    </a:lnTo>
                    <a:lnTo>
                      <a:pt x="1152" y="401"/>
                    </a:lnTo>
                    <a:lnTo>
                      <a:pt x="1148" y="400"/>
                    </a:lnTo>
                    <a:lnTo>
                      <a:pt x="1146" y="399"/>
                    </a:lnTo>
                    <a:lnTo>
                      <a:pt x="1143" y="399"/>
                    </a:lnTo>
                    <a:lnTo>
                      <a:pt x="1142" y="400"/>
                    </a:lnTo>
                    <a:lnTo>
                      <a:pt x="1143" y="401"/>
                    </a:lnTo>
                    <a:lnTo>
                      <a:pt x="1145" y="404"/>
                    </a:lnTo>
                    <a:lnTo>
                      <a:pt x="1146" y="405"/>
                    </a:lnTo>
                    <a:lnTo>
                      <a:pt x="1147" y="408"/>
                    </a:lnTo>
                    <a:lnTo>
                      <a:pt x="1148" y="409"/>
                    </a:lnTo>
                    <a:lnTo>
                      <a:pt x="1148" y="410"/>
                    </a:lnTo>
                    <a:lnTo>
                      <a:pt x="1147" y="411"/>
                    </a:lnTo>
                    <a:lnTo>
                      <a:pt x="1145" y="411"/>
                    </a:lnTo>
                    <a:lnTo>
                      <a:pt x="1142" y="411"/>
                    </a:lnTo>
                    <a:lnTo>
                      <a:pt x="1140" y="410"/>
                    </a:lnTo>
                    <a:lnTo>
                      <a:pt x="1137" y="410"/>
                    </a:lnTo>
                    <a:lnTo>
                      <a:pt x="1135" y="409"/>
                    </a:lnTo>
                    <a:lnTo>
                      <a:pt x="1133" y="409"/>
                    </a:lnTo>
                    <a:lnTo>
                      <a:pt x="1123" y="405"/>
                    </a:lnTo>
                    <a:lnTo>
                      <a:pt x="1116" y="404"/>
                    </a:lnTo>
                    <a:lnTo>
                      <a:pt x="1111" y="406"/>
                    </a:lnTo>
                    <a:lnTo>
                      <a:pt x="1110" y="411"/>
                    </a:lnTo>
                    <a:lnTo>
                      <a:pt x="1106" y="410"/>
                    </a:lnTo>
                    <a:lnTo>
                      <a:pt x="1102" y="409"/>
                    </a:lnTo>
                    <a:lnTo>
                      <a:pt x="1097" y="406"/>
                    </a:lnTo>
                    <a:lnTo>
                      <a:pt x="1093" y="404"/>
                    </a:lnTo>
                    <a:lnTo>
                      <a:pt x="1091" y="404"/>
                    </a:lnTo>
                    <a:lnTo>
                      <a:pt x="1090" y="404"/>
                    </a:lnTo>
                    <a:lnTo>
                      <a:pt x="1088" y="406"/>
                    </a:lnTo>
                    <a:lnTo>
                      <a:pt x="1088" y="408"/>
                    </a:lnTo>
                    <a:lnTo>
                      <a:pt x="1088" y="410"/>
                    </a:lnTo>
                    <a:lnTo>
                      <a:pt x="1088" y="413"/>
                    </a:lnTo>
                    <a:lnTo>
                      <a:pt x="1088" y="415"/>
                    </a:lnTo>
                    <a:lnTo>
                      <a:pt x="1088" y="416"/>
                    </a:lnTo>
                    <a:lnTo>
                      <a:pt x="1081" y="415"/>
                    </a:lnTo>
                    <a:lnTo>
                      <a:pt x="1075" y="413"/>
                    </a:lnTo>
                    <a:lnTo>
                      <a:pt x="1067" y="411"/>
                    </a:lnTo>
                    <a:lnTo>
                      <a:pt x="1064" y="410"/>
                    </a:lnTo>
                    <a:lnTo>
                      <a:pt x="1059" y="409"/>
                    </a:lnTo>
                    <a:lnTo>
                      <a:pt x="1054" y="408"/>
                    </a:lnTo>
                    <a:lnTo>
                      <a:pt x="1050" y="406"/>
                    </a:lnTo>
                    <a:lnTo>
                      <a:pt x="1046" y="405"/>
                    </a:lnTo>
                    <a:lnTo>
                      <a:pt x="1044" y="403"/>
                    </a:lnTo>
                    <a:lnTo>
                      <a:pt x="1042" y="401"/>
                    </a:lnTo>
                    <a:lnTo>
                      <a:pt x="1040" y="399"/>
                    </a:lnTo>
                    <a:lnTo>
                      <a:pt x="1039" y="398"/>
                    </a:lnTo>
                    <a:lnTo>
                      <a:pt x="1036" y="396"/>
                    </a:lnTo>
                    <a:lnTo>
                      <a:pt x="1032" y="394"/>
                    </a:lnTo>
                    <a:lnTo>
                      <a:pt x="1027" y="393"/>
                    </a:lnTo>
                    <a:lnTo>
                      <a:pt x="1022" y="393"/>
                    </a:lnTo>
                    <a:lnTo>
                      <a:pt x="1017" y="390"/>
                    </a:lnTo>
                    <a:lnTo>
                      <a:pt x="1015" y="390"/>
                    </a:lnTo>
                    <a:lnTo>
                      <a:pt x="1014" y="389"/>
                    </a:lnTo>
                    <a:lnTo>
                      <a:pt x="1014" y="388"/>
                    </a:lnTo>
                    <a:lnTo>
                      <a:pt x="1015" y="386"/>
                    </a:lnTo>
                    <a:lnTo>
                      <a:pt x="1016" y="385"/>
                    </a:lnTo>
                    <a:lnTo>
                      <a:pt x="1019" y="384"/>
                    </a:lnTo>
                    <a:lnTo>
                      <a:pt x="1021" y="383"/>
                    </a:lnTo>
                    <a:lnTo>
                      <a:pt x="1024" y="381"/>
                    </a:lnTo>
                    <a:lnTo>
                      <a:pt x="1026" y="381"/>
                    </a:lnTo>
                    <a:lnTo>
                      <a:pt x="1029" y="380"/>
                    </a:lnTo>
                    <a:lnTo>
                      <a:pt x="1034" y="380"/>
                    </a:lnTo>
                    <a:lnTo>
                      <a:pt x="1041" y="380"/>
                    </a:lnTo>
                    <a:lnTo>
                      <a:pt x="1046" y="379"/>
                    </a:lnTo>
                    <a:lnTo>
                      <a:pt x="1050" y="376"/>
                    </a:lnTo>
                    <a:lnTo>
                      <a:pt x="1050" y="373"/>
                    </a:lnTo>
                    <a:lnTo>
                      <a:pt x="1047" y="370"/>
                    </a:lnTo>
                    <a:lnTo>
                      <a:pt x="1045" y="369"/>
                    </a:lnTo>
                    <a:lnTo>
                      <a:pt x="1042" y="368"/>
                    </a:lnTo>
                    <a:lnTo>
                      <a:pt x="1039" y="368"/>
                    </a:lnTo>
                    <a:lnTo>
                      <a:pt x="1035" y="368"/>
                    </a:lnTo>
                    <a:lnTo>
                      <a:pt x="1032" y="369"/>
                    </a:lnTo>
                    <a:lnTo>
                      <a:pt x="1031" y="370"/>
                    </a:lnTo>
                    <a:lnTo>
                      <a:pt x="1026" y="369"/>
                    </a:lnTo>
                    <a:lnTo>
                      <a:pt x="1022" y="368"/>
                    </a:lnTo>
                    <a:lnTo>
                      <a:pt x="1019" y="365"/>
                    </a:lnTo>
                    <a:lnTo>
                      <a:pt x="1016" y="364"/>
                    </a:lnTo>
                    <a:lnTo>
                      <a:pt x="1012" y="362"/>
                    </a:lnTo>
                    <a:lnTo>
                      <a:pt x="1004" y="359"/>
                    </a:lnTo>
                    <a:lnTo>
                      <a:pt x="995" y="358"/>
                    </a:lnTo>
                    <a:lnTo>
                      <a:pt x="986" y="354"/>
                    </a:lnTo>
                    <a:lnTo>
                      <a:pt x="984" y="352"/>
                    </a:lnTo>
                    <a:lnTo>
                      <a:pt x="983" y="349"/>
                    </a:lnTo>
                    <a:lnTo>
                      <a:pt x="983" y="345"/>
                    </a:lnTo>
                    <a:lnTo>
                      <a:pt x="985" y="343"/>
                    </a:lnTo>
                    <a:lnTo>
                      <a:pt x="988" y="339"/>
                    </a:lnTo>
                    <a:lnTo>
                      <a:pt x="990" y="338"/>
                    </a:lnTo>
                    <a:lnTo>
                      <a:pt x="995" y="335"/>
                    </a:lnTo>
                    <a:lnTo>
                      <a:pt x="999" y="334"/>
                    </a:lnTo>
                    <a:lnTo>
                      <a:pt x="1003" y="334"/>
                    </a:lnTo>
                    <a:lnTo>
                      <a:pt x="1006" y="334"/>
                    </a:lnTo>
                    <a:lnTo>
                      <a:pt x="1010" y="333"/>
                    </a:lnTo>
                    <a:lnTo>
                      <a:pt x="1012" y="333"/>
                    </a:lnTo>
                    <a:lnTo>
                      <a:pt x="1014" y="333"/>
                    </a:lnTo>
                    <a:lnTo>
                      <a:pt x="1016" y="334"/>
                    </a:lnTo>
                    <a:lnTo>
                      <a:pt x="1019" y="335"/>
                    </a:lnTo>
                    <a:lnTo>
                      <a:pt x="1021" y="337"/>
                    </a:lnTo>
                    <a:lnTo>
                      <a:pt x="1024" y="338"/>
                    </a:lnTo>
                    <a:lnTo>
                      <a:pt x="1030" y="338"/>
                    </a:lnTo>
                    <a:lnTo>
                      <a:pt x="1035" y="335"/>
                    </a:lnTo>
                    <a:lnTo>
                      <a:pt x="1039" y="332"/>
                    </a:lnTo>
                    <a:lnTo>
                      <a:pt x="1044" y="330"/>
                    </a:lnTo>
                    <a:lnTo>
                      <a:pt x="1049" y="330"/>
                    </a:lnTo>
                    <a:lnTo>
                      <a:pt x="1055" y="332"/>
                    </a:lnTo>
                    <a:lnTo>
                      <a:pt x="1061" y="334"/>
                    </a:lnTo>
                    <a:lnTo>
                      <a:pt x="1067" y="334"/>
                    </a:lnTo>
                    <a:lnTo>
                      <a:pt x="1072" y="334"/>
                    </a:lnTo>
                    <a:lnTo>
                      <a:pt x="1072" y="330"/>
                    </a:lnTo>
                    <a:lnTo>
                      <a:pt x="1074" y="329"/>
                    </a:lnTo>
                    <a:lnTo>
                      <a:pt x="1075" y="328"/>
                    </a:lnTo>
                    <a:lnTo>
                      <a:pt x="1076" y="328"/>
                    </a:lnTo>
                    <a:lnTo>
                      <a:pt x="1079" y="328"/>
                    </a:lnTo>
                    <a:lnTo>
                      <a:pt x="1080" y="328"/>
                    </a:lnTo>
                    <a:lnTo>
                      <a:pt x="1082" y="328"/>
                    </a:lnTo>
                    <a:lnTo>
                      <a:pt x="1085" y="328"/>
                    </a:lnTo>
                    <a:lnTo>
                      <a:pt x="1086" y="327"/>
                    </a:lnTo>
                    <a:lnTo>
                      <a:pt x="1087" y="327"/>
                    </a:lnTo>
                    <a:lnTo>
                      <a:pt x="1087" y="325"/>
                    </a:lnTo>
                    <a:lnTo>
                      <a:pt x="1087" y="323"/>
                    </a:lnTo>
                    <a:lnTo>
                      <a:pt x="1086" y="321"/>
                    </a:lnTo>
                    <a:lnTo>
                      <a:pt x="1082" y="316"/>
                    </a:lnTo>
                    <a:lnTo>
                      <a:pt x="1075" y="312"/>
                    </a:lnTo>
                    <a:lnTo>
                      <a:pt x="1069" y="308"/>
                    </a:lnTo>
                    <a:lnTo>
                      <a:pt x="1062" y="309"/>
                    </a:lnTo>
                    <a:lnTo>
                      <a:pt x="1061" y="312"/>
                    </a:lnTo>
                    <a:lnTo>
                      <a:pt x="1061" y="313"/>
                    </a:lnTo>
                    <a:lnTo>
                      <a:pt x="1060" y="314"/>
                    </a:lnTo>
                    <a:lnTo>
                      <a:pt x="1059" y="317"/>
                    </a:lnTo>
                    <a:lnTo>
                      <a:pt x="1057" y="318"/>
                    </a:lnTo>
                    <a:lnTo>
                      <a:pt x="1055" y="318"/>
                    </a:lnTo>
                    <a:lnTo>
                      <a:pt x="1052" y="318"/>
                    </a:lnTo>
                    <a:lnTo>
                      <a:pt x="1050" y="316"/>
                    </a:lnTo>
                    <a:lnTo>
                      <a:pt x="1046" y="314"/>
                    </a:lnTo>
                    <a:lnTo>
                      <a:pt x="1042" y="314"/>
                    </a:lnTo>
                    <a:lnTo>
                      <a:pt x="1039" y="316"/>
                    </a:lnTo>
                    <a:lnTo>
                      <a:pt x="1036" y="316"/>
                    </a:lnTo>
                    <a:lnTo>
                      <a:pt x="1035" y="318"/>
                    </a:lnTo>
                    <a:lnTo>
                      <a:pt x="1034" y="321"/>
                    </a:lnTo>
                    <a:lnTo>
                      <a:pt x="1031" y="322"/>
                    </a:lnTo>
                    <a:lnTo>
                      <a:pt x="1029" y="323"/>
                    </a:lnTo>
                    <a:lnTo>
                      <a:pt x="1025" y="323"/>
                    </a:lnTo>
                    <a:lnTo>
                      <a:pt x="1021" y="323"/>
                    </a:lnTo>
                    <a:lnTo>
                      <a:pt x="1019" y="322"/>
                    </a:lnTo>
                    <a:lnTo>
                      <a:pt x="1015" y="322"/>
                    </a:lnTo>
                    <a:lnTo>
                      <a:pt x="1012" y="321"/>
                    </a:lnTo>
                    <a:lnTo>
                      <a:pt x="1010" y="319"/>
                    </a:lnTo>
                    <a:lnTo>
                      <a:pt x="1008" y="318"/>
                    </a:lnTo>
                    <a:lnTo>
                      <a:pt x="1005" y="317"/>
                    </a:lnTo>
                    <a:lnTo>
                      <a:pt x="1005" y="316"/>
                    </a:lnTo>
                    <a:lnTo>
                      <a:pt x="1006" y="313"/>
                    </a:lnTo>
                    <a:lnTo>
                      <a:pt x="1008" y="309"/>
                    </a:lnTo>
                    <a:lnTo>
                      <a:pt x="1008" y="307"/>
                    </a:lnTo>
                    <a:lnTo>
                      <a:pt x="1001" y="302"/>
                    </a:lnTo>
                    <a:lnTo>
                      <a:pt x="993" y="299"/>
                    </a:lnTo>
                    <a:lnTo>
                      <a:pt x="983" y="298"/>
                    </a:lnTo>
                    <a:lnTo>
                      <a:pt x="974" y="297"/>
                    </a:lnTo>
                    <a:lnTo>
                      <a:pt x="964" y="292"/>
                    </a:lnTo>
                    <a:lnTo>
                      <a:pt x="958" y="286"/>
                    </a:lnTo>
                    <a:lnTo>
                      <a:pt x="953" y="278"/>
                    </a:lnTo>
                    <a:lnTo>
                      <a:pt x="950" y="276"/>
                    </a:lnTo>
                    <a:lnTo>
                      <a:pt x="949" y="272"/>
                    </a:lnTo>
                    <a:lnTo>
                      <a:pt x="948" y="270"/>
                    </a:lnTo>
                    <a:lnTo>
                      <a:pt x="948" y="266"/>
                    </a:lnTo>
                    <a:lnTo>
                      <a:pt x="948" y="265"/>
                    </a:lnTo>
                    <a:lnTo>
                      <a:pt x="948" y="262"/>
                    </a:lnTo>
                    <a:lnTo>
                      <a:pt x="948" y="260"/>
                    </a:lnTo>
                    <a:lnTo>
                      <a:pt x="948" y="257"/>
                    </a:lnTo>
                    <a:lnTo>
                      <a:pt x="949" y="256"/>
                    </a:lnTo>
                    <a:lnTo>
                      <a:pt x="950" y="256"/>
                    </a:lnTo>
                    <a:lnTo>
                      <a:pt x="961" y="250"/>
                    </a:lnTo>
                    <a:lnTo>
                      <a:pt x="973" y="246"/>
                    </a:lnTo>
                    <a:lnTo>
                      <a:pt x="984" y="242"/>
                    </a:lnTo>
                    <a:lnTo>
                      <a:pt x="989" y="242"/>
                    </a:lnTo>
                    <a:lnTo>
                      <a:pt x="994" y="241"/>
                    </a:lnTo>
                    <a:lnTo>
                      <a:pt x="998" y="238"/>
                    </a:lnTo>
                    <a:lnTo>
                      <a:pt x="1003" y="237"/>
                    </a:lnTo>
                    <a:lnTo>
                      <a:pt x="1005" y="236"/>
                    </a:lnTo>
                    <a:lnTo>
                      <a:pt x="1009" y="235"/>
                    </a:lnTo>
                    <a:lnTo>
                      <a:pt x="1012" y="232"/>
                    </a:lnTo>
                    <a:lnTo>
                      <a:pt x="1015" y="231"/>
                    </a:lnTo>
                    <a:lnTo>
                      <a:pt x="1016" y="230"/>
                    </a:lnTo>
                    <a:lnTo>
                      <a:pt x="1016" y="227"/>
                    </a:lnTo>
                    <a:lnTo>
                      <a:pt x="1017" y="226"/>
                    </a:lnTo>
                    <a:lnTo>
                      <a:pt x="1019" y="225"/>
                    </a:lnTo>
                    <a:lnTo>
                      <a:pt x="1020" y="225"/>
                    </a:lnTo>
                    <a:lnTo>
                      <a:pt x="1024" y="224"/>
                    </a:lnTo>
                    <a:lnTo>
                      <a:pt x="1026" y="225"/>
                    </a:lnTo>
                    <a:lnTo>
                      <a:pt x="1029" y="225"/>
                    </a:lnTo>
                    <a:lnTo>
                      <a:pt x="1032" y="225"/>
                    </a:lnTo>
                    <a:lnTo>
                      <a:pt x="1035" y="225"/>
                    </a:lnTo>
                    <a:lnTo>
                      <a:pt x="1037" y="225"/>
                    </a:lnTo>
                    <a:lnTo>
                      <a:pt x="1039" y="224"/>
                    </a:lnTo>
                    <a:lnTo>
                      <a:pt x="1041" y="224"/>
                    </a:lnTo>
                    <a:lnTo>
                      <a:pt x="1044" y="222"/>
                    </a:lnTo>
                    <a:lnTo>
                      <a:pt x="1046" y="221"/>
                    </a:lnTo>
                    <a:lnTo>
                      <a:pt x="1049" y="221"/>
                    </a:lnTo>
                    <a:lnTo>
                      <a:pt x="1050" y="222"/>
                    </a:lnTo>
                    <a:lnTo>
                      <a:pt x="1050" y="222"/>
                    </a:lnTo>
                    <a:lnTo>
                      <a:pt x="1052" y="224"/>
                    </a:lnTo>
                    <a:lnTo>
                      <a:pt x="1060" y="224"/>
                    </a:lnTo>
                    <a:lnTo>
                      <a:pt x="1066" y="222"/>
                    </a:lnTo>
                    <a:lnTo>
                      <a:pt x="1070" y="219"/>
                    </a:lnTo>
                    <a:lnTo>
                      <a:pt x="1075" y="215"/>
                    </a:lnTo>
                    <a:lnTo>
                      <a:pt x="1080" y="211"/>
                    </a:lnTo>
                    <a:lnTo>
                      <a:pt x="1083" y="210"/>
                    </a:lnTo>
                    <a:lnTo>
                      <a:pt x="1086" y="207"/>
                    </a:lnTo>
                    <a:lnTo>
                      <a:pt x="1088" y="206"/>
                    </a:lnTo>
                    <a:lnTo>
                      <a:pt x="1090" y="204"/>
                    </a:lnTo>
                    <a:lnTo>
                      <a:pt x="1090" y="200"/>
                    </a:lnTo>
                    <a:lnTo>
                      <a:pt x="1088" y="197"/>
                    </a:lnTo>
                    <a:lnTo>
                      <a:pt x="1086" y="195"/>
                    </a:lnTo>
                    <a:lnTo>
                      <a:pt x="1085" y="194"/>
                    </a:lnTo>
                    <a:lnTo>
                      <a:pt x="1082" y="192"/>
                    </a:lnTo>
                    <a:lnTo>
                      <a:pt x="1080" y="190"/>
                    </a:lnTo>
                    <a:lnTo>
                      <a:pt x="1079" y="189"/>
                    </a:lnTo>
                    <a:lnTo>
                      <a:pt x="1077" y="187"/>
                    </a:lnTo>
                    <a:lnTo>
                      <a:pt x="1076" y="186"/>
                    </a:lnTo>
                    <a:lnTo>
                      <a:pt x="1076" y="185"/>
                    </a:lnTo>
                    <a:lnTo>
                      <a:pt x="1077" y="184"/>
                    </a:lnTo>
                    <a:lnTo>
                      <a:pt x="1080" y="182"/>
                    </a:lnTo>
                    <a:lnTo>
                      <a:pt x="1082" y="182"/>
                    </a:lnTo>
                    <a:lnTo>
                      <a:pt x="1085" y="182"/>
                    </a:lnTo>
                    <a:lnTo>
                      <a:pt x="1087" y="182"/>
                    </a:lnTo>
                    <a:lnTo>
                      <a:pt x="1088" y="181"/>
                    </a:lnTo>
                    <a:lnTo>
                      <a:pt x="1088" y="181"/>
                    </a:lnTo>
                    <a:lnTo>
                      <a:pt x="1090" y="180"/>
                    </a:lnTo>
                    <a:lnTo>
                      <a:pt x="1088" y="179"/>
                    </a:lnTo>
                    <a:lnTo>
                      <a:pt x="1086" y="178"/>
                    </a:lnTo>
                    <a:lnTo>
                      <a:pt x="1083" y="178"/>
                    </a:lnTo>
                    <a:lnTo>
                      <a:pt x="1082" y="176"/>
                    </a:lnTo>
                    <a:lnTo>
                      <a:pt x="1081" y="175"/>
                    </a:lnTo>
                    <a:lnTo>
                      <a:pt x="1080" y="175"/>
                    </a:lnTo>
                    <a:lnTo>
                      <a:pt x="1082" y="175"/>
                    </a:lnTo>
                    <a:lnTo>
                      <a:pt x="1083" y="174"/>
                    </a:lnTo>
                    <a:lnTo>
                      <a:pt x="1085" y="173"/>
                    </a:lnTo>
                    <a:lnTo>
                      <a:pt x="1085" y="173"/>
                    </a:lnTo>
                    <a:lnTo>
                      <a:pt x="1083" y="173"/>
                    </a:lnTo>
                    <a:lnTo>
                      <a:pt x="1080" y="170"/>
                    </a:lnTo>
                    <a:lnTo>
                      <a:pt x="1077" y="170"/>
                    </a:lnTo>
                    <a:lnTo>
                      <a:pt x="1075" y="170"/>
                    </a:lnTo>
                    <a:lnTo>
                      <a:pt x="1070" y="170"/>
                    </a:lnTo>
                    <a:lnTo>
                      <a:pt x="1070" y="170"/>
                    </a:lnTo>
                    <a:lnTo>
                      <a:pt x="1069" y="170"/>
                    </a:lnTo>
                    <a:lnTo>
                      <a:pt x="1069" y="171"/>
                    </a:lnTo>
                    <a:lnTo>
                      <a:pt x="1069" y="171"/>
                    </a:lnTo>
                    <a:lnTo>
                      <a:pt x="1067" y="173"/>
                    </a:lnTo>
                    <a:lnTo>
                      <a:pt x="1062" y="171"/>
                    </a:lnTo>
                    <a:lnTo>
                      <a:pt x="1057" y="169"/>
                    </a:lnTo>
                    <a:lnTo>
                      <a:pt x="1052" y="166"/>
                    </a:lnTo>
                    <a:lnTo>
                      <a:pt x="1049" y="166"/>
                    </a:lnTo>
                    <a:lnTo>
                      <a:pt x="1046" y="165"/>
                    </a:lnTo>
                    <a:lnTo>
                      <a:pt x="1044" y="165"/>
                    </a:lnTo>
                    <a:lnTo>
                      <a:pt x="1040" y="165"/>
                    </a:lnTo>
                    <a:lnTo>
                      <a:pt x="1037" y="165"/>
                    </a:lnTo>
                    <a:lnTo>
                      <a:pt x="1036" y="164"/>
                    </a:lnTo>
                    <a:lnTo>
                      <a:pt x="1035" y="161"/>
                    </a:lnTo>
                    <a:lnTo>
                      <a:pt x="1034" y="158"/>
                    </a:lnTo>
                    <a:lnTo>
                      <a:pt x="1034" y="156"/>
                    </a:lnTo>
                    <a:lnTo>
                      <a:pt x="1034" y="154"/>
                    </a:lnTo>
                    <a:lnTo>
                      <a:pt x="1034" y="153"/>
                    </a:lnTo>
                    <a:lnTo>
                      <a:pt x="1034" y="150"/>
                    </a:lnTo>
                    <a:lnTo>
                      <a:pt x="1035" y="148"/>
                    </a:lnTo>
                    <a:lnTo>
                      <a:pt x="1036" y="145"/>
                    </a:lnTo>
                    <a:lnTo>
                      <a:pt x="1039" y="144"/>
                    </a:lnTo>
                    <a:lnTo>
                      <a:pt x="1040" y="141"/>
                    </a:lnTo>
                    <a:lnTo>
                      <a:pt x="1041" y="140"/>
                    </a:lnTo>
                    <a:lnTo>
                      <a:pt x="1044" y="139"/>
                    </a:lnTo>
                    <a:lnTo>
                      <a:pt x="1046" y="138"/>
                    </a:lnTo>
                    <a:lnTo>
                      <a:pt x="1046" y="135"/>
                    </a:lnTo>
                    <a:lnTo>
                      <a:pt x="1046" y="135"/>
                    </a:lnTo>
                    <a:lnTo>
                      <a:pt x="1046" y="134"/>
                    </a:lnTo>
                    <a:lnTo>
                      <a:pt x="1046" y="131"/>
                    </a:lnTo>
                    <a:lnTo>
                      <a:pt x="1046" y="130"/>
                    </a:lnTo>
                    <a:lnTo>
                      <a:pt x="1046" y="128"/>
                    </a:lnTo>
                    <a:lnTo>
                      <a:pt x="1046" y="128"/>
                    </a:lnTo>
                    <a:lnTo>
                      <a:pt x="1046" y="128"/>
                    </a:lnTo>
                    <a:lnTo>
                      <a:pt x="1050" y="128"/>
                    </a:lnTo>
                    <a:lnTo>
                      <a:pt x="1052" y="129"/>
                    </a:lnTo>
                    <a:lnTo>
                      <a:pt x="1055" y="130"/>
                    </a:lnTo>
                    <a:lnTo>
                      <a:pt x="1057" y="130"/>
                    </a:lnTo>
                    <a:lnTo>
                      <a:pt x="1061" y="129"/>
                    </a:lnTo>
                    <a:lnTo>
                      <a:pt x="1064" y="128"/>
                    </a:lnTo>
                    <a:lnTo>
                      <a:pt x="1065" y="125"/>
                    </a:lnTo>
                    <a:lnTo>
                      <a:pt x="1066" y="123"/>
                    </a:lnTo>
                    <a:lnTo>
                      <a:pt x="1067" y="120"/>
                    </a:lnTo>
                    <a:lnTo>
                      <a:pt x="1069" y="118"/>
                    </a:lnTo>
                    <a:lnTo>
                      <a:pt x="1070" y="115"/>
                    </a:lnTo>
                    <a:lnTo>
                      <a:pt x="1072" y="112"/>
                    </a:lnTo>
                    <a:lnTo>
                      <a:pt x="1075" y="110"/>
                    </a:lnTo>
                    <a:lnTo>
                      <a:pt x="1077" y="109"/>
                    </a:lnTo>
                    <a:lnTo>
                      <a:pt x="1080" y="107"/>
                    </a:lnTo>
                    <a:lnTo>
                      <a:pt x="1083" y="104"/>
                    </a:lnTo>
                    <a:lnTo>
                      <a:pt x="1086" y="103"/>
                    </a:lnTo>
                    <a:lnTo>
                      <a:pt x="1088" y="102"/>
                    </a:lnTo>
                    <a:lnTo>
                      <a:pt x="1097" y="102"/>
                    </a:lnTo>
                    <a:lnTo>
                      <a:pt x="1105" y="105"/>
                    </a:lnTo>
                    <a:lnTo>
                      <a:pt x="1112" y="108"/>
                    </a:lnTo>
                    <a:lnTo>
                      <a:pt x="1120" y="109"/>
                    </a:lnTo>
                    <a:lnTo>
                      <a:pt x="1123" y="110"/>
                    </a:lnTo>
                    <a:lnTo>
                      <a:pt x="1126" y="109"/>
                    </a:lnTo>
                    <a:lnTo>
                      <a:pt x="1127" y="108"/>
                    </a:lnTo>
                    <a:lnTo>
                      <a:pt x="1127" y="107"/>
                    </a:lnTo>
                    <a:lnTo>
                      <a:pt x="1127" y="105"/>
                    </a:lnTo>
                    <a:lnTo>
                      <a:pt x="1127" y="103"/>
                    </a:lnTo>
                    <a:lnTo>
                      <a:pt x="1127" y="100"/>
                    </a:lnTo>
                    <a:lnTo>
                      <a:pt x="1127" y="98"/>
                    </a:lnTo>
                    <a:lnTo>
                      <a:pt x="1127" y="95"/>
                    </a:lnTo>
                    <a:lnTo>
                      <a:pt x="1128" y="94"/>
                    </a:lnTo>
                    <a:lnTo>
                      <a:pt x="1130" y="92"/>
                    </a:lnTo>
                    <a:lnTo>
                      <a:pt x="1130" y="89"/>
                    </a:lnTo>
                    <a:lnTo>
                      <a:pt x="1131" y="87"/>
                    </a:lnTo>
                    <a:lnTo>
                      <a:pt x="1130" y="84"/>
                    </a:lnTo>
                    <a:lnTo>
                      <a:pt x="1128" y="80"/>
                    </a:lnTo>
                    <a:lnTo>
                      <a:pt x="1125" y="78"/>
                    </a:lnTo>
                    <a:lnTo>
                      <a:pt x="1122" y="76"/>
                    </a:lnTo>
                    <a:lnTo>
                      <a:pt x="1120" y="73"/>
                    </a:lnTo>
                    <a:lnTo>
                      <a:pt x="1117" y="71"/>
                    </a:lnTo>
                    <a:lnTo>
                      <a:pt x="1115" y="68"/>
                    </a:lnTo>
                    <a:lnTo>
                      <a:pt x="1113" y="66"/>
                    </a:lnTo>
                    <a:lnTo>
                      <a:pt x="1113" y="63"/>
                    </a:lnTo>
                    <a:lnTo>
                      <a:pt x="1115" y="61"/>
                    </a:lnTo>
                    <a:lnTo>
                      <a:pt x="1125" y="57"/>
                    </a:lnTo>
                    <a:lnTo>
                      <a:pt x="1136" y="58"/>
                    </a:lnTo>
                    <a:lnTo>
                      <a:pt x="1141" y="62"/>
                    </a:lnTo>
                    <a:lnTo>
                      <a:pt x="1146" y="67"/>
                    </a:lnTo>
                    <a:lnTo>
                      <a:pt x="1151" y="71"/>
                    </a:lnTo>
                    <a:lnTo>
                      <a:pt x="1159" y="73"/>
                    </a:lnTo>
                    <a:lnTo>
                      <a:pt x="1163" y="76"/>
                    </a:lnTo>
                    <a:lnTo>
                      <a:pt x="1167" y="78"/>
                    </a:lnTo>
                    <a:lnTo>
                      <a:pt x="1172" y="80"/>
                    </a:lnTo>
                    <a:lnTo>
                      <a:pt x="1176" y="83"/>
                    </a:lnTo>
                    <a:lnTo>
                      <a:pt x="1178" y="87"/>
                    </a:lnTo>
                    <a:lnTo>
                      <a:pt x="1182" y="89"/>
                    </a:lnTo>
                    <a:lnTo>
                      <a:pt x="1186" y="92"/>
                    </a:lnTo>
                    <a:lnTo>
                      <a:pt x="1187" y="93"/>
                    </a:lnTo>
                    <a:lnTo>
                      <a:pt x="1189" y="93"/>
                    </a:lnTo>
                    <a:lnTo>
                      <a:pt x="1192" y="94"/>
                    </a:lnTo>
                    <a:lnTo>
                      <a:pt x="1193" y="94"/>
                    </a:lnTo>
                    <a:lnTo>
                      <a:pt x="1193" y="94"/>
                    </a:lnTo>
                    <a:lnTo>
                      <a:pt x="1193" y="93"/>
                    </a:lnTo>
                    <a:lnTo>
                      <a:pt x="1193" y="92"/>
                    </a:lnTo>
                    <a:lnTo>
                      <a:pt x="1191" y="88"/>
                    </a:lnTo>
                    <a:lnTo>
                      <a:pt x="1187" y="85"/>
                    </a:lnTo>
                    <a:lnTo>
                      <a:pt x="1184" y="83"/>
                    </a:lnTo>
                    <a:lnTo>
                      <a:pt x="1179" y="80"/>
                    </a:lnTo>
                    <a:lnTo>
                      <a:pt x="1164" y="72"/>
                    </a:lnTo>
                    <a:lnTo>
                      <a:pt x="1151" y="63"/>
                    </a:lnTo>
                    <a:lnTo>
                      <a:pt x="1150" y="62"/>
                    </a:lnTo>
                    <a:lnTo>
                      <a:pt x="1147" y="59"/>
                    </a:lnTo>
                    <a:lnTo>
                      <a:pt x="1146" y="58"/>
                    </a:lnTo>
                    <a:lnTo>
                      <a:pt x="1143" y="56"/>
                    </a:lnTo>
                    <a:lnTo>
                      <a:pt x="1143" y="54"/>
                    </a:lnTo>
                    <a:lnTo>
                      <a:pt x="1143" y="52"/>
                    </a:lnTo>
                    <a:lnTo>
                      <a:pt x="1159" y="52"/>
                    </a:lnTo>
                    <a:lnTo>
                      <a:pt x="1163" y="52"/>
                    </a:lnTo>
                    <a:lnTo>
                      <a:pt x="1168" y="52"/>
                    </a:lnTo>
                    <a:lnTo>
                      <a:pt x="1173" y="52"/>
                    </a:lnTo>
                    <a:lnTo>
                      <a:pt x="1177" y="49"/>
                    </a:lnTo>
                    <a:lnTo>
                      <a:pt x="1179" y="49"/>
                    </a:lnTo>
                    <a:lnTo>
                      <a:pt x="1182" y="48"/>
                    </a:lnTo>
                    <a:lnTo>
                      <a:pt x="1184" y="48"/>
                    </a:lnTo>
                    <a:lnTo>
                      <a:pt x="1188" y="47"/>
                    </a:lnTo>
                    <a:lnTo>
                      <a:pt x="1193" y="47"/>
                    </a:lnTo>
                    <a:lnTo>
                      <a:pt x="1197" y="47"/>
                    </a:lnTo>
                    <a:lnTo>
                      <a:pt x="1199" y="46"/>
                    </a:lnTo>
                    <a:lnTo>
                      <a:pt x="1201" y="44"/>
                    </a:lnTo>
                    <a:lnTo>
                      <a:pt x="1203" y="44"/>
                    </a:lnTo>
                    <a:lnTo>
                      <a:pt x="1206" y="43"/>
                    </a:lnTo>
                    <a:lnTo>
                      <a:pt x="1208" y="42"/>
                    </a:lnTo>
                    <a:lnTo>
                      <a:pt x="1212" y="42"/>
                    </a:lnTo>
                    <a:lnTo>
                      <a:pt x="1216" y="42"/>
                    </a:lnTo>
                    <a:lnTo>
                      <a:pt x="1218" y="43"/>
                    </a:lnTo>
                    <a:lnTo>
                      <a:pt x="1221" y="44"/>
                    </a:lnTo>
                    <a:lnTo>
                      <a:pt x="1223" y="46"/>
                    </a:lnTo>
                    <a:lnTo>
                      <a:pt x="1224" y="47"/>
                    </a:lnTo>
                    <a:lnTo>
                      <a:pt x="1226" y="48"/>
                    </a:lnTo>
                    <a:lnTo>
                      <a:pt x="1227" y="51"/>
                    </a:lnTo>
                    <a:lnTo>
                      <a:pt x="1229" y="52"/>
                    </a:lnTo>
                    <a:lnTo>
                      <a:pt x="1232" y="53"/>
                    </a:lnTo>
                    <a:lnTo>
                      <a:pt x="1233" y="54"/>
                    </a:lnTo>
                    <a:lnTo>
                      <a:pt x="1235" y="56"/>
                    </a:lnTo>
                    <a:lnTo>
                      <a:pt x="1237" y="57"/>
                    </a:lnTo>
                    <a:lnTo>
                      <a:pt x="1238" y="58"/>
                    </a:lnTo>
                    <a:lnTo>
                      <a:pt x="1238" y="66"/>
                    </a:lnTo>
                    <a:lnTo>
                      <a:pt x="1239" y="76"/>
                    </a:lnTo>
                    <a:lnTo>
                      <a:pt x="1240" y="87"/>
                    </a:lnTo>
                    <a:lnTo>
                      <a:pt x="1240" y="87"/>
                    </a:lnTo>
                    <a:lnTo>
                      <a:pt x="1240" y="88"/>
                    </a:lnTo>
                    <a:lnTo>
                      <a:pt x="1240" y="90"/>
                    </a:lnTo>
                    <a:lnTo>
                      <a:pt x="1240" y="92"/>
                    </a:lnTo>
                    <a:lnTo>
                      <a:pt x="1242" y="93"/>
                    </a:lnTo>
                    <a:lnTo>
                      <a:pt x="1243" y="94"/>
                    </a:lnTo>
                    <a:lnTo>
                      <a:pt x="1244" y="93"/>
                    </a:lnTo>
                    <a:lnTo>
                      <a:pt x="1245" y="92"/>
                    </a:lnTo>
                    <a:lnTo>
                      <a:pt x="1247" y="90"/>
                    </a:lnTo>
                    <a:lnTo>
                      <a:pt x="1248" y="89"/>
                    </a:lnTo>
                    <a:lnTo>
                      <a:pt x="1248" y="89"/>
                    </a:lnTo>
                    <a:lnTo>
                      <a:pt x="1248" y="84"/>
                    </a:lnTo>
                    <a:lnTo>
                      <a:pt x="1247" y="78"/>
                    </a:lnTo>
                    <a:lnTo>
                      <a:pt x="1245" y="73"/>
                    </a:lnTo>
                    <a:lnTo>
                      <a:pt x="1245" y="68"/>
                    </a:lnTo>
                    <a:lnTo>
                      <a:pt x="1247" y="67"/>
                    </a:lnTo>
                    <a:lnTo>
                      <a:pt x="1248" y="66"/>
                    </a:lnTo>
                    <a:lnTo>
                      <a:pt x="1248" y="66"/>
                    </a:lnTo>
                    <a:lnTo>
                      <a:pt x="1248" y="64"/>
                    </a:lnTo>
                    <a:lnTo>
                      <a:pt x="1247" y="62"/>
                    </a:lnTo>
                    <a:lnTo>
                      <a:pt x="1245" y="61"/>
                    </a:lnTo>
                    <a:lnTo>
                      <a:pt x="1243" y="58"/>
                    </a:lnTo>
                    <a:lnTo>
                      <a:pt x="1240" y="56"/>
                    </a:lnTo>
                    <a:lnTo>
                      <a:pt x="1240" y="52"/>
                    </a:lnTo>
                    <a:lnTo>
                      <a:pt x="1239" y="51"/>
                    </a:lnTo>
                    <a:lnTo>
                      <a:pt x="1240" y="49"/>
                    </a:lnTo>
                    <a:lnTo>
                      <a:pt x="1240" y="49"/>
                    </a:lnTo>
                    <a:lnTo>
                      <a:pt x="1243" y="49"/>
                    </a:lnTo>
                    <a:lnTo>
                      <a:pt x="1244" y="51"/>
                    </a:lnTo>
                    <a:lnTo>
                      <a:pt x="1245" y="52"/>
                    </a:lnTo>
                    <a:lnTo>
                      <a:pt x="1248" y="54"/>
                    </a:lnTo>
                    <a:lnTo>
                      <a:pt x="1249" y="56"/>
                    </a:lnTo>
                    <a:lnTo>
                      <a:pt x="1250" y="58"/>
                    </a:lnTo>
                    <a:lnTo>
                      <a:pt x="1253" y="61"/>
                    </a:lnTo>
                    <a:lnTo>
                      <a:pt x="1257" y="63"/>
                    </a:lnTo>
                    <a:lnTo>
                      <a:pt x="1260" y="66"/>
                    </a:lnTo>
                    <a:lnTo>
                      <a:pt x="1264" y="67"/>
                    </a:lnTo>
                    <a:lnTo>
                      <a:pt x="1265" y="69"/>
                    </a:lnTo>
                    <a:lnTo>
                      <a:pt x="1267" y="71"/>
                    </a:lnTo>
                    <a:lnTo>
                      <a:pt x="1267" y="71"/>
                    </a:lnTo>
                    <a:lnTo>
                      <a:pt x="1267" y="74"/>
                    </a:lnTo>
                    <a:lnTo>
                      <a:pt x="1268" y="78"/>
                    </a:lnTo>
                    <a:lnTo>
                      <a:pt x="1270" y="82"/>
                    </a:lnTo>
                    <a:lnTo>
                      <a:pt x="1274" y="84"/>
                    </a:lnTo>
                    <a:lnTo>
                      <a:pt x="1277" y="85"/>
                    </a:lnTo>
                    <a:lnTo>
                      <a:pt x="1279" y="87"/>
                    </a:lnTo>
                    <a:lnTo>
                      <a:pt x="1282" y="88"/>
                    </a:lnTo>
                    <a:lnTo>
                      <a:pt x="1284" y="89"/>
                    </a:lnTo>
                    <a:lnTo>
                      <a:pt x="1287" y="89"/>
                    </a:lnTo>
                    <a:lnTo>
                      <a:pt x="1287" y="88"/>
                    </a:lnTo>
                    <a:lnTo>
                      <a:pt x="1287" y="87"/>
                    </a:lnTo>
                    <a:lnTo>
                      <a:pt x="1285" y="87"/>
                    </a:lnTo>
                    <a:lnTo>
                      <a:pt x="1285" y="85"/>
                    </a:lnTo>
                    <a:lnTo>
                      <a:pt x="1284" y="84"/>
                    </a:lnTo>
                    <a:lnTo>
                      <a:pt x="1282" y="82"/>
                    </a:lnTo>
                    <a:lnTo>
                      <a:pt x="1280" y="80"/>
                    </a:lnTo>
                    <a:lnTo>
                      <a:pt x="1280" y="80"/>
                    </a:lnTo>
                    <a:lnTo>
                      <a:pt x="1282" y="79"/>
                    </a:lnTo>
                    <a:lnTo>
                      <a:pt x="1284" y="79"/>
                    </a:lnTo>
                    <a:lnTo>
                      <a:pt x="1287" y="79"/>
                    </a:lnTo>
                    <a:lnTo>
                      <a:pt x="1289" y="79"/>
                    </a:lnTo>
                    <a:lnTo>
                      <a:pt x="1292" y="80"/>
                    </a:lnTo>
                    <a:lnTo>
                      <a:pt x="1295" y="80"/>
                    </a:lnTo>
                    <a:lnTo>
                      <a:pt x="1298" y="82"/>
                    </a:lnTo>
                    <a:lnTo>
                      <a:pt x="1300" y="83"/>
                    </a:lnTo>
                    <a:lnTo>
                      <a:pt x="1301" y="83"/>
                    </a:lnTo>
                    <a:lnTo>
                      <a:pt x="1303" y="83"/>
                    </a:lnTo>
                    <a:lnTo>
                      <a:pt x="1304" y="82"/>
                    </a:lnTo>
                    <a:lnTo>
                      <a:pt x="1303" y="80"/>
                    </a:lnTo>
                    <a:lnTo>
                      <a:pt x="1303" y="79"/>
                    </a:lnTo>
                    <a:lnTo>
                      <a:pt x="1300" y="77"/>
                    </a:lnTo>
                    <a:lnTo>
                      <a:pt x="1299" y="77"/>
                    </a:lnTo>
                    <a:lnTo>
                      <a:pt x="1297" y="76"/>
                    </a:lnTo>
                    <a:lnTo>
                      <a:pt x="1294" y="74"/>
                    </a:lnTo>
                    <a:lnTo>
                      <a:pt x="1293" y="73"/>
                    </a:lnTo>
                    <a:lnTo>
                      <a:pt x="1283" y="67"/>
                    </a:lnTo>
                    <a:lnTo>
                      <a:pt x="1277" y="59"/>
                    </a:lnTo>
                    <a:lnTo>
                      <a:pt x="1272" y="52"/>
                    </a:lnTo>
                    <a:lnTo>
                      <a:pt x="1270" y="51"/>
                    </a:lnTo>
                    <a:lnTo>
                      <a:pt x="1269" y="49"/>
                    </a:lnTo>
                    <a:lnTo>
                      <a:pt x="1267" y="47"/>
                    </a:lnTo>
                    <a:lnTo>
                      <a:pt x="1265" y="46"/>
                    </a:lnTo>
                    <a:lnTo>
                      <a:pt x="1264" y="44"/>
                    </a:lnTo>
                    <a:lnTo>
                      <a:pt x="1263" y="42"/>
                    </a:lnTo>
                    <a:lnTo>
                      <a:pt x="1263" y="41"/>
                    </a:lnTo>
                    <a:lnTo>
                      <a:pt x="1264" y="41"/>
                    </a:lnTo>
                    <a:lnTo>
                      <a:pt x="1265" y="39"/>
                    </a:lnTo>
                    <a:lnTo>
                      <a:pt x="1269" y="39"/>
                    </a:lnTo>
                    <a:lnTo>
                      <a:pt x="1277" y="41"/>
                    </a:lnTo>
                    <a:lnTo>
                      <a:pt x="1285" y="42"/>
                    </a:lnTo>
                    <a:lnTo>
                      <a:pt x="1293" y="44"/>
                    </a:lnTo>
                    <a:lnTo>
                      <a:pt x="1295" y="47"/>
                    </a:lnTo>
                    <a:lnTo>
                      <a:pt x="1299" y="49"/>
                    </a:lnTo>
                    <a:lnTo>
                      <a:pt x="1301" y="53"/>
                    </a:lnTo>
                    <a:lnTo>
                      <a:pt x="1305" y="56"/>
                    </a:lnTo>
                    <a:lnTo>
                      <a:pt x="1321" y="63"/>
                    </a:lnTo>
                    <a:lnTo>
                      <a:pt x="1336" y="72"/>
                    </a:lnTo>
                    <a:lnTo>
                      <a:pt x="1353" y="80"/>
                    </a:lnTo>
                    <a:lnTo>
                      <a:pt x="1355" y="84"/>
                    </a:lnTo>
                    <a:lnTo>
                      <a:pt x="1356" y="87"/>
                    </a:lnTo>
                    <a:lnTo>
                      <a:pt x="1359" y="89"/>
                    </a:lnTo>
                    <a:lnTo>
                      <a:pt x="1360" y="92"/>
                    </a:lnTo>
                    <a:lnTo>
                      <a:pt x="1363" y="94"/>
                    </a:lnTo>
                    <a:lnTo>
                      <a:pt x="1366" y="97"/>
                    </a:lnTo>
                    <a:lnTo>
                      <a:pt x="1371" y="99"/>
                    </a:lnTo>
                    <a:lnTo>
                      <a:pt x="1376" y="102"/>
                    </a:lnTo>
                    <a:lnTo>
                      <a:pt x="1377" y="103"/>
                    </a:lnTo>
                    <a:lnTo>
                      <a:pt x="1379" y="103"/>
                    </a:lnTo>
                    <a:lnTo>
                      <a:pt x="1379" y="103"/>
                    </a:lnTo>
                    <a:lnTo>
                      <a:pt x="1379" y="102"/>
                    </a:lnTo>
                    <a:lnTo>
                      <a:pt x="1379" y="100"/>
                    </a:lnTo>
                    <a:lnTo>
                      <a:pt x="1379" y="99"/>
                    </a:lnTo>
                    <a:lnTo>
                      <a:pt x="1376" y="97"/>
                    </a:lnTo>
                    <a:lnTo>
                      <a:pt x="1374" y="95"/>
                    </a:lnTo>
                    <a:lnTo>
                      <a:pt x="1370" y="94"/>
                    </a:lnTo>
                    <a:lnTo>
                      <a:pt x="1369" y="90"/>
                    </a:lnTo>
                    <a:lnTo>
                      <a:pt x="1368" y="88"/>
                    </a:lnTo>
                    <a:lnTo>
                      <a:pt x="1366" y="85"/>
                    </a:lnTo>
                    <a:lnTo>
                      <a:pt x="1366" y="83"/>
                    </a:lnTo>
                    <a:lnTo>
                      <a:pt x="1365" y="80"/>
                    </a:lnTo>
                    <a:lnTo>
                      <a:pt x="1365" y="78"/>
                    </a:lnTo>
                    <a:lnTo>
                      <a:pt x="1365" y="77"/>
                    </a:lnTo>
                    <a:lnTo>
                      <a:pt x="1365" y="76"/>
                    </a:lnTo>
                    <a:lnTo>
                      <a:pt x="1364" y="73"/>
                    </a:lnTo>
                    <a:lnTo>
                      <a:pt x="1363" y="71"/>
                    </a:lnTo>
                    <a:lnTo>
                      <a:pt x="1361" y="69"/>
                    </a:lnTo>
                    <a:lnTo>
                      <a:pt x="1361" y="68"/>
                    </a:lnTo>
                    <a:lnTo>
                      <a:pt x="1363" y="68"/>
                    </a:lnTo>
                    <a:lnTo>
                      <a:pt x="1364" y="68"/>
                    </a:lnTo>
                    <a:lnTo>
                      <a:pt x="1365" y="68"/>
                    </a:lnTo>
                    <a:lnTo>
                      <a:pt x="1369" y="69"/>
                    </a:lnTo>
                    <a:lnTo>
                      <a:pt x="1371" y="71"/>
                    </a:lnTo>
                    <a:lnTo>
                      <a:pt x="1373" y="69"/>
                    </a:lnTo>
                    <a:lnTo>
                      <a:pt x="1374" y="68"/>
                    </a:lnTo>
                    <a:lnTo>
                      <a:pt x="1373" y="64"/>
                    </a:lnTo>
                    <a:lnTo>
                      <a:pt x="1370" y="61"/>
                    </a:lnTo>
                    <a:lnTo>
                      <a:pt x="1368" y="58"/>
                    </a:lnTo>
                    <a:lnTo>
                      <a:pt x="1363" y="56"/>
                    </a:lnTo>
                    <a:lnTo>
                      <a:pt x="1359" y="52"/>
                    </a:lnTo>
                    <a:lnTo>
                      <a:pt x="1355" y="49"/>
                    </a:lnTo>
                    <a:lnTo>
                      <a:pt x="1354" y="47"/>
                    </a:lnTo>
                    <a:lnTo>
                      <a:pt x="1351" y="44"/>
                    </a:lnTo>
                    <a:lnTo>
                      <a:pt x="1349" y="42"/>
                    </a:lnTo>
                    <a:lnTo>
                      <a:pt x="1346" y="39"/>
                    </a:lnTo>
                    <a:lnTo>
                      <a:pt x="1344" y="37"/>
                    </a:lnTo>
                    <a:lnTo>
                      <a:pt x="1343" y="36"/>
                    </a:lnTo>
                    <a:lnTo>
                      <a:pt x="1341" y="34"/>
                    </a:lnTo>
                    <a:lnTo>
                      <a:pt x="1350" y="36"/>
                    </a:lnTo>
                    <a:lnTo>
                      <a:pt x="1360" y="38"/>
                    </a:lnTo>
                    <a:lnTo>
                      <a:pt x="1368" y="39"/>
                    </a:lnTo>
                    <a:lnTo>
                      <a:pt x="1376" y="39"/>
                    </a:lnTo>
                    <a:lnTo>
                      <a:pt x="1385" y="43"/>
                    </a:lnTo>
                    <a:lnTo>
                      <a:pt x="1391" y="47"/>
                    </a:lnTo>
                    <a:lnTo>
                      <a:pt x="1402" y="52"/>
                    </a:lnTo>
                    <a:lnTo>
                      <a:pt x="1412" y="58"/>
                    </a:lnTo>
                    <a:lnTo>
                      <a:pt x="1416" y="59"/>
                    </a:lnTo>
                    <a:lnTo>
                      <a:pt x="1419" y="62"/>
                    </a:lnTo>
                    <a:lnTo>
                      <a:pt x="1422" y="66"/>
                    </a:lnTo>
                    <a:lnTo>
                      <a:pt x="1425" y="67"/>
                    </a:lnTo>
                    <a:lnTo>
                      <a:pt x="1429" y="68"/>
                    </a:lnTo>
                    <a:lnTo>
                      <a:pt x="1429" y="66"/>
                    </a:lnTo>
                    <a:lnTo>
                      <a:pt x="1427" y="62"/>
                    </a:lnTo>
                    <a:lnTo>
                      <a:pt x="1427" y="61"/>
                    </a:lnTo>
                    <a:lnTo>
                      <a:pt x="1426" y="58"/>
                    </a:lnTo>
                    <a:lnTo>
                      <a:pt x="1425" y="56"/>
                    </a:lnTo>
                    <a:lnTo>
                      <a:pt x="1421" y="53"/>
                    </a:lnTo>
                    <a:lnTo>
                      <a:pt x="1417" y="49"/>
                    </a:lnTo>
                    <a:lnTo>
                      <a:pt x="1406" y="46"/>
                    </a:lnTo>
                    <a:lnTo>
                      <a:pt x="1396" y="42"/>
                    </a:lnTo>
                    <a:lnTo>
                      <a:pt x="1386" y="38"/>
                    </a:lnTo>
                    <a:lnTo>
                      <a:pt x="1376" y="34"/>
                    </a:lnTo>
                    <a:lnTo>
                      <a:pt x="1363" y="33"/>
                    </a:lnTo>
                    <a:lnTo>
                      <a:pt x="1350" y="32"/>
                    </a:lnTo>
                    <a:lnTo>
                      <a:pt x="1346" y="30"/>
                    </a:lnTo>
                    <a:lnTo>
                      <a:pt x="1343" y="28"/>
                    </a:lnTo>
                    <a:lnTo>
                      <a:pt x="1340" y="27"/>
                    </a:lnTo>
                    <a:lnTo>
                      <a:pt x="1336" y="27"/>
                    </a:lnTo>
                    <a:lnTo>
                      <a:pt x="1335" y="27"/>
                    </a:lnTo>
                    <a:lnTo>
                      <a:pt x="1333" y="27"/>
                    </a:lnTo>
                    <a:lnTo>
                      <a:pt x="1330" y="27"/>
                    </a:lnTo>
                    <a:lnTo>
                      <a:pt x="1328" y="27"/>
                    </a:lnTo>
                    <a:lnTo>
                      <a:pt x="1325" y="26"/>
                    </a:lnTo>
                    <a:lnTo>
                      <a:pt x="1324" y="23"/>
                    </a:lnTo>
                    <a:lnTo>
                      <a:pt x="1323" y="23"/>
                    </a:lnTo>
                    <a:lnTo>
                      <a:pt x="1323" y="22"/>
                    </a:lnTo>
                    <a:lnTo>
                      <a:pt x="1324" y="21"/>
                    </a:lnTo>
                    <a:lnTo>
                      <a:pt x="1325" y="21"/>
                    </a:lnTo>
                    <a:lnTo>
                      <a:pt x="1325" y="20"/>
                    </a:lnTo>
                    <a:lnTo>
                      <a:pt x="1326" y="18"/>
                    </a:lnTo>
                    <a:lnTo>
                      <a:pt x="1325" y="17"/>
                    </a:lnTo>
                    <a:lnTo>
                      <a:pt x="1324" y="16"/>
                    </a:lnTo>
                    <a:lnTo>
                      <a:pt x="1321" y="13"/>
                    </a:lnTo>
                    <a:lnTo>
                      <a:pt x="1319" y="12"/>
                    </a:lnTo>
                    <a:lnTo>
                      <a:pt x="1319" y="11"/>
                    </a:lnTo>
                    <a:lnTo>
                      <a:pt x="1318" y="10"/>
                    </a:lnTo>
                    <a:lnTo>
                      <a:pt x="1319" y="8"/>
                    </a:lnTo>
                    <a:lnTo>
                      <a:pt x="1320" y="8"/>
                    </a:lnTo>
                    <a:lnTo>
                      <a:pt x="1323" y="10"/>
                    </a:lnTo>
                    <a:lnTo>
                      <a:pt x="1326" y="11"/>
                    </a:lnTo>
                    <a:lnTo>
                      <a:pt x="1328" y="11"/>
                    </a:lnTo>
                    <a:lnTo>
                      <a:pt x="1329" y="13"/>
                    </a:lnTo>
                    <a:lnTo>
                      <a:pt x="1331" y="15"/>
                    </a:lnTo>
                    <a:lnTo>
                      <a:pt x="1334" y="17"/>
                    </a:lnTo>
                    <a:lnTo>
                      <a:pt x="1335" y="18"/>
                    </a:lnTo>
                    <a:lnTo>
                      <a:pt x="1336" y="18"/>
                    </a:lnTo>
                    <a:lnTo>
                      <a:pt x="1339" y="18"/>
                    </a:lnTo>
                    <a:lnTo>
                      <a:pt x="1340" y="17"/>
                    </a:lnTo>
                    <a:lnTo>
                      <a:pt x="1341" y="16"/>
                    </a:lnTo>
                    <a:lnTo>
                      <a:pt x="1340" y="15"/>
                    </a:lnTo>
                    <a:lnTo>
                      <a:pt x="1339" y="13"/>
                    </a:lnTo>
                    <a:lnTo>
                      <a:pt x="1338" y="12"/>
                    </a:lnTo>
                    <a:lnTo>
                      <a:pt x="1336" y="11"/>
                    </a:lnTo>
                    <a:lnTo>
                      <a:pt x="1334" y="8"/>
                    </a:lnTo>
                    <a:lnTo>
                      <a:pt x="1336" y="8"/>
                    </a:lnTo>
                    <a:lnTo>
                      <a:pt x="1343" y="10"/>
                    </a:lnTo>
                    <a:lnTo>
                      <a:pt x="1349" y="11"/>
                    </a:lnTo>
                    <a:lnTo>
                      <a:pt x="1354" y="12"/>
                    </a:lnTo>
                    <a:lnTo>
                      <a:pt x="1358" y="13"/>
                    </a:lnTo>
                    <a:lnTo>
                      <a:pt x="1359" y="13"/>
                    </a:lnTo>
                    <a:lnTo>
                      <a:pt x="1361" y="15"/>
                    </a:lnTo>
                    <a:lnTo>
                      <a:pt x="1364" y="15"/>
                    </a:lnTo>
                    <a:lnTo>
                      <a:pt x="1365" y="15"/>
                    </a:lnTo>
                    <a:lnTo>
                      <a:pt x="1365" y="13"/>
                    </a:lnTo>
                    <a:lnTo>
                      <a:pt x="1364" y="13"/>
                    </a:lnTo>
                    <a:lnTo>
                      <a:pt x="1363" y="12"/>
                    </a:lnTo>
                    <a:lnTo>
                      <a:pt x="1361" y="11"/>
                    </a:lnTo>
                    <a:lnTo>
                      <a:pt x="1360" y="11"/>
                    </a:lnTo>
                    <a:lnTo>
                      <a:pt x="1360" y="10"/>
                    </a:lnTo>
                    <a:lnTo>
                      <a:pt x="1359" y="8"/>
                    </a:lnTo>
                    <a:lnTo>
                      <a:pt x="1358" y="8"/>
                    </a:lnTo>
                    <a:lnTo>
                      <a:pt x="1358" y="8"/>
                    </a:lnTo>
                    <a:lnTo>
                      <a:pt x="1358" y="7"/>
                    </a:lnTo>
                    <a:lnTo>
                      <a:pt x="1358" y="7"/>
                    </a:lnTo>
                    <a:lnTo>
                      <a:pt x="1360" y="8"/>
                    </a:lnTo>
                    <a:lnTo>
                      <a:pt x="1361" y="8"/>
                    </a:lnTo>
                    <a:lnTo>
                      <a:pt x="1364" y="10"/>
                    </a:lnTo>
                    <a:lnTo>
                      <a:pt x="1366" y="10"/>
                    </a:lnTo>
                    <a:lnTo>
                      <a:pt x="1368" y="11"/>
                    </a:lnTo>
                    <a:lnTo>
                      <a:pt x="1368" y="11"/>
                    </a:lnTo>
                    <a:lnTo>
                      <a:pt x="1369" y="11"/>
                    </a:lnTo>
                    <a:lnTo>
                      <a:pt x="1369" y="10"/>
                    </a:lnTo>
                    <a:lnTo>
                      <a:pt x="1369" y="8"/>
                    </a:lnTo>
                    <a:lnTo>
                      <a:pt x="1368" y="7"/>
                    </a:lnTo>
                    <a:lnTo>
                      <a:pt x="1366" y="6"/>
                    </a:lnTo>
                    <a:lnTo>
                      <a:pt x="1365" y="6"/>
                    </a:lnTo>
                    <a:lnTo>
                      <a:pt x="1366" y="5"/>
                    </a:lnTo>
                    <a:lnTo>
                      <a:pt x="1368" y="3"/>
                    </a:lnTo>
                    <a:lnTo>
                      <a:pt x="1370" y="3"/>
                    </a:lnTo>
                    <a:lnTo>
                      <a:pt x="1374" y="3"/>
                    </a:lnTo>
                    <a:lnTo>
                      <a:pt x="1377" y="6"/>
                    </a:lnTo>
                    <a:lnTo>
                      <a:pt x="1381" y="8"/>
                    </a:lnTo>
                    <a:lnTo>
                      <a:pt x="1384" y="11"/>
                    </a:lnTo>
                    <a:lnTo>
                      <a:pt x="1385" y="12"/>
                    </a:lnTo>
                    <a:lnTo>
                      <a:pt x="1386" y="15"/>
                    </a:lnTo>
                    <a:lnTo>
                      <a:pt x="1387" y="16"/>
                    </a:lnTo>
                    <a:lnTo>
                      <a:pt x="1389" y="18"/>
                    </a:lnTo>
                    <a:lnTo>
                      <a:pt x="1391" y="21"/>
                    </a:lnTo>
                    <a:lnTo>
                      <a:pt x="1407" y="30"/>
                    </a:lnTo>
                    <a:lnTo>
                      <a:pt x="1415" y="33"/>
                    </a:lnTo>
                    <a:lnTo>
                      <a:pt x="1422" y="36"/>
                    </a:lnTo>
                    <a:lnTo>
                      <a:pt x="1429" y="39"/>
                    </a:lnTo>
                    <a:lnTo>
                      <a:pt x="1431" y="42"/>
                    </a:lnTo>
                    <a:lnTo>
                      <a:pt x="1434" y="43"/>
                    </a:lnTo>
                    <a:lnTo>
                      <a:pt x="1435" y="46"/>
                    </a:lnTo>
                    <a:lnTo>
                      <a:pt x="1439" y="47"/>
                    </a:lnTo>
                    <a:lnTo>
                      <a:pt x="1440" y="48"/>
                    </a:lnTo>
                    <a:lnTo>
                      <a:pt x="1441" y="48"/>
                    </a:lnTo>
                    <a:lnTo>
                      <a:pt x="1441" y="47"/>
                    </a:lnTo>
                    <a:lnTo>
                      <a:pt x="1440" y="46"/>
                    </a:lnTo>
                    <a:lnTo>
                      <a:pt x="1439" y="44"/>
                    </a:lnTo>
                    <a:lnTo>
                      <a:pt x="1437" y="43"/>
                    </a:lnTo>
                    <a:lnTo>
                      <a:pt x="1436" y="42"/>
                    </a:lnTo>
                    <a:lnTo>
                      <a:pt x="1435" y="42"/>
                    </a:lnTo>
                    <a:lnTo>
                      <a:pt x="1434" y="41"/>
                    </a:lnTo>
                    <a:lnTo>
                      <a:pt x="1432" y="39"/>
                    </a:lnTo>
                    <a:lnTo>
                      <a:pt x="1431" y="37"/>
                    </a:lnTo>
                    <a:lnTo>
                      <a:pt x="1430" y="36"/>
                    </a:lnTo>
                    <a:lnTo>
                      <a:pt x="1431" y="34"/>
                    </a:lnTo>
                    <a:lnTo>
                      <a:pt x="1432" y="34"/>
                    </a:lnTo>
                    <a:lnTo>
                      <a:pt x="1435" y="34"/>
                    </a:lnTo>
                    <a:lnTo>
                      <a:pt x="1436" y="36"/>
                    </a:lnTo>
                    <a:lnTo>
                      <a:pt x="1439" y="36"/>
                    </a:lnTo>
                    <a:lnTo>
                      <a:pt x="1441" y="36"/>
                    </a:lnTo>
                    <a:lnTo>
                      <a:pt x="1442" y="36"/>
                    </a:lnTo>
                    <a:lnTo>
                      <a:pt x="1442" y="36"/>
                    </a:lnTo>
                    <a:lnTo>
                      <a:pt x="1442" y="34"/>
                    </a:lnTo>
                    <a:lnTo>
                      <a:pt x="1441" y="33"/>
                    </a:lnTo>
                    <a:lnTo>
                      <a:pt x="1439" y="32"/>
                    </a:lnTo>
                    <a:lnTo>
                      <a:pt x="1437" y="30"/>
                    </a:lnTo>
                    <a:lnTo>
                      <a:pt x="1437" y="28"/>
                    </a:lnTo>
                    <a:lnTo>
                      <a:pt x="1437" y="28"/>
                    </a:lnTo>
                    <a:lnTo>
                      <a:pt x="1440" y="28"/>
                    </a:lnTo>
                    <a:lnTo>
                      <a:pt x="1441" y="28"/>
                    </a:lnTo>
                    <a:lnTo>
                      <a:pt x="1444" y="28"/>
                    </a:lnTo>
                    <a:lnTo>
                      <a:pt x="1446" y="28"/>
                    </a:lnTo>
                    <a:lnTo>
                      <a:pt x="1447" y="27"/>
                    </a:lnTo>
                    <a:lnTo>
                      <a:pt x="1447" y="27"/>
                    </a:lnTo>
                    <a:lnTo>
                      <a:pt x="1447" y="26"/>
                    </a:lnTo>
                    <a:lnTo>
                      <a:pt x="1446" y="23"/>
                    </a:lnTo>
                    <a:lnTo>
                      <a:pt x="1442" y="21"/>
                    </a:lnTo>
                    <a:lnTo>
                      <a:pt x="1439" y="20"/>
                    </a:lnTo>
                    <a:lnTo>
                      <a:pt x="1435" y="17"/>
                    </a:lnTo>
                    <a:lnTo>
                      <a:pt x="1431" y="16"/>
                    </a:lnTo>
                    <a:lnTo>
                      <a:pt x="1429" y="15"/>
                    </a:lnTo>
                    <a:lnTo>
                      <a:pt x="1426" y="12"/>
                    </a:lnTo>
                    <a:lnTo>
                      <a:pt x="1424" y="10"/>
                    </a:lnTo>
                    <a:lnTo>
                      <a:pt x="1422" y="8"/>
                    </a:lnTo>
                    <a:lnTo>
                      <a:pt x="1421" y="6"/>
                    </a:lnTo>
                    <a:lnTo>
                      <a:pt x="1421" y="5"/>
                    </a:lnTo>
                    <a:lnTo>
                      <a:pt x="1422" y="3"/>
                    </a:lnTo>
                    <a:lnTo>
                      <a:pt x="1424" y="2"/>
                    </a:lnTo>
                    <a:lnTo>
                      <a:pt x="1426" y="2"/>
                    </a:lnTo>
                    <a:lnTo>
                      <a:pt x="1427" y="2"/>
                    </a:lnTo>
                    <a:lnTo>
                      <a:pt x="1430" y="1"/>
                    </a:lnTo>
                    <a:lnTo>
                      <a:pt x="1431" y="1"/>
                    </a:lnTo>
                    <a:lnTo>
                      <a:pt x="1432"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sp>
            <p:nvSpPr>
              <p:cNvPr id="108" name="Freeform 11"/>
              <p:cNvSpPr>
                <a:spLocks noEditPoints="1"/>
              </p:cNvSpPr>
              <p:nvPr/>
            </p:nvSpPr>
            <p:spPr bwMode="auto">
              <a:xfrm>
                <a:off x="4935" y="-89"/>
                <a:ext cx="1358" cy="1356"/>
              </a:xfrm>
              <a:custGeom>
                <a:avLst/>
                <a:gdLst>
                  <a:gd name="T0" fmla="*/ 1951 w 4074"/>
                  <a:gd name="T1" fmla="*/ 536 h 4067"/>
                  <a:gd name="T2" fmla="*/ 1999 w 4074"/>
                  <a:gd name="T3" fmla="*/ 520 h 4067"/>
                  <a:gd name="T4" fmla="*/ 2052 w 4074"/>
                  <a:gd name="T5" fmla="*/ 554 h 4067"/>
                  <a:gd name="T6" fmla="*/ 2052 w 4074"/>
                  <a:gd name="T7" fmla="*/ 591 h 4067"/>
                  <a:gd name="T8" fmla="*/ 1974 w 4074"/>
                  <a:gd name="T9" fmla="*/ 612 h 4067"/>
                  <a:gd name="T10" fmla="*/ 1955 w 4074"/>
                  <a:gd name="T11" fmla="*/ 670 h 4067"/>
                  <a:gd name="T12" fmla="*/ 1928 w 4074"/>
                  <a:gd name="T13" fmla="*/ 708 h 4067"/>
                  <a:gd name="T14" fmla="*/ 1832 w 4074"/>
                  <a:gd name="T15" fmla="*/ 743 h 4067"/>
                  <a:gd name="T16" fmla="*/ 1852 w 4074"/>
                  <a:gd name="T17" fmla="*/ 767 h 4067"/>
                  <a:gd name="T18" fmla="*/ 1834 w 4074"/>
                  <a:gd name="T19" fmla="*/ 827 h 4067"/>
                  <a:gd name="T20" fmla="*/ 1747 w 4074"/>
                  <a:gd name="T21" fmla="*/ 870 h 4067"/>
                  <a:gd name="T22" fmla="*/ 1754 w 4074"/>
                  <a:gd name="T23" fmla="*/ 933 h 4067"/>
                  <a:gd name="T24" fmla="*/ 1690 w 4074"/>
                  <a:gd name="T25" fmla="*/ 916 h 4067"/>
                  <a:gd name="T26" fmla="*/ 1582 w 4074"/>
                  <a:gd name="T27" fmla="*/ 932 h 4067"/>
                  <a:gd name="T28" fmla="*/ 1593 w 4074"/>
                  <a:gd name="T29" fmla="*/ 975 h 4067"/>
                  <a:gd name="T30" fmla="*/ 1771 w 4074"/>
                  <a:gd name="T31" fmla="*/ 968 h 4067"/>
                  <a:gd name="T32" fmla="*/ 1708 w 4074"/>
                  <a:gd name="T33" fmla="*/ 1016 h 4067"/>
                  <a:gd name="T34" fmla="*/ 1551 w 4074"/>
                  <a:gd name="T35" fmla="*/ 1034 h 4067"/>
                  <a:gd name="T36" fmla="*/ 1470 w 4074"/>
                  <a:gd name="T37" fmla="*/ 942 h 4067"/>
                  <a:gd name="T38" fmla="*/ 1494 w 4074"/>
                  <a:gd name="T39" fmla="*/ 897 h 4067"/>
                  <a:gd name="T40" fmla="*/ 1580 w 4074"/>
                  <a:gd name="T41" fmla="*/ 901 h 4067"/>
                  <a:gd name="T42" fmla="*/ 1651 w 4074"/>
                  <a:gd name="T43" fmla="*/ 845 h 4067"/>
                  <a:gd name="T44" fmla="*/ 1674 w 4074"/>
                  <a:gd name="T45" fmla="*/ 814 h 4067"/>
                  <a:gd name="T46" fmla="*/ 1631 w 4074"/>
                  <a:gd name="T47" fmla="*/ 783 h 4067"/>
                  <a:gd name="T48" fmla="*/ 1677 w 4074"/>
                  <a:gd name="T49" fmla="*/ 769 h 4067"/>
                  <a:gd name="T50" fmla="*/ 1624 w 4074"/>
                  <a:gd name="T51" fmla="*/ 767 h 4067"/>
                  <a:gd name="T52" fmla="*/ 1578 w 4074"/>
                  <a:gd name="T53" fmla="*/ 810 h 4067"/>
                  <a:gd name="T54" fmla="*/ 1531 w 4074"/>
                  <a:gd name="T55" fmla="*/ 795 h 4067"/>
                  <a:gd name="T56" fmla="*/ 1547 w 4074"/>
                  <a:gd name="T57" fmla="*/ 745 h 4067"/>
                  <a:gd name="T58" fmla="*/ 1480 w 4074"/>
                  <a:gd name="T59" fmla="*/ 729 h 4067"/>
                  <a:gd name="T60" fmla="*/ 1487 w 4074"/>
                  <a:gd name="T61" fmla="*/ 687 h 4067"/>
                  <a:gd name="T62" fmla="*/ 1524 w 4074"/>
                  <a:gd name="T63" fmla="*/ 650 h 4067"/>
                  <a:gd name="T64" fmla="*/ 1557 w 4074"/>
                  <a:gd name="T65" fmla="*/ 631 h 4067"/>
                  <a:gd name="T66" fmla="*/ 1603 w 4074"/>
                  <a:gd name="T67" fmla="*/ 686 h 4067"/>
                  <a:gd name="T68" fmla="*/ 1631 w 4074"/>
                  <a:gd name="T69" fmla="*/ 698 h 4067"/>
                  <a:gd name="T70" fmla="*/ 1648 w 4074"/>
                  <a:gd name="T71" fmla="*/ 711 h 4067"/>
                  <a:gd name="T72" fmla="*/ 1744 w 4074"/>
                  <a:gd name="T73" fmla="*/ 725 h 4067"/>
                  <a:gd name="T74" fmla="*/ 1751 w 4074"/>
                  <a:gd name="T75" fmla="*/ 671 h 4067"/>
                  <a:gd name="T76" fmla="*/ 1803 w 4074"/>
                  <a:gd name="T77" fmla="*/ 616 h 4067"/>
                  <a:gd name="T78" fmla="*/ 1703 w 4074"/>
                  <a:gd name="T79" fmla="*/ 665 h 4067"/>
                  <a:gd name="T80" fmla="*/ 1707 w 4074"/>
                  <a:gd name="T81" fmla="*/ 635 h 4067"/>
                  <a:gd name="T82" fmla="*/ 1678 w 4074"/>
                  <a:gd name="T83" fmla="*/ 623 h 4067"/>
                  <a:gd name="T84" fmla="*/ 1597 w 4074"/>
                  <a:gd name="T85" fmla="*/ 623 h 4067"/>
                  <a:gd name="T86" fmla="*/ 1586 w 4074"/>
                  <a:gd name="T87" fmla="*/ 604 h 4067"/>
                  <a:gd name="T88" fmla="*/ 1619 w 4074"/>
                  <a:gd name="T89" fmla="*/ 571 h 4067"/>
                  <a:gd name="T90" fmla="*/ 1649 w 4074"/>
                  <a:gd name="T91" fmla="*/ 560 h 4067"/>
                  <a:gd name="T92" fmla="*/ 1710 w 4074"/>
                  <a:gd name="T93" fmla="*/ 563 h 4067"/>
                  <a:gd name="T94" fmla="*/ 1713 w 4074"/>
                  <a:gd name="T95" fmla="*/ 533 h 4067"/>
                  <a:gd name="T96" fmla="*/ 1744 w 4074"/>
                  <a:gd name="T97" fmla="*/ 523 h 4067"/>
                  <a:gd name="T98" fmla="*/ 1816 w 4074"/>
                  <a:gd name="T99" fmla="*/ 538 h 4067"/>
                  <a:gd name="T100" fmla="*/ 1803 w 4074"/>
                  <a:gd name="T101" fmla="*/ 508 h 4067"/>
                  <a:gd name="T102" fmla="*/ 1894 w 4074"/>
                  <a:gd name="T103" fmla="*/ 500 h 4067"/>
                  <a:gd name="T104" fmla="*/ 4013 w 4074"/>
                  <a:gd name="T105" fmla="*/ 2526 h 4067"/>
                  <a:gd name="T106" fmla="*/ 3549 w 4074"/>
                  <a:gd name="T107" fmla="*/ 896 h 4067"/>
                  <a:gd name="T108" fmla="*/ 2545 w 4074"/>
                  <a:gd name="T109" fmla="*/ 212 h 4067"/>
                  <a:gd name="T110" fmla="*/ 1759 w 4074"/>
                  <a:gd name="T111" fmla="*/ 162 h 4067"/>
                  <a:gd name="T112" fmla="*/ 810 w 4074"/>
                  <a:gd name="T113" fmla="*/ 592 h 4067"/>
                  <a:gd name="T114" fmla="*/ 448 w 4074"/>
                  <a:gd name="T115" fmla="*/ 3065 h 4067"/>
                  <a:gd name="T116" fmla="*/ 1320 w 4074"/>
                  <a:gd name="T117" fmla="*/ 3786 h 4067"/>
                  <a:gd name="T118" fmla="*/ 3017 w 4074"/>
                  <a:gd name="T119" fmla="*/ 3652 h 4067"/>
                  <a:gd name="T120" fmla="*/ 172 w 4074"/>
                  <a:gd name="T121" fmla="*/ 2852 h 4067"/>
                  <a:gd name="T122" fmla="*/ 1790 w 4074"/>
                  <a:gd name="T123" fmla="*/ 15 h 4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74" h="4067">
                    <a:moveTo>
                      <a:pt x="1894" y="500"/>
                    </a:moveTo>
                    <a:lnTo>
                      <a:pt x="1900" y="500"/>
                    </a:lnTo>
                    <a:lnTo>
                      <a:pt x="1906" y="503"/>
                    </a:lnTo>
                    <a:lnTo>
                      <a:pt x="1911" y="505"/>
                    </a:lnTo>
                    <a:lnTo>
                      <a:pt x="1915" y="508"/>
                    </a:lnTo>
                    <a:lnTo>
                      <a:pt x="1920" y="509"/>
                    </a:lnTo>
                    <a:lnTo>
                      <a:pt x="1927" y="509"/>
                    </a:lnTo>
                    <a:lnTo>
                      <a:pt x="1935" y="510"/>
                    </a:lnTo>
                    <a:lnTo>
                      <a:pt x="1938" y="510"/>
                    </a:lnTo>
                    <a:lnTo>
                      <a:pt x="1942" y="512"/>
                    </a:lnTo>
                    <a:lnTo>
                      <a:pt x="1945" y="512"/>
                    </a:lnTo>
                    <a:lnTo>
                      <a:pt x="1948" y="513"/>
                    </a:lnTo>
                    <a:lnTo>
                      <a:pt x="1960" y="514"/>
                    </a:lnTo>
                    <a:lnTo>
                      <a:pt x="1970" y="518"/>
                    </a:lnTo>
                    <a:lnTo>
                      <a:pt x="1972" y="519"/>
                    </a:lnTo>
                    <a:lnTo>
                      <a:pt x="1973" y="520"/>
                    </a:lnTo>
                    <a:lnTo>
                      <a:pt x="1972" y="522"/>
                    </a:lnTo>
                    <a:lnTo>
                      <a:pt x="1971" y="523"/>
                    </a:lnTo>
                    <a:lnTo>
                      <a:pt x="1968" y="524"/>
                    </a:lnTo>
                    <a:lnTo>
                      <a:pt x="1966" y="525"/>
                    </a:lnTo>
                    <a:lnTo>
                      <a:pt x="1963" y="526"/>
                    </a:lnTo>
                    <a:lnTo>
                      <a:pt x="1961" y="528"/>
                    </a:lnTo>
                    <a:lnTo>
                      <a:pt x="1960" y="529"/>
                    </a:lnTo>
                    <a:lnTo>
                      <a:pt x="1958" y="530"/>
                    </a:lnTo>
                    <a:lnTo>
                      <a:pt x="1957" y="531"/>
                    </a:lnTo>
                    <a:lnTo>
                      <a:pt x="1956" y="533"/>
                    </a:lnTo>
                    <a:lnTo>
                      <a:pt x="1953" y="534"/>
                    </a:lnTo>
                    <a:lnTo>
                      <a:pt x="1952" y="534"/>
                    </a:lnTo>
                    <a:lnTo>
                      <a:pt x="1951" y="534"/>
                    </a:lnTo>
                    <a:lnTo>
                      <a:pt x="1950" y="534"/>
                    </a:lnTo>
                    <a:lnTo>
                      <a:pt x="1950" y="535"/>
                    </a:lnTo>
                    <a:lnTo>
                      <a:pt x="1951" y="536"/>
                    </a:lnTo>
                    <a:lnTo>
                      <a:pt x="1952" y="538"/>
                    </a:lnTo>
                    <a:lnTo>
                      <a:pt x="1955" y="536"/>
                    </a:lnTo>
                    <a:lnTo>
                      <a:pt x="1957" y="536"/>
                    </a:lnTo>
                    <a:lnTo>
                      <a:pt x="1958" y="536"/>
                    </a:lnTo>
                    <a:lnTo>
                      <a:pt x="1961" y="536"/>
                    </a:lnTo>
                    <a:lnTo>
                      <a:pt x="1962" y="536"/>
                    </a:lnTo>
                    <a:lnTo>
                      <a:pt x="1962" y="536"/>
                    </a:lnTo>
                    <a:lnTo>
                      <a:pt x="1962" y="536"/>
                    </a:lnTo>
                    <a:lnTo>
                      <a:pt x="1963" y="536"/>
                    </a:lnTo>
                    <a:lnTo>
                      <a:pt x="1966" y="534"/>
                    </a:lnTo>
                    <a:lnTo>
                      <a:pt x="1967" y="533"/>
                    </a:lnTo>
                    <a:lnTo>
                      <a:pt x="1970" y="533"/>
                    </a:lnTo>
                    <a:lnTo>
                      <a:pt x="1973" y="531"/>
                    </a:lnTo>
                    <a:lnTo>
                      <a:pt x="1976" y="531"/>
                    </a:lnTo>
                    <a:lnTo>
                      <a:pt x="1978" y="530"/>
                    </a:lnTo>
                    <a:lnTo>
                      <a:pt x="1979" y="528"/>
                    </a:lnTo>
                    <a:lnTo>
                      <a:pt x="1981" y="525"/>
                    </a:lnTo>
                    <a:lnTo>
                      <a:pt x="1983" y="524"/>
                    </a:lnTo>
                    <a:lnTo>
                      <a:pt x="1987" y="524"/>
                    </a:lnTo>
                    <a:lnTo>
                      <a:pt x="1991" y="525"/>
                    </a:lnTo>
                    <a:lnTo>
                      <a:pt x="1994" y="528"/>
                    </a:lnTo>
                    <a:lnTo>
                      <a:pt x="1997" y="529"/>
                    </a:lnTo>
                    <a:lnTo>
                      <a:pt x="1998" y="530"/>
                    </a:lnTo>
                    <a:lnTo>
                      <a:pt x="1999" y="529"/>
                    </a:lnTo>
                    <a:lnTo>
                      <a:pt x="1999" y="529"/>
                    </a:lnTo>
                    <a:lnTo>
                      <a:pt x="1999" y="528"/>
                    </a:lnTo>
                    <a:lnTo>
                      <a:pt x="1998" y="525"/>
                    </a:lnTo>
                    <a:lnTo>
                      <a:pt x="1998" y="524"/>
                    </a:lnTo>
                    <a:lnTo>
                      <a:pt x="1998" y="523"/>
                    </a:lnTo>
                    <a:lnTo>
                      <a:pt x="1997" y="522"/>
                    </a:lnTo>
                    <a:lnTo>
                      <a:pt x="1998" y="520"/>
                    </a:lnTo>
                    <a:lnTo>
                      <a:pt x="1999" y="520"/>
                    </a:lnTo>
                    <a:lnTo>
                      <a:pt x="2002" y="520"/>
                    </a:lnTo>
                    <a:lnTo>
                      <a:pt x="2004" y="522"/>
                    </a:lnTo>
                    <a:lnTo>
                      <a:pt x="2007" y="523"/>
                    </a:lnTo>
                    <a:lnTo>
                      <a:pt x="2009" y="524"/>
                    </a:lnTo>
                    <a:lnTo>
                      <a:pt x="2011" y="525"/>
                    </a:lnTo>
                    <a:lnTo>
                      <a:pt x="2011" y="526"/>
                    </a:lnTo>
                    <a:lnTo>
                      <a:pt x="2012" y="528"/>
                    </a:lnTo>
                    <a:lnTo>
                      <a:pt x="2013" y="529"/>
                    </a:lnTo>
                    <a:lnTo>
                      <a:pt x="2014" y="529"/>
                    </a:lnTo>
                    <a:lnTo>
                      <a:pt x="2016" y="528"/>
                    </a:lnTo>
                    <a:lnTo>
                      <a:pt x="2018" y="526"/>
                    </a:lnTo>
                    <a:lnTo>
                      <a:pt x="2022" y="525"/>
                    </a:lnTo>
                    <a:lnTo>
                      <a:pt x="2027" y="525"/>
                    </a:lnTo>
                    <a:lnTo>
                      <a:pt x="2029" y="526"/>
                    </a:lnTo>
                    <a:lnTo>
                      <a:pt x="2029" y="528"/>
                    </a:lnTo>
                    <a:lnTo>
                      <a:pt x="2029" y="529"/>
                    </a:lnTo>
                    <a:lnTo>
                      <a:pt x="2028" y="530"/>
                    </a:lnTo>
                    <a:lnTo>
                      <a:pt x="2027" y="531"/>
                    </a:lnTo>
                    <a:lnTo>
                      <a:pt x="2027" y="533"/>
                    </a:lnTo>
                    <a:lnTo>
                      <a:pt x="2027" y="534"/>
                    </a:lnTo>
                    <a:lnTo>
                      <a:pt x="2029" y="536"/>
                    </a:lnTo>
                    <a:lnTo>
                      <a:pt x="2032" y="538"/>
                    </a:lnTo>
                    <a:lnTo>
                      <a:pt x="2034" y="539"/>
                    </a:lnTo>
                    <a:lnTo>
                      <a:pt x="2037" y="541"/>
                    </a:lnTo>
                    <a:lnTo>
                      <a:pt x="2038" y="544"/>
                    </a:lnTo>
                    <a:lnTo>
                      <a:pt x="2039" y="546"/>
                    </a:lnTo>
                    <a:lnTo>
                      <a:pt x="2039" y="548"/>
                    </a:lnTo>
                    <a:lnTo>
                      <a:pt x="2039" y="549"/>
                    </a:lnTo>
                    <a:lnTo>
                      <a:pt x="2041" y="550"/>
                    </a:lnTo>
                    <a:lnTo>
                      <a:pt x="2042" y="551"/>
                    </a:lnTo>
                    <a:lnTo>
                      <a:pt x="2047" y="554"/>
                    </a:lnTo>
                    <a:lnTo>
                      <a:pt x="2052" y="554"/>
                    </a:lnTo>
                    <a:lnTo>
                      <a:pt x="2054" y="554"/>
                    </a:lnTo>
                    <a:lnTo>
                      <a:pt x="2058" y="555"/>
                    </a:lnTo>
                    <a:lnTo>
                      <a:pt x="2060" y="555"/>
                    </a:lnTo>
                    <a:lnTo>
                      <a:pt x="2063" y="556"/>
                    </a:lnTo>
                    <a:lnTo>
                      <a:pt x="2064" y="558"/>
                    </a:lnTo>
                    <a:lnTo>
                      <a:pt x="2065" y="559"/>
                    </a:lnTo>
                    <a:lnTo>
                      <a:pt x="2068" y="560"/>
                    </a:lnTo>
                    <a:lnTo>
                      <a:pt x="2072" y="561"/>
                    </a:lnTo>
                    <a:lnTo>
                      <a:pt x="2074" y="563"/>
                    </a:lnTo>
                    <a:lnTo>
                      <a:pt x="2077" y="565"/>
                    </a:lnTo>
                    <a:lnTo>
                      <a:pt x="2078" y="568"/>
                    </a:lnTo>
                    <a:lnTo>
                      <a:pt x="2079" y="568"/>
                    </a:lnTo>
                    <a:lnTo>
                      <a:pt x="2079" y="569"/>
                    </a:lnTo>
                    <a:lnTo>
                      <a:pt x="2080" y="570"/>
                    </a:lnTo>
                    <a:lnTo>
                      <a:pt x="2082" y="571"/>
                    </a:lnTo>
                    <a:lnTo>
                      <a:pt x="2083" y="573"/>
                    </a:lnTo>
                    <a:lnTo>
                      <a:pt x="2083" y="574"/>
                    </a:lnTo>
                    <a:lnTo>
                      <a:pt x="2083" y="575"/>
                    </a:lnTo>
                    <a:lnTo>
                      <a:pt x="2080" y="575"/>
                    </a:lnTo>
                    <a:lnTo>
                      <a:pt x="2078" y="576"/>
                    </a:lnTo>
                    <a:lnTo>
                      <a:pt x="2077" y="577"/>
                    </a:lnTo>
                    <a:lnTo>
                      <a:pt x="2075" y="579"/>
                    </a:lnTo>
                    <a:lnTo>
                      <a:pt x="2073" y="579"/>
                    </a:lnTo>
                    <a:lnTo>
                      <a:pt x="2070" y="580"/>
                    </a:lnTo>
                    <a:lnTo>
                      <a:pt x="2068" y="584"/>
                    </a:lnTo>
                    <a:lnTo>
                      <a:pt x="2065" y="585"/>
                    </a:lnTo>
                    <a:lnTo>
                      <a:pt x="2063" y="586"/>
                    </a:lnTo>
                    <a:lnTo>
                      <a:pt x="2063" y="586"/>
                    </a:lnTo>
                    <a:lnTo>
                      <a:pt x="2060" y="586"/>
                    </a:lnTo>
                    <a:lnTo>
                      <a:pt x="2058" y="587"/>
                    </a:lnTo>
                    <a:lnTo>
                      <a:pt x="2054" y="589"/>
                    </a:lnTo>
                    <a:lnTo>
                      <a:pt x="2052" y="591"/>
                    </a:lnTo>
                    <a:lnTo>
                      <a:pt x="2047" y="594"/>
                    </a:lnTo>
                    <a:lnTo>
                      <a:pt x="2042" y="596"/>
                    </a:lnTo>
                    <a:lnTo>
                      <a:pt x="2039" y="596"/>
                    </a:lnTo>
                    <a:lnTo>
                      <a:pt x="2037" y="597"/>
                    </a:lnTo>
                    <a:lnTo>
                      <a:pt x="2036" y="599"/>
                    </a:lnTo>
                    <a:lnTo>
                      <a:pt x="2034" y="600"/>
                    </a:lnTo>
                    <a:lnTo>
                      <a:pt x="2032" y="601"/>
                    </a:lnTo>
                    <a:lnTo>
                      <a:pt x="2028" y="601"/>
                    </a:lnTo>
                    <a:lnTo>
                      <a:pt x="2026" y="601"/>
                    </a:lnTo>
                    <a:lnTo>
                      <a:pt x="2023" y="601"/>
                    </a:lnTo>
                    <a:lnTo>
                      <a:pt x="2019" y="600"/>
                    </a:lnTo>
                    <a:lnTo>
                      <a:pt x="2018" y="601"/>
                    </a:lnTo>
                    <a:lnTo>
                      <a:pt x="2016" y="601"/>
                    </a:lnTo>
                    <a:lnTo>
                      <a:pt x="2016" y="607"/>
                    </a:lnTo>
                    <a:lnTo>
                      <a:pt x="2013" y="607"/>
                    </a:lnTo>
                    <a:lnTo>
                      <a:pt x="2011" y="607"/>
                    </a:lnTo>
                    <a:lnTo>
                      <a:pt x="2007" y="607"/>
                    </a:lnTo>
                    <a:lnTo>
                      <a:pt x="2003" y="607"/>
                    </a:lnTo>
                    <a:lnTo>
                      <a:pt x="2001" y="607"/>
                    </a:lnTo>
                    <a:lnTo>
                      <a:pt x="1977" y="607"/>
                    </a:lnTo>
                    <a:lnTo>
                      <a:pt x="1976" y="607"/>
                    </a:lnTo>
                    <a:lnTo>
                      <a:pt x="1973" y="607"/>
                    </a:lnTo>
                    <a:lnTo>
                      <a:pt x="1971" y="607"/>
                    </a:lnTo>
                    <a:lnTo>
                      <a:pt x="1967" y="607"/>
                    </a:lnTo>
                    <a:lnTo>
                      <a:pt x="1965" y="607"/>
                    </a:lnTo>
                    <a:lnTo>
                      <a:pt x="1962" y="609"/>
                    </a:lnTo>
                    <a:lnTo>
                      <a:pt x="1961" y="610"/>
                    </a:lnTo>
                    <a:lnTo>
                      <a:pt x="1963" y="610"/>
                    </a:lnTo>
                    <a:lnTo>
                      <a:pt x="1966" y="611"/>
                    </a:lnTo>
                    <a:lnTo>
                      <a:pt x="1970" y="611"/>
                    </a:lnTo>
                    <a:lnTo>
                      <a:pt x="1972" y="612"/>
                    </a:lnTo>
                    <a:lnTo>
                      <a:pt x="1974" y="612"/>
                    </a:lnTo>
                    <a:lnTo>
                      <a:pt x="1977" y="612"/>
                    </a:lnTo>
                    <a:lnTo>
                      <a:pt x="1979" y="612"/>
                    </a:lnTo>
                    <a:lnTo>
                      <a:pt x="1982" y="614"/>
                    </a:lnTo>
                    <a:lnTo>
                      <a:pt x="1982" y="615"/>
                    </a:lnTo>
                    <a:lnTo>
                      <a:pt x="1982" y="616"/>
                    </a:lnTo>
                    <a:lnTo>
                      <a:pt x="1981" y="617"/>
                    </a:lnTo>
                    <a:lnTo>
                      <a:pt x="1979" y="619"/>
                    </a:lnTo>
                    <a:lnTo>
                      <a:pt x="1979" y="620"/>
                    </a:lnTo>
                    <a:lnTo>
                      <a:pt x="1979" y="625"/>
                    </a:lnTo>
                    <a:lnTo>
                      <a:pt x="1994" y="623"/>
                    </a:lnTo>
                    <a:lnTo>
                      <a:pt x="2008" y="620"/>
                    </a:lnTo>
                    <a:lnTo>
                      <a:pt x="2011" y="619"/>
                    </a:lnTo>
                    <a:lnTo>
                      <a:pt x="2014" y="616"/>
                    </a:lnTo>
                    <a:lnTo>
                      <a:pt x="2018" y="614"/>
                    </a:lnTo>
                    <a:lnTo>
                      <a:pt x="2022" y="612"/>
                    </a:lnTo>
                    <a:lnTo>
                      <a:pt x="2027" y="612"/>
                    </a:lnTo>
                    <a:lnTo>
                      <a:pt x="2029" y="614"/>
                    </a:lnTo>
                    <a:lnTo>
                      <a:pt x="2032" y="614"/>
                    </a:lnTo>
                    <a:lnTo>
                      <a:pt x="2034" y="615"/>
                    </a:lnTo>
                    <a:lnTo>
                      <a:pt x="2034" y="616"/>
                    </a:lnTo>
                    <a:lnTo>
                      <a:pt x="2034" y="617"/>
                    </a:lnTo>
                    <a:lnTo>
                      <a:pt x="2034" y="620"/>
                    </a:lnTo>
                    <a:lnTo>
                      <a:pt x="2029" y="625"/>
                    </a:lnTo>
                    <a:lnTo>
                      <a:pt x="2023" y="627"/>
                    </a:lnTo>
                    <a:lnTo>
                      <a:pt x="2016" y="631"/>
                    </a:lnTo>
                    <a:lnTo>
                      <a:pt x="2002" y="641"/>
                    </a:lnTo>
                    <a:lnTo>
                      <a:pt x="1989" y="651"/>
                    </a:lnTo>
                    <a:lnTo>
                      <a:pt x="1979" y="656"/>
                    </a:lnTo>
                    <a:lnTo>
                      <a:pt x="1970" y="660"/>
                    </a:lnTo>
                    <a:lnTo>
                      <a:pt x="1961" y="665"/>
                    </a:lnTo>
                    <a:lnTo>
                      <a:pt x="1957" y="667"/>
                    </a:lnTo>
                    <a:lnTo>
                      <a:pt x="1955" y="670"/>
                    </a:lnTo>
                    <a:lnTo>
                      <a:pt x="1952" y="672"/>
                    </a:lnTo>
                    <a:lnTo>
                      <a:pt x="1951" y="674"/>
                    </a:lnTo>
                    <a:lnTo>
                      <a:pt x="1951" y="677"/>
                    </a:lnTo>
                    <a:lnTo>
                      <a:pt x="1951" y="678"/>
                    </a:lnTo>
                    <a:lnTo>
                      <a:pt x="1951" y="679"/>
                    </a:lnTo>
                    <a:lnTo>
                      <a:pt x="1951" y="682"/>
                    </a:lnTo>
                    <a:lnTo>
                      <a:pt x="1950" y="682"/>
                    </a:lnTo>
                    <a:lnTo>
                      <a:pt x="1948" y="683"/>
                    </a:lnTo>
                    <a:lnTo>
                      <a:pt x="1946" y="682"/>
                    </a:lnTo>
                    <a:lnTo>
                      <a:pt x="1943" y="681"/>
                    </a:lnTo>
                    <a:lnTo>
                      <a:pt x="1941" y="677"/>
                    </a:lnTo>
                    <a:lnTo>
                      <a:pt x="1938" y="678"/>
                    </a:lnTo>
                    <a:lnTo>
                      <a:pt x="1936" y="679"/>
                    </a:lnTo>
                    <a:lnTo>
                      <a:pt x="1933" y="681"/>
                    </a:lnTo>
                    <a:lnTo>
                      <a:pt x="1932" y="683"/>
                    </a:lnTo>
                    <a:lnTo>
                      <a:pt x="1933" y="684"/>
                    </a:lnTo>
                    <a:lnTo>
                      <a:pt x="1936" y="687"/>
                    </a:lnTo>
                    <a:lnTo>
                      <a:pt x="1940" y="688"/>
                    </a:lnTo>
                    <a:lnTo>
                      <a:pt x="1943" y="691"/>
                    </a:lnTo>
                    <a:lnTo>
                      <a:pt x="1945" y="693"/>
                    </a:lnTo>
                    <a:lnTo>
                      <a:pt x="1945" y="694"/>
                    </a:lnTo>
                    <a:lnTo>
                      <a:pt x="1943" y="696"/>
                    </a:lnTo>
                    <a:lnTo>
                      <a:pt x="1942" y="696"/>
                    </a:lnTo>
                    <a:lnTo>
                      <a:pt x="1941" y="697"/>
                    </a:lnTo>
                    <a:lnTo>
                      <a:pt x="1940" y="698"/>
                    </a:lnTo>
                    <a:lnTo>
                      <a:pt x="1937" y="698"/>
                    </a:lnTo>
                    <a:lnTo>
                      <a:pt x="1936" y="701"/>
                    </a:lnTo>
                    <a:lnTo>
                      <a:pt x="1936" y="703"/>
                    </a:lnTo>
                    <a:lnTo>
                      <a:pt x="1936" y="704"/>
                    </a:lnTo>
                    <a:lnTo>
                      <a:pt x="1935" y="707"/>
                    </a:lnTo>
                    <a:lnTo>
                      <a:pt x="1932" y="707"/>
                    </a:lnTo>
                    <a:lnTo>
                      <a:pt x="1928" y="708"/>
                    </a:lnTo>
                    <a:lnTo>
                      <a:pt x="1927" y="708"/>
                    </a:lnTo>
                    <a:lnTo>
                      <a:pt x="1925" y="709"/>
                    </a:lnTo>
                    <a:lnTo>
                      <a:pt x="1922" y="711"/>
                    </a:lnTo>
                    <a:lnTo>
                      <a:pt x="1921" y="712"/>
                    </a:lnTo>
                    <a:lnTo>
                      <a:pt x="1920" y="713"/>
                    </a:lnTo>
                    <a:lnTo>
                      <a:pt x="1920" y="714"/>
                    </a:lnTo>
                    <a:lnTo>
                      <a:pt x="1920" y="717"/>
                    </a:lnTo>
                    <a:lnTo>
                      <a:pt x="1918" y="717"/>
                    </a:lnTo>
                    <a:lnTo>
                      <a:pt x="1918" y="718"/>
                    </a:lnTo>
                    <a:lnTo>
                      <a:pt x="1918" y="721"/>
                    </a:lnTo>
                    <a:lnTo>
                      <a:pt x="1917" y="722"/>
                    </a:lnTo>
                    <a:lnTo>
                      <a:pt x="1917" y="723"/>
                    </a:lnTo>
                    <a:lnTo>
                      <a:pt x="1916" y="724"/>
                    </a:lnTo>
                    <a:lnTo>
                      <a:pt x="1915" y="724"/>
                    </a:lnTo>
                    <a:lnTo>
                      <a:pt x="1910" y="724"/>
                    </a:lnTo>
                    <a:lnTo>
                      <a:pt x="1906" y="724"/>
                    </a:lnTo>
                    <a:lnTo>
                      <a:pt x="1902" y="724"/>
                    </a:lnTo>
                    <a:lnTo>
                      <a:pt x="1898" y="724"/>
                    </a:lnTo>
                    <a:lnTo>
                      <a:pt x="1896" y="727"/>
                    </a:lnTo>
                    <a:lnTo>
                      <a:pt x="1892" y="727"/>
                    </a:lnTo>
                    <a:lnTo>
                      <a:pt x="1889" y="728"/>
                    </a:lnTo>
                    <a:lnTo>
                      <a:pt x="1881" y="729"/>
                    </a:lnTo>
                    <a:lnTo>
                      <a:pt x="1876" y="734"/>
                    </a:lnTo>
                    <a:lnTo>
                      <a:pt x="1870" y="738"/>
                    </a:lnTo>
                    <a:lnTo>
                      <a:pt x="1862" y="738"/>
                    </a:lnTo>
                    <a:lnTo>
                      <a:pt x="1855" y="737"/>
                    </a:lnTo>
                    <a:lnTo>
                      <a:pt x="1851" y="738"/>
                    </a:lnTo>
                    <a:lnTo>
                      <a:pt x="1850" y="740"/>
                    </a:lnTo>
                    <a:lnTo>
                      <a:pt x="1847" y="742"/>
                    </a:lnTo>
                    <a:lnTo>
                      <a:pt x="1841" y="743"/>
                    </a:lnTo>
                    <a:lnTo>
                      <a:pt x="1836" y="743"/>
                    </a:lnTo>
                    <a:lnTo>
                      <a:pt x="1832" y="743"/>
                    </a:lnTo>
                    <a:lnTo>
                      <a:pt x="1830" y="743"/>
                    </a:lnTo>
                    <a:lnTo>
                      <a:pt x="1826" y="743"/>
                    </a:lnTo>
                    <a:lnTo>
                      <a:pt x="1823" y="745"/>
                    </a:lnTo>
                    <a:lnTo>
                      <a:pt x="1823" y="747"/>
                    </a:lnTo>
                    <a:lnTo>
                      <a:pt x="1823" y="747"/>
                    </a:lnTo>
                    <a:lnTo>
                      <a:pt x="1824" y="748"/>
                    </a:lnTo>
                    <a:lnTo>
                      <a:pt x="1825" y="749"/>
                    </a:lnTo>
                    <a:lnTo>
                      <a:pt x="1829" y="752"/>
                    </a:lnTo>
                    <a:lnTo>
                      <a:pt x="1837" y="750"/>
                    </a:lnTo>
                    <a:lnTo>
                      <a:pt x="1847" y="749"/>
                    </a:lnTo>
                    <a:lnTo>
                      <a:pt x="1860" y="748"/>
                    </a:lnTo>
                    <a:lnTo>
                      <a:pt x="1864" y="749"/>
                    </a:lnTo>
                    <a:lnTo>
                      <a:pt x="1867" y="750"/>
                    </a:lnTo>
                    <a:lnTo>
                      <a:pt x="1869" y="753"/>
                    </a:lnTo>
                    <a:lnTo>
                      <a:pt x="1870" y="755"/>
                    </a:lnTo>
                    <a:lnTo>
                      <a:pt x="1869" y="758"/>
                    </a:lnTo>
                    <a:lnTo>
                      <a:pt x="1867" y="759"/>
                    </a:lnTo>
                    <a:lnTo>
                      <a:pt x="1864" y="762"/>
                    </a:lnTo>
                    <a:lnTo>
                      <a:pt x="1860" y="762"/>
                    </a:lnTo>
                    <a:lnTo>
                      <a:pt x="1854" y="760"/>
                    </a:lnTo>
                    <a:lnTo>
                      <a:pt x="1849" y="759"/>
                    </a:lnTo>
                    <a:lnTo>
                      <a:pt x="1844" y="757"/>
                    </a:lnTo>
                    <a:lnTo>
                      <a:pt x="1841" y="757"/>
                    </a:lnTo>
                    <a:lnTo>
                      <a:pt x="1840" y="758"/>
                    </a:lnTo>
                    <a:lnTo>
                      <a:pt x="1840" y="759"/>
                    </a:lnTo>
                    <a:lnTo>
                      <a:pt x="1841" y="760"/>
                    </a:lnTo>
                    <a:lnTo>
                      <a:pt x="1842" y="762"/>
                    </a:lnTo>
                    <a:lnTo>
                      <a:pt x="1844" y="763"/>
                    </a:lnTo>
                    <a:lnTo>
                      <a:pt x="1846" y="764"/>
                    </a:lnTo>
                    <a:lnTo>
                      <a:pt x="1849" y="764"/>
                    </a:lnTo>
                    <a:lnTo>
                      <a:pt x="1851" y="765"/>
                    </a:lnTo>
                    <a:lnTo>
                      <a:pt x="1852" y="767"/>
                    </a:lnTo>
                    <a:lnTo>
                      <a:pt x="1855" y="768"/>
                    </a:lnTo>
                    <a:lnTo>
                      <a:pt x="1857" y="769"/>
                    </a:lnTo>
                    <a:lnTo>
                      <a:pt x="1861" y="771"/>
                    </a:lnTo>
                    <a:lnTo>
                      <a:pt x="1864" y="775"/>
                    </a:lnTo>
                    <a:lnTo>
                      <a:pt x="1865" y="778"/>
                    </a:lnTo>
                    <a:lnTo>
                      <a:pt x="1865" y="779"/>
                    </a:lnTo>
                    <a:lnTo>
                      <a:pt x="1865" y="783"/>
                    </a:lnTo>
                    <a:lnTo>
                      <a:pt x="1864" y="785"/>
                    </a:lnTo>
                    <a:lnTo>
                      <a:pt x="1864" y="789"/>
                    </a:lnTo>
                    <a:lnTo>
                      <a:pt x="1862" y="791"/>
                    </a:lnTo>
                    <a:lnTo>
                      <a:pt x="1860" y="794"/>
                    </a:lnTo>
                    <a:lnTo>
                      <a:pt x="1857" y="795"/>
                    </a:lnTo>
                    <a:lnTo>
                      <a:pt x="1854" y="795"/>
                    </a:lnTo>
                    <a:lnTo>
                      <a:pt x="1854" y="796"/>
                    </a:lnTo>
                    <a:lnTo>
                      <a:pt x="1855" y="798"/>
                    </a:lnTo>
                    <a:lnTo>
                      <a:pt x="1857" y="799"/>
                    </a:lnTo>
                    <a:lnTo>
                      <a:pt x="1860" y="799"/>
                    </a:lnTo>
                    <a:lnTo>
                      <a:pt x="1862" y="800"/>
                    </a:lnTo>
                    <a:lnTo>
                      <a:pt x="1865" y="801"/>
                    </a:lnTo>
                    <a:lnTo>
                      <a:pt x="1866" y="803"/>
                    </a:lnTo>
                    <a:lnTo>
                      <a:pt x="1866" y="804"/>
                    </a:lnTo>
                    <a:lnTo>
                      <a:pt x="1865" y="806"/>
                    </a:lnTo>
                    <a:lnTo>
                      <a:pt x="1862" y="808"/>
                    </a:lnTo>
                    <a:lnTo>
                      <a:pt x="1860" y="809"/>
                    </a:lnTo>
                    <a:lnTo>
                      <a:pt x="1857" y="811"/>
                    </a:lnTo>
                    <a:lnTo>
                      <a:pt x="1857" y="813"/>
                    </a:lnTo>
                    <a:lnTo>
                      <a:pt x="1857" y="815"/>
                    </a:lnTo>
                    <a:lnTo>
                      <a:pt x="1857" y="816"/>
                    </a:lnTo>
                    <a:lnTo>
                      <a:pt x="1856" y="818"/>
                    </a:lnTo>
                    <a:lnTo>
                      <a:pt x="1854" y="819"/>
                    </a:lnTo>
                    <a:lnTo>
                      <a:pt x="1845" y="824"/>
                    </a:lnTo>
                    <a:lnTo>
                      <a:pt x="1834" y="827"/>
                    </a:lnTo>
                    <a:lnTo>
                      <a:pt x="1829" y="826"/>
                    </a:lnTo>
                    <a:lnTo>
                      <a:pt x="1824" y="825"/>
                    </a:lnTo>
                    <a:lnTo>
                      <a:pt x="1820" y="824"/>
                    </a:lnTo>
                    <a:lnTo>
                      <a:pt x="1815" y="821"/>
                    </a:lnTo>
                    <a:lnTo>
                      <a:pt x="1810" y="822"/>
                    </a:lnTo>
                    <a:lnTo>
                      <a:pt x="1805" y="822"/>
                    </a:lnTo>
                    <a:lnTo>
                      <a:pt x="1800" y="825"/>
                    </a:lnTo>
                    <a:lnTo>
                      <a:pt x="1799" y="827"/>
                    </a:lnTo>
                    <a:lnTo>
                      <a:pt x="1799" y="830"/>
                    </a:lnTo>
                    <a:lnTo>
                      <a:pt x="1800" y="832"/>
                    </a:lnTo>
                    <a:lnTo>
                      <a:pt x="1803" y="835"/>
                    </a:lnTo>
                    <a:lnTo>
                      <a:pt x="1805" y="837"/>
                    </a:lnTo>
                    <a:lnTo>
                      <a:pt x="1809" y="844"/>
                    </a:lnTo>
                    <a:lnTo>
                      <a:pt x="1809" y="851"/>
                    </a:lnTo>
                    <a:lnTo>
                      <a:pt x="1805" y="859"/>
                    </a:lnTo>
                    <a:lnTo>
                      <a:pt x="1799" y="865"/>
                    </a:lnTo>
                    <a:lnTo>
                      <a:pt x="1791" y="866"/>
                    </a:lnTo>
                    <a:lnTo>
                      <a:pt x="1783" y="866"/>
                    </a:lnTo>
                    <a:lnTo>
                      <a:pt x="1771" y="866"/>
                    </a:lnTo>
                    <a:lnTo>
                      <a:pt x="1761" y="867"/>
                    </a:lnTo>
                    <a:lnTo>
                      <a:pt x="1754" y="865"/>
                    </a:lnTo>
                    <a:lnTo>
                      <a:pt x="1745" y="864"/>
                    </a:lnTo>
                    <a:lnTo>
                      <a:pt x="1742" y="865"/>
                    </a:lnTo>
                    <a:lnTo>
                      <a:pt x="1739" y="865"/>
                    </a:lnTo>
                    <a:lnTo>
                      <a:pt x="1738" y="867"/>
                    </a:lnTo>
                    <a:lnTo>
                      <a:pt x="1737" y="868"/>
                    </a:lnTo>
                    <a:lnTo>
                      <a:pt x="1738" y="871"/>
                    </a:lnTo>
                    <a:lnTo>
                      <a:pt x="1739" y="872"/>
                    </a:lnTo>
                    <a:lnTo>
                      <a:pt x="1740" y="872"/>
                    </a:lnTo>
                    <a:lnTo>
                      <a:pt x="1743" y="872"/>
                    </a:lnTo>
                    <a:lnTo>
                      <a:pt x="1744" y="871"/>
                    </a:lnTo>
                    <a:lnTo>
                      <a:pt x="1747" y="870"/>
                    </a:lnTo>
                    <a:lnTo>
                      <a:pt x="1748" y="868"/>
                    </a:lnTo>
                    <a:lnTo>
                      <a:pt x="1761" y="868"/>
                    </a:lnTo>
                    <a:lnTo>
                      <a:pt x="1776" y="870"/>
                    </a:lnTo>
                    <a:lnTo>
                      <a:pt x="1786" y="875"/>
                    </a:lnTo>
                    <a:lnTo>
                      <a:pt x="1790" y="878"/>
                    </a:lnTo>
                    <a:lnTo>
                      <a:pt x="1790" y="885"/>
                    </a:lnTo>
                    <a:lnTo>
                      <a:pt x="1791" y="891"/>
                    </a:lnTo>
                    <a:lnTo>
                      <a:pt x="1794" y="895"/>
                    </a:lnTo>
                    <a:lnTo>
                      <a:pt x="1796" y="896"/>
                    </a:lnTo>
                    <a:lnTo>
                      <a:pt x="1798" y="895"/>
                    </a:lnTo>
                    <a:lnTo>
                      <a:pt x="1799" y="893"/>
                    </a:lnTo>
                    <a:lnTo>
                      <a:pt x="1799" y="891"/>
                    </a:lnTo>
                    <a:lnTo>
                      <a:pt x="1799" y="888"/>
                    </a:lnTo>
                    <a:lnTo>
                      <a:pt x="1800" y="886"/>
                    </a:lnTo>
                    <a:lnTo>
                      <a:pt x="1800" y="885"/>
                    </a:lnTo>
                    <a:lnTo>
                      <a:pt x="1801" y="883"/>
                    </a:lnTo>
                    <a:lnTo>
                      <a:pt x="1805" y="882"/>
                    </a:lnTo>
                    <a:lnTo>
                      <a:pt x="1809" y="882"/>
                    </a:lnTo>
                    <a:lnTo>
                      <a:pt x="1813" y="882"/>
                    </a:lnTo>
                    <a:lnTo>
                      <a:pt x="1819" y="887"/>
                    </a:lnTo>
                    <a:lnTo>
                      <a:pt x="1823" y="893"/>
                    </a:lnTo>
                    <a:lnTo>
                      <a:pt x="1821" y="901"/>
                    </a:lnTo>
                    <a:lnTo>
                      <a:pt x="1818" y="906"/>
                    </a:lnTo>
                    <a:lnTo>
                      <a:pt x="1810" y="910"/>
                    </a:lnTo>
                    <a:lnTo>
                      <a:pt x="1800" y="912"/>
                    </a:lnTo>
                    <a:lnTo>
                      <a:pt x="1789" y="916"/>
                    </a:lnTo>
                    <a:lnTo>
                      <a:pt x="1781" y="922"/>
                    </a:lnTo>
                    <a:lnTo>
                      <a:pt x="1778" y="924"/>
                    </a:lnTo>
                    <a:lnTo>
                      <a:pt x="1770" y="929"/>
                    </a:lnTo>
                    <a:lnTo>
                      <a:pt x="1763" y="934"/>
                    </a:lnTo>
                    <a:lnTo>
                      <a:pt x="1755" y="934"/>
                    </a:lnTo>
                    <a:lnTo>
                      <a:pt x="1754" y="933"/>
                    </a:lnTo>
                    <a:lnTo>
                      <a:pt x="1753" y="932"/>
                    </a:lnTo>
                    <a:lnTo>
                      <a:pt x="1753" y="931"/>
                    </a:lnTo>
                    <a:lnTo>
                      <a:pt x="1754" y="928"/>
                    </a:lnTo>
                    <a:lnTo>
                      <a:pt x="1755" y="927"/>
                    </a:lnTo>
                    <a:lnTo>
                      <a:pt x="1755" y="924"/>
                    </a:lnTo>
                    <a:lnTo>
                      <a:pt x="1756" y="923"/>
                    </a:lnTo>
                    <a:lnTo>
                      <a:pt x="1756" y="921"/>
                    </a:lnTo>
                    <a:lnTo>
                      <a:pt x="1755" y="919"/>
                    </a:lnTo>
                    <a:lnTo>
                      <a:pt x="1753" y="918"/>
                    </a:lnTo>
                    <a:lnTo>
                      <a:pt x="1748" y="918"/>
                    </a:lnTo>
                    <a:lnTo>
                      <a:pt x="1743" y="918"/>
                    </a:lnTo>
                    <a:lnTo>
                      <a:pt x="1738" y="917"/>
                    </a:lnTo>
                    <a:lnTo>
                      <a:pt x="1734" y="913"/>
                    </a:lnTo>
                    <a:lnTo>
                      <a:pt x="1733" y="912"/>
                    </a:lnTo>
                    <a:lnTo>
                      <a:pt x="1732" y="911"/>
                    </a:lnTo>
                    <a:lnTo>
                      <a:pt x="1730" y="911"/>
                    </a:lnTo>
                    <a:lnTo>
                      <a:pt x="1728" y="911"/>
                    </a:lnTo>
                    <a:lnTo>
                      <a:pt x="1727" y="912"/>
                    </a:lnTo>
                    <a:lnTo>
                      <a:pt x="1724" y="913"/>
                    </a:lnTo>
                    <a:lnTo>
                      <a:pt x="1720" y="915"/>
                    </a:lnTo>
                    <a:lnTo>
                      <a:pt x="1715" y="913"/>
                    </a:lnTo>
                    <a:lnTo>
                      <a:pt x="1710" y="912"/>
                    </a:lnTo>
                    <a:lnTo>
                      <a:pt x="1705" y="912"/>
                    </a:lnTo>
                    <a:lnTo>
                      <a:pt x="1703" y="916"/>
                    </a:lnTo>
                    <a:lnTo>
                      <a:pt x="1703" y="918"/>
                    </a:lnTo>
                    <a:lnTo>
                      <a:pt x="1702" y="921"/>
                    </a:lnTo>
                    <a:lnTo>
                      <a:pt x="1700" y="921"/>
                    </a:lnTo>
                    <a:lnTo>
                      <a:pt x="1698" y="921"/>
                    </a:lnTo>
                    <a:lnTo>
                      <a:pt x="1695" y="921"/>
                    </a:lnTo>
                    <a:lnTo>
                      <a:pt x="1694" y="919"/>
                    </a:lnTo>
                    <a:lnTo>
                      <a:pt x="1692" y="917"/>
                    </a:lnTo>
                    <a:lnTo>
                      <a:pt x="1690" y="916"/>
                    </a:lnTo>
                    <a:lnTo>
                      <a:pt x="1690" y="913"/>
                    </a:lnTo>
                    <a:lnTo>
                      <a:pt x="1690" y="911"/>
                    </a:lnTo>
                    <a:lnTo>
                      <a:pt x="1689" y="910"/>
                    </a:lnTo>
                    <a:lnTo>
                      <a:pt x="1687" y="908"/>
                    </a:lnTo>
                    <a:lnTo>
                      <a:pt x="1685" y="910"/>
                    </a:lnTo>
                    <a:lnTo>
                      <a:pt x="1683" y="910"/>
                    </a:lnTo>
                    <a:lnTo>
                      <a:pt x="1682" y="911"/>
                    </a:lnTo>
                    <a:lnTo>
                      <a:pt x="1679" y="911"/>
                    </a:lnTo>
                    <a:lnTo>
                      <a:pt x="1678" y="915"/>
                    </a:lnTo>
                    <a:lnTo>
                      <a:pt x="1677" y="917"/>
                    </a:lnTo>
                    <a:lnTo>
                      <a:pt x="1676" y="921"/>
                    </a:lnTo>
                    <a:lnTo>
                      <a:pt x="1674" y="924"/>
                    </a:lnTo>
                    <a:lnTo>
                      <a:pt x="1671" y="928"/>
                    </a:lnTo>
                    <a:lnTo>
                      <a:pt x="1664" y="929"/>
                    </a:lnTo>
                    <a:lnTo>
                      <a:pt x="1658" y="928"/>
                    </a:lnTo>
                    <a:lnTo>
                      <a:pt x="1651" y="927"/>
                    </a:lnTo>
                    <a:lnTo>
                      <a:pt x="1636" y="918"/>
                    </a:lnTo>
                    <a:lnTo>
                      <a:pt x="1632" y="919"/>
                    </a:lnTo>
                    <a:lnTo>
                      <a:pt x="1629" y="921"/>
                    </a:lnTo>
                    <a:lnTo>
                      <a:pt x="1626" y="922"/>
                    </a:lnTo>
                    <a:lnTo>
                      <a:pt x="1623" y="923"/>
                    </a:lnTo>
                    <a:lnTo>
                      <a:pt x="1621" y="923"/>
                    </a:lnTo>
                    <a:lnTo>
                      <a:pt x="1617" y="924"/>
                    </a:lnTo>
                    <a:lnTo>
                      <a:pt x="1611" y="924"/>
                    </a:lnTo>
                    <a:lnTo>
                      <a:pt x="1606" y="922"/>
                    </a:lnTo>
                    <a:lnTo>
                      <a:pt x="1602" y="919"/>
                    </a:lnTo>
                    <a:lnTo>
                      <a:pt x="1597" y="919"/>
                    </a:lnTo>
                    <a:lnTo>
                      <a:pt x="1591" y="922"/>
                    </a:lnTo>
                    <a:lnTo>
                      <a:pt x="1588" y="923"/>
                    </a:lnTo>
                    <a:lnTo>
                      <a:pt x="1586" y="926"/>
                    </a:lnTo>
                    <a:lnTo>
                      <a:pt x="1585" y="929"/>
                    </a:lnTo>
                    <a:lnTo>
                      <a:pt x="1582" y="932"/>
                    </a:lnTo>
                    <a:lnTo>
                      <a:pt x="1581" y="936"/>
                    </a:lnTo>
                    <a:lnTo>
                      <a:pt x="1578" y="938"/>
                    </a:lnTo>
                    <a:lnTo>
                      <a:pt x="1576" y="939"/>
                    </a:lnTo>
                    <a:lnTo>
                      <a:pt x="1570" y="939"/>
                    </a:lnTo>
                    <a:lnTo>
                      <a:pt x="1565" y="938"/>
                    </a:lnTo>
                    <a:lnTo>
                      <a:pt x="1558" y="938"/>
                    </a:lnTo>
                    <a:lnTo>
                      <a:pt x="1552" y="942"/>
                    </a:lnTo>
                    <a:lnTo>
                      <a:pt x="1550" y="946"/>
                    </a:lnTo>
                    <a:lnTo>
                      <a:pt x="1548" y="948"/>
                    </a:lnTo>
                    <a:lnTo>
                      <a:pt x="1548" y="951"/>
                    </a:lnTo>
                    <a:lnTo>
                      <a:pt x="1550" y="952"/>
                    </a:lnTo>
                    <a:lnTo>
                      <a:pt x="1552" y="953"/>
                    </a:lnTo>
                    <a:lnTo>
                      <a:pt x="1556" y="954"/>
                    </a:lnTo>
                    <a:lnTo>
                      <a:pt x="1560" y="956"/>
                    </a:lnTo>
                    <a:lnTo>
                      <a:pt x="1562" y="957"/>
                    </a:lnTo>
                    <a:lnTo>
                      <a:pt x="1565" y="958"/>
                    </a:lnTo>
                    <a:lnTo>
                      <a:pt x="1568" y="959"/>
                    </a:lnTo>
                    <a:lnTo>
                      <a:pt x="1572" y="961"/>
                    </a:lnTo>
                    <a:lnTo>
                      <a:pt x="1576" y="962"/>
                    </a:lnTo>
                    <a:lnTo>
                      <a:pt x="1578" y="963"/>
                    </a:lnTo>
                    <a:lnTo>
                      <a:pt x="1580" y="965"/>
                    </a:lnTo>
                    <a:lnTo>
                      <a:pt x="1580" y="967"/>
                    </a:lnTo>
                    <a:lnTo>
                      <a:pt x="1578" y="969"/>
                    </a:lnTo>
                    <a:lnTo>
                      <a:pt x="1576" y="970"/>
                    </a:lnTo>
                    <a:lnTo>
                      <a:pt x="1576" y="972"/>
                    </a:lnTo>
                    <a:lnTo>
                      <a:pt x="1576" y="973"/>
                    </a:lnTo>
                    <a:lnTo>
                      <a:pt x="1577" y="974"/>
                    </a:lnTo>
                    <a:lnTo>
                      <a:pt x="1580" y="974"/>
                    </a:lnTo>
                    <a:lnTo>
                      <a:pt x="1583" y="974"/>
                    </a:lnTo>
                    <a:lnTo>
                      <a:pt x="1587" y="974"/>
                    </a:lnTo>
                    <a:lnTo>
                      <a:pt x="1590" y="975"/>
                    </a:lnTo>
                    <a:lnTo>
                      <a:pt x="1593" y="975"/>
                    </a:lnTo>
                    <a:lnTo>
                      <a:pt x="1596" y="977"/>
                    </a:lnTo>
                    <a:lnTo>
                      <a:pt x="1601" y="975"/>
                    </a:lnTo>
                    <a:lnTo>
                      <a:pt x="1605" y="974"/>
                    </a:lnTo>
                    <a:lnTo>
                      <a:pt x="1608" y="972"/>
                    </a:lnTo>
                    <a:lnTo>
                      <a:pt x="1612" y="972"/>
                    </a:lnTo>
                    <a:lnTo>
                      <a:pt x="1614" y="970"/>
                    </a:lnTo>
                    <a:lnTo>
                      <a:pt x="1618" y="970"/>
                    </a:lnTo>
                    <a:lnTo>
                      <a:pt x="1621" y="972"/>
                    </a:lnTo>
                    <a:lnTo>
                      <a:pt x="1623" y="973"/>
                    </a:lnTo>
                    <a:lnTo>
                      <a:pt x="1626" y="973"/>
                    </a:lnTo>
                    <a:lnTo>
                      <a:pt x="1628" y="974"/>
                    </a:lnTo>
                    <a:lnTo>
                      <a:pt x="1629" y="977"/>
                    </a:lnTo>
                    <a:lnTo>
                      <a:pt x="1632" y="978"/>
                    </a:lnTo>
                    <a:lnTo>
                      <a:pt x="1633" y="979"/>
                    </a:lnTo>
                    <a:lnTo>
                      <a:pt x="1634" y="980"/>
                    </a:lnTo>
                    <a:lnTo>
                      <a:pt x="1637" y="980"/>
                    </a:lnTo>
                    <a:lnTo>
                      <a:pt x="1641" y="979"/>
                    </a:lnTo>
                    <a:lnTo>
                      <a:pt x="1646" y="979"/>
                    </a:lnTo>
                    <a:lnTo>
                      <a:pt x="1651" y="978"/>
                    </a:lnTo>
                    <a:lnTo>
                      <a:pt x="1654" y="975"/>
                    </a:lnTo>
                    <a:lnTo>
                      <a:pt x="1659" y="974"/>
                    </a:lnTo>
                    <a:lnTo>
                      <a:pt x="1669" y="967"/>
                    </a:lnTo>
                    <a:lnTo>
                      <a:pt x="1682" y="959"/>
                    </a:lnTo>
                    <a:lnTo>
                      <a:pt x="1695" y="953"/>
                    </a:lnTo>
                    <a:lnTo>
                      <a:pt x="1708" y="953"/>
                    </a:lnTo>
                    <a:lnTo>
                      <a:pt x="1722" y="956"/>
                    </a:lnTo>
                    <a:lnTo>
                      <a:pt x="1734" y="958"/>
                    </a:lnTo>
                    <a:lnTo>
                      <a:pt x="1744" y="958"/>
                    </a:lnTo>
                    <a:lnTo>
                      <a:pt x="1754" y="959"/>
                    </a:lnTo>
                    <a:lnTo>
                      <a:pt x="1763" y="961"/>
                    </a:lnTo>
                    <a:lnTo>
                      <a:pt x="1768" y="963"/>
                    </a:lnTo>
                    <a:lnTo>
                      <a:pt x="1771" y="968"/>
                    </a:lnTo>
                    <a:lnTo>
                      <a:pt x="1774" y="972"/>
                    </a:lnTo>
                    <a:lnTo>
                      <a:pt x="1776" y="975"/>
                    </a:lnTo>
                    <a:lnTo>
                      <a:pt x="1776" y="978"/>
                    </a:lnTo>
                    <a:lnTo>
                      <a:pt x="1776" y="982"/>
                    </a:lnTo>
                    <a:lnTo>
                      <a:pt x="1774" y="985"/>
                    </a:lnTo>
                    <a:lnTo>
                      <a:pt x="1771" y="988"/>
                    </a:lnTo>
                    <a:lnTo>
                      <a:pt x="1769" y="990"/>
                    </a:lnTo>
                    <a:lnTo>
                      <a:pt x="1768" y="992"/>
                    </a:lnTo>
                    <a:lnTo>
                      <a:pt x="1769" y="994"/>
                    </a:lnTo>
                    <a:lnTo>
                      <a:pt x="1770" y="995"/>
                    </a:lnTo>
                    <a:lnTo>
                      <a:pt x="1771" y="995"/>
                    </a:lnTo>
                    <a:lnTo>
                      <a:pt x="1774" y="995"/>
                    </a:lnTo>
                    <a:lnTo>
                      <a:pt x="1775" y="997"/>
                    </a:lnTo>
                    <a:lnTo>
                      <a:pt x="1778" y="997"/>
                    </a:lnTo>
                    <a:lnTo>
                      <a:pt x="1779" y="998"/>
                    </a:lnTo>
                    <a:lnTo>
                      <a:pt x="1780" y="999"/>
                    </a:lnTo>
                    <a:lnTo>
                      <a:pt x="1783" y="1002"/>
                    </a:lnTo>
                    <a:lnTo>
                      <a:pt x="1785" y="1004"/>
                    </a:lnTo>
                    <a:lnTo>
                      <a:pt x="1786" y="1007"/>
                    </a:lnTo>
                    <a:lnTo>
                      <a:pt x="1786" y="1008"/>
                    </a:lnTo>
                    <a:lnTo>
                      <a:pt x="1781" y="1014"/>
                    </a:lnTo>
                    <a:lnTo>
                      <a:pt x="1774" y="1019"/>
                    </a:lnTo>
                    <a:lnTo>
                      <a:pt x="1764" y="1021"/>
                    </a:lnTo>
                    <a:lnTo>
                      <a:pt x="1755" y="1024"/>
                    </a:lnTo>
                    <a:lnTo>
                      <a:pt x="1745" y="1026"/>
                    </a:lnTo>
                    <a:lnTo>
                      <a:pt x="1733" y="1029"/>
                    </a:lnTo>
                    <a:lnTo>
                      <a:pt x="1723" y="1029"/>
                    </a:lnTo>
                    <a:lnTo>
                      <a:pt x="1714" y="1024"/>
                    </a:lnTo>
                    <a:lnTo>
                      <a:pt x="1712" y="1021"/>
                    </a:lnTo>
                    <a:lnTo>
                      <a:pt x="1710" y="1020"/>
                    </a:lnTo>
                    <a:lnTo>
                      <a:pt x="1709" y="1018"/>
                    </a:lnTo>
                    <a:lnTo>
                      <a:pt x="1708" y="1016"/>
                    </a:lnTo>
                    <a:lnTo>
                      <a:pt x="1707" y="1016"/>
                    </a:lnTo>
                    <a:lnTo>
                      <a:pt x="1707" y="1018"/>
                    </a:lnTo>
                    <a:lnTo>
                      <a:pt x="1705" y="1020"/>
                    </a:lnTo>
                    <a:lnTo>
                      <a:pt x="1705" y="1024"/>
                    </a:lnTo>
                    <a:lnTo>
                      <a:pt x="1703" y="1028"/>
                    </a:lnTo>
                    <a:lnTo>
                      <a:pt x="1697" y="1030"/>
                    </a:lnTo>
                    <a:lnTo>
                      <a:pt x="1689" y="1031"/>
                    </a:lnTo>
                    <a:lnTo>
                      <a:pt x="1682" y="1031"/>
                    </a:lnTo>
                    <a:lnTo>
                      <a:pt x="1664" y="1033"/>
                    </a:lnTo>
                    <a:lnTo>
                      <a:pt x="1646" y="1034"/>
                    </a:lnTo>
                    <a:lnTo>
                      <a:pt x="1621" y="1035"/>
                    </a:lnTo>
                    <a:lnTo>
                      <a:pt x="1596" y="1034"/>
                    </a:lnTo>
                    <a:lnTo>
                      <a:pt x="1592" y="1033"/>
                    </a:lnTo>
                    <a:lnTo>
                      <a:pt x="1591" y="1033"/>
                    </a:lnTo>
                    <a:lnTo>
                      <a:pt x="1590" y="1031"/>
                    </a:lnTo>
                    <a:lnTo>
                      <a:pt x="1590" y="1030"/>
                    </a:lnTo>
                    <a:lnTo>
                      <a:pt x="1590" y="1029"/>
                    </a:lnTo>
                    <a:lnTo>
                      <a:pt x="1590" y="1028"/>
                    </a:lnTo>
                    <a:lnTo>
                      <a:pt x="1590" y="1025"/>
                    </a:lnTo>
                    <a:lnTo>
                      <a:pt x="1588" y="1024"/>
                    </a:lnTo>
                    <a:lnTo>
                      <a:pt x="1586" y="1021"/>
                    </a:lnTo>
                    <a:lnTo>
                      <a:pt x="1582" y="1020"/>
                    </a:lnTo>
                    <a:lnTo>
                      <a:pt x="1580" y="1020"/>
                    </a:lnTo>
                    <a:lnTo>
                      <a:pt x="1576" y="1020"/>
                    </a:lnTo>
                    <a:lnTo>
                      <a:pt x="1573" y="1021"/>
                    </a:lnTo>
                    <a:lnTo>
                      <a:pt x="1568" y="1023"/>
                    </a:lnTo>
                    <a:lnTo>
                      <a:pt x="1565" y="1025"/>
                    </a:lnTo>
                    <a:lnTo>
                      <a:pt x="1561" y="1028"/>
                    </a:lnTo>
                    <a:lnTo>
                      <a:pt x="1557" y="1031"/>
                    </a:lnTo>
                    <a:lnTo>
                      <a:pt x="1555" y="1034"/>
                    </a:lnTo>
                    <a:lnTo>
                      <a:pt x="1552" y="1034"/>
                    </a:lnTo>
                    <a:lnTo>
                      <a:pt x="1551" y="1034"/>
                    </a:lnTo>
                    <a:lnTo>
                      <a:pt x="1548" y="1033"/>
                    </a:lnTo>
                    <a:lnTo>
                      <a:pt x="1547" y="1031"/>
                    </a:lnTo>
                    <a:lnTo>
                      <a:pt x="1545" y="1031"/>
                    </a:lnTo>
                    <a:lnTo>
                      <a:pt x="1542" y="1030"/>
                    </a:lnTo>
                    <a:lnTo>
                      <a:pt x="1538" y="1031"/>
                    </a:lnTo>
                    <a:lnTo>
                      <a:pt x="1537" y="1031"/>
                    </a:lnTo>
                    <a:lnTo>
                      <a:pt x="1535" y="1031"/>
                    </a:lnTo>
                    <a:lnTo>
                      <a:pt x="1532" y="1030"/>
                    </a:lnTo>
                    <a:lnTo>
                      <a:pt x="1531" y="1029"/>
                    </a:lnTo>
                    <a:lnTo>
                      <a:pt x="1529" y="1024"/>
                    </a:lnTo>
                    <a:lnTo>
                      <a:pt x="1526" y="1020"/>
                    </a:lnTo>
                    <a:lnTo>
                      <a:pt x="1524" y="1015"/>
                    </a:lnTo>
                    <a:lnTo>
                      <a:pt x="1520" y="1003"/>
                    </a:lnTo>
                    <a:lnTo>
                      <a:pt x="1521" y="987"/>
                    </a:lnTo>
                    <a:lnTo>
                      <a:pt x="1524" y="978"/>
                    </a:lnTo>
                    <a:lnTo>
                      <a:pt x="1526" y="969"/>
                    </a:lnTo>
                    <a:lnTo>
                      <a:pt x="1526" y="962"/>
                    </a:lnTo>
                    <a:lnTo>
                      <a:pt x="1521" y="956"/>
                    </a:lnTo>
                    <a:lnTo>
                      <a:pt x="1517" y="953"/>
                    </a:lnTo>
                    <a:lnTo>
                      <a:pt x="1515" y="949"/>
                    </a:lnTo>
                    <a:lnTo>
                      <a:pt x="1514" y="947"/>
                    </a:lnTo>
                    <a:lnTo>
                      <a:pt x="1512" y="943"/>
                    </a:lnTo>
                    <a:lnTo>
                      <a:pt x="1511" y="939"/>
                    </a:lnTo>
                    <a:lnTo>
                      <a:pt x="1510" y="937"/>
                    </a:lnTo>
                    <a:lnTo>
                      <a:pt x="1505" y="934"/>
                    </a:lnTo>
                    <a:lnTo>
                      <a:pt x="1499" y="936"/>
                    </a:lnTo>
                    <a:lnTo>
                      <a:pt x="1491" y="939"/>
                    </a:lnTo>
                    <a:lnTo>
                      <a:pt x="1485" y="942"/>
                    </a:lnTo>
                    <a:lnTo>
                      <a:pt x="1480" y="943"/>
                    </a:lnTo>
                    <a:lnTo>
                      <a:pt x="1476" y="943"/>
                    </a:lnTo>
                    <a:lnTo>
                      <a:pt x="1472" y="943"/>
                    </a:lnTo>
                    <a:lnTo>
                      <a:pt x="1470" y="942"/>
                    </a:lnTo>
                    <a:lnTo>
                      <a:pt x="1469" y="939"/>
                    </a:lnTo>
                    <a:lnTo>
                      <a:pt x="1466" y="937"/>
                    </a:lnTo>
                    <a:lnTo>
                      <a:pt x="1464" y="936"/>
                    </a:lnTo>
                    <a:lnTo>
                      <a:pt x="1461" y="934"/>
                    </a:lnTo>
                    <a:lnTo>
                      <a:pt x="1459" y="933"/>
                    </a:lnTo>
                    <a:lnTo>
                      <a:pt x="1455" y="932"/>
                    </a:lnTo>
                    <a:lnTo>
                      <a:pt x="1453" y="931"/>
                    </a:lnTo>
                    <a:lnTo>
                      <a:pt x="1450" y="928"/>
                    </a:lnTo>
                    <a:lnTo>
                      <a:pt x="1449" y="924"/>
                    </a:lnTo>
                    <a:lnTo>
                      <a:pt x="1448" y="922"/>
                    </a:lnTo>
                    <a:lnTo>
                      <a:pt x="1446" y="919"/>
                    </a:lnTo>
                    <a:lnTo>
                      <a:pt x="1445" y="916"/>
                    </a:lnTo>
                    <a:lnTo>
                      <a:pt x="1445" y="915"/>
                    </a:lnTo>
                    <a:lnTo>
                      <a:pt x="1444" y="913"/>
                    </a:lnTo>
                    <a:lnTo>
                      <a:pt x="1441" y="912"/>
                    </a:lnTo>
                    <a:lnTo>
                      <a:pt x="1439" y="911"/>
                    </a:lnTo>
                    <a:lnTo>
                      <a:pt x="1438" y="908"/>
                    </a:lnTo>
                    <a:lnTo>
                      <a:pt x="1436" y="905"/>
                    </a:lnTo>
                    <a:lnTo>
                      <a:pt x="1438" y="901"/>
                    </a:lnTo>
                    <a:lnTo>
                      <a:pt x="1440" y="898"/>
                    </a:lnTo>
                    <a:lnTo>
                      <a:pt x="1445" y="897"/>
                    </a:lnTo>
                    <a:lnTo>
                      <a:pt x="1450" y="896"/>
                    </a:lnTo>
                    <a:lnTo>
                      <a:pt x="1455" y="895"/>
                    </a:lnTo>
                    <a:lnTo>
                      <a:pt x="1462" y="896"/>
                    </a:lnTo>
                    <a:lnTo>
                      <a:pt x="1469" y="896"/>
                    </a:lnTo>
                    <a:lnTo>
                      <a:pt x="1476" y="895"/>
                    </a:lnTo>
                    <a:lnTo>
                      <a:pt x="1480" y="895"/>
                    </a:lnTo>
                    <a:lnTo>
                      <a:pt x="1482" y="895"/>
                    </a:lnTo>
                    <a:lnTo>
                      <a:pt x="1485" y="895"/>
                    </a:lnTo>
                    <a:lnTo>
                      <a:pt x="1487" y="895"/>
                    </a:lnTo>
                    <a:lnTo>
                      <a:pt x="1490" y="895"/>
                    </a:lnTo>
                    <a:lnTo>
                      <a:pt x="1494" y="897"/>
                    </a:lnTo>
                    <a:lnTo>
                      <a:pt x="1497" y="900"/>
                    </a:lnTo>
                    <a:lnTo>
                      <a:pt x="1499" y="902"/>
                    </a:lnTo>
                    <a:lnTo>
                      <a:pt x="1500" y="905"/>
                    </a:lnTo>
                    <a:lnTo>
                      <a:pt x="1500" y="907"/>
                    </a:lnTo>
                    <a:lnTo>
                      <a:pt x="1500" y="911"/>
                    </a:lnTo>
                    <a:lnTo>
                      <a:pt x="1500" y="913"/>
                    </a:lnTo>
                    <a:lnTo>
                      <a:pt x="1500" y="916"/>
                    </a:lnTo>
                    <a:lnTo>
                      <a:pt x="1500" y="916"/>
                    </a:lnTo>
                    <a:lnTo>
                      <a:pt x="1501" y="917"/>
                    </a:lnTo>
                    <a:lnTo>
                      <a:pt x="1504" y="917"/>
                    </a:lnTo>
                    <a:lnTo>
                      <a:pt x="1505" y="917"/>
                    </a:lnTo>
                    <a:lnTo>
                      <a:pt x="1507" y="917"/>
                    </a:lnTo>
                    <a:lnTo>
                      <a:pt x="1509" y="916"/>
                    </a:lnTo>
                    <a:lnTo>
                      <a:pt x="1510" y="916"/>
                    </a:lnTo>
                    <a:lnTo>
                      <a:pt x="1522" y="913"/>
                    </a:lnTo>
                    <a:lnTo>
                      <a:pt x="1531" y="911"/>
                    </a:lnTo>
                    <a:lnTo>
                      <a:pt x="1538" y="908"/>
                    </a:lnTo>
                    <a:lnTo>
                      <a:pt x="1545" y="906"/>
                    </a:lnTo>
                    <a:lnTo>
                      <a:pt x="1552" y="906"/>
                    </a:lnTo>
                    <a:lnTo>
                      <a:pt x="1556" y="906"/>
                    </a:lnTo>
                    <a:lnTo>
                      <a:pt x="1558" y="907"/>
                    </a:lnTo>
                    <a:lnTo>
                      <a:pt x="1561" y="910"/>
                    </a:lnTo>
                    <a:lnTo>
                      <a:pt x="1562" y="911"/>
                    </a:lnTo>
                    <a:lnTo>
                      <a:pt x="1566" y="912"/>
                    </a:lnTo>
                    <a:lnTo>
                      <a:pt x="1568" y="912"/>
                    </a:lnTo>
                    <a:lnTo>
                      <a:pt x="1571" y="912"/>
                    </a:lnTo>
                    <a:lnTo>
                      <a:pt x="1573" y="911"/>
                    </a:lnTo>
                    <a:lnTo>
                      <a:pt x="1576" y="910"/>
                    </a:lnTo>
                    <a:lnTo>
                      <a:pt x="1578" y="908"/>
                    </a:lnTo>
                    <a:lnTo>
                      <a:pt x="1580" y="906"/>
                    </a:lnTo>
                    <a:lnTo>
                      <a:pt x="1580" y="903"/>
                    </a:lnTo>
                    <a:lnTo>
                      <a:pt x="1580" y="901"/>
                    </a:lnTo>
                    <a:lnTo>
                      <a:pt x="1581" y="898"/>
                    </a:lnTo>
                    <a:lnTo>
                      <a:pt x="1583" y="895"/>
                    </a:lnTo>
                    <a:lnTo>
                      <a:pt x="1585" y="895"/>
                    </a:lnTo>
                    <a:lnTo>
                      <a:pt x="1587" y="893"/>
                    </a:lnTo>
                    <a:lnTo>
                      <a:pt x="1590" y="892"/>
                    </a:lnTo>
                    <a:lnTo>
                      <a:pt x="1592" y="891"/>
                    </a:lnTo>
                    <a:lnTo>
                      <a:pt x="1595" y="890"/>
                    </a:lnTo>
                    <a:lnTo>
                      <a:pt x="1596" y="887"/>
                    </a:lnTo>
                    <a:lnTo>
                      <a:pt x="1598" y="886"/>
                    </a:lnTo>
                    <a:lnTo>
                      <a:pt x="1600" y="883"/>
                    </a:lnTo>
                    <a:lnTo>
                      <a:pt x="1601" y="881"/>
                    </a:lnTo>
                    <a:lnTo>
                      <a:pt x="1605" y="880"/>
                    </a:lnTo>
                    <a:lnTo>
                      <a:pt x="1608" y="877"/>
                    </a:lnTo>
                    <a:lnTo>
                      <a:pt x="1612" y="875"/>
                    </a:lnTo>
                    <a:lnTo>
                      <a:pt x="1614" y="872"/>
                    </a:lnTo>
                    <a:lnTo>
                      <a:pt x="1616" y="870"/>
                    </a:lnTo>
                    <a:lnTo>
                      <a:pt x="1616" y="867"/>
                    </a:lnTo>
                    <a:lnTo>
                      <a:pt x="1614" y="865"/>
                    </a:lnTo>
                    <a:lnTo>
                      <a:pt x="1612" y="861"/>
                    </a:lnTo>
                    <a:lnTo>
                      <a:pt x="1609" y="859"/>
                    </a:lnTo>
                    <a:lnTo>
                      <a:pt x="1607" y="857"/>
                    </a:lnTo>
                    <a:lnTo>
                      <a:pt x="1606" y="855"/>
                    </a:lnTo>
                    <a:lnTo>
                      <a:pt x="1603" y="852"/>
                    </a:lnTo>
                    <a:lnTo>
                      <a:pt x="1602" y="851"/>
                    </a:lnTo>
                    <a:lnTo>
                      <a:pt x="1602" y="849"/>
                    </a:lnTo>
                    <a:lnTo>
                      <a:pt x="1603" y="846"/>
                    </a:lnTo>
                    <a:lnTo>
                      <a:pt x="1607" y="842"/>
                    </a:lnTo>
                    <a:lnTo>
                      <a:pt x="1618" y="837"/>
                    </a:lnTo>
                    <a:lnTo>
                      <a:pt x="1631" y="835"/>
                    </a:lnTo>
                    <a:lnTo>
                      <a:pt x="1643" y="837"/>
                    </a:lnTo>
                    <a:lnTo>
                      <a:pt x="1647" y="841"/>
                    </a:lnTo>
                    <a:lnTo>
                      <a:pt x="1651" y="845"/>
                    </a:lnTo>
                    <a:lnTo>
                      <a:pt x="1653" y="849"/>
                    </a:lnTo>
                    <a:lnTo>
                      <a:pt x="1656" y="852"/>
                    </a:lnTo>
                    <a:lnTo>
                      <a:pt x="1659" y="856"/>
                    </a:lnTo>
                    <a:lnTo>
                      <a:pt x="1664" y="864"/>
                    </a:lnTo>
                    <a:lnTo>
                      <a:pt x="1674" y="867"/>
                    </a:lnTo>
                    <a:lnTo>
                      <a:pt x="1688" y="866"/>
                    </a:lnTo>
                    <a:lnTo>
                      <a:pt x="1689" y="865"/>
                    </a:lnTo>
                    <a:lnTo>
                      <a:pt x="1690" y="864"/>
                    </a:lnTo>
                    <a:lnTo>
                      <a:pt x="1693" y="862"/>
                    </a:lnTo>
                    <a:lnTo>
                      <a:pt x="1695" y="861"/>
                    </a:lnTo>
                    <a:lnTo>
                      <a:pt x="1697" y="859"/>
                    </a:lnTo>
                    <a:lnTo>
                      <a:pt x="1698" y="857"/>
                    </a:lnTo>
                    <a:lnTo>
                      <a:pt x="1699" y="856"/>
                    </a:lnTo>
                    <a:lnTo>
                      <a:pt x="1698" y="855"/>
                    </a:lnTo>
                    <a:lnTo>
                      <a:pt x="1695" y="854"/>
                    </a:lnTo>
                    <a:lnTo>
                      <a:pt x="1689" y="854"/>
                    </a:lnTo>
                    <a:lnTo>
                      <a:pt x="1685" y="852"/>
                    </a:lnTo>
                    <a:lnTo>
                      <a:pt x="1682" y="852"/>
                    </a:lnTo>
                    <a:lnTo>
                      <a:pt x="1679" y="851"/>
                    </a:lnTo>
                    <a:lnTo>
                      <a:pt x="1677" y="849"/>
                    </a:lnTo>
                    <a:lnTo>
                      <a:pt x="1674" y="846"/>
                    </a:lnTo>
                    <a:lnTo>
                      <a:pt x="1672" y="844"/>
                    </a:lnTo>
                    <a:lnTo>
                      <a:pt x="1669" y="842"/>
                    </a:lnTo>
                    <a:lnTo>
                      <a:pt x="1667" y="840"/>
                    </a:lnTo>
                    <a:lnTo>
                      <a:pt x="1664" y="835"/>
                    </a:lnTo>
                    <a:lnTo>
                      <a:pt x="1668" y="830"/>
                    </a:lnTo>
                    <a:lnTo>
                      <a:pt x="1673" y="825"/>
                    </a:lnTo>
                    <a:lnTo>
                      <a:pt x="1677" y="819"/>
                    </a:lnTo>
                    <a:lnTo>
                      <a:pt x="1678" y="816"/>
                    </a:lnTo>
                    <a:lnTo>
                      <a:pt x="1677" y="815"/>
                    </a:lnTo>
                    <a:lnTo>
                      <a:pt x="1676" y="814"/>
                    </a:lnTo>
                    <a:lnTo>
                      <a:pt x="1674" y="814"/>
                    </a:lnTo>
                    <a:lnTo>
                      <a:pt x="1672" y="814"/>
                    </a:lnTo>
                    <a:lnTo>
                      <a:pt x="1669" y="814"/>
                    </a:lnTo>
                    <a:lnTo>
                      <a:pt x="1666" y="814"/>
                    </a:lnTo>
                    <a:lnTo>
                      <a:pt x="1662" y="814"/>
                    </a:lnTo>
                    <a:lnTo>
                      <a:pt x="1659" y="815"/>
                    </a:lnTo>
                    <a:lnTo>
                      <a:pt x="1657" y="815"/>
                    </a:lnTo>
                    <a:lnTo>
                      <a:pt x="1656" y="815"/>
                    </a:lnTo>
                    <a:lnTo>
                      <a:pt x="1653" y="814"/>
                    </a:lnTo>
                    <a:lnTo>
                      <a:pt x="1651" y="814"/>
                    </a:lnTo>
                    <a:lnTo>
                      <a:pt x="1649" y="814"/>
                    </a:lnTo>
                    <a:lnTo>
                      <a:pt x="1648" y="814"/>
                    </a:lnTo>
                    <a:lnTo>
                      <a:pt x="1646" y="814"/>
                    </a:lnTo>
                    <a:lnTo>
                      <a:pt x="1644" y="815"/>
                    </a:lnTo>
                    <a:lnTo>
                      <a:pt x="1642" y="816"/>
                    </a:lnTo>
                    <a:lnTo>
                      <a:pt x="1641" y="816"/>
                    </a:lnTo>
                    <a:lnTo>
                      <a:pt x="1636" y="816"/>
                    </a:lnTo>
                    <a:lnTo>
                      <a:pt x="1631" y="815"/>
                    </a:lnTo>
                    <a:lnTo>
                      <a:pt x="1627" y="813"/>
                    </a:lnTo>
                    <a:lnTo>
                      <a:pt x="1624" y="809"/>
                    </a:lnTo>
                    <a:lnTo>
                      <a:pt x="1624" y="806"/>
                    </a:lnTo>
                    <a:lnTo>
                      <a:pt x="1624" y="804"/>
                    </a:lnTo>
                    <a:lnTo>
                      <a:pt x="1624" y="801"/>
                    </a:lnTo>
                    <a:lnTo>
                      <a:pt x="1624" y="799"/>
                    </a:lnTo>
                    <a:lnTo>
                      <a:pt x="1624" y="795"/>
                    </a:lnTo>
                    <a:lnTo>
                      <a:pt x="1626" y="794"/>
                    </a:lnTo>
                    <a:lnTo>
                      <a:pt x="1626" y="791"/>
                    </a:lnTo>
                    <a:lnTo>
                      <a:pt x="1624" y="789"/>
                    </a:lnTo>
                    <a:lnTo>
                      <a:pt x="1624" y="786"/>
                    </a:lnTo>
                    <a:lnTo>
                      <a:pt x="1624" y="785"/>
                    </a:lnTo>
                    <a:lnTo>
                      <a:pt x="1626" y="784"/>
                    </a:lnTo>
                    <a:lnTo>
                      <a:pt x="1628" y="783"/>
                    </a:lnTo>
                    <a:lnTo>
                      <a:pt x="1631" y="783"/>
                    </a:lnTo>
                    <a:lnTo>
                      <a:pt x="1634" y="783"/>
                    </a:lnTo>
                    <a:lnTo>
                      <a:pt x="1638" y="783"/>
                    </a:lnTo>
                    <a:lnTo>
                      <a:pt x="1641" y="783"/>
                    </a:lnTo>
                    <a:lnTo>
                      <a:pt x="1642" y="780"/>
                    </a:lnTo>
                    <a:lnTo>
                      <a:pt x="1642" y="779"/>
                    </a:lnTo>
                    <a:lnTo>
                      <a:pt x="1642" y="776"/>
                    </a:lnTo>
                    <a:lnTo>
                      <a:pt x="1642" y="775"/>
                    </a:lnTo>
                    <a:lnTo>
                      <a:pt x="1642" y="773"/>
                    </a:lnTo>
                    <a:lnTo>
                      <a:pt x="1642" y="771"/>
                    </a:lnTo>
                    <a:lnTo>
                      <a:pt x="1643" y="769"/>
                    </a:lnTo>
                    <a:lnTo>
                      <a:pt x="1646" y="768"/>
                    </a:lnTo>
                    <a:lnTo>
                      <a:pt x="1648" y="768"/>
                    </a:lnTo>
                    <a:lnTo>
                      <a:pt x="1652" y="768"/>
                    </a:lnTo>
                    <a:lnTo>
                      <a:pt x="1654" y="768"/>
                    </a:lnTo>
                    <a:lnTo>
                      <a:pt x="1657" y="769"/>
                    </a:lnTo>
                    <a:lnTo>
                      <a:pt x="1659" y="771"/>
                    </a:lnTo>
                    <a:lnTo>
                      <a:pt x="1662" y="774"/>
                    </a:lnTo>
                    <a:lnTo>
                      <a:pt x="1664" y="775"/>
                    </a:lnTo>
                    <a:lnTo>
                      <a:pt x="1676" y="776"/>
                    </a:lnTo>
                    <a:lnTo>
                      <a:pt x="1685" y="778"/>
                    </a:lnTo>
                    <a:lnTo>
                      <a:pt x="1698" y="779"/>
                    </a:lnTo>
                    <a:lnTo>
                      <a:pt x="1710" y="780"/>
                    </a:lnTo>
                    <a:lnTo>
                      <a:pt x="1714" y="779"/>
                    </a:lnTo>
                    <a:lnTo>
                      <a:pt x="1715" y="776"/>
                    </a:lnTo>
                    <a:lnTo>
                      <a:pt x="1715" y="775"/>
                    </a:lnTo>
                    <a:lnTo>
                      <a:pt x="1714" y="773"/>
                    </a:lnTo>
                    <a:lnTo>
                      <a:pt x="1712" y="771"/>
                    </a:lnTo>
                    <a:lnTo>
                      <a:pt x="1708" y="769"/>
                    </a:lnTo>
                    <a:lnTo>
                      <a:pt x="1699" y="768"/>
                    </a:lnTo>
                    <a:lnTo>
                      <a:pt x="1688" y="769"/>
                    </a:lnTo>
                    <a:lnTo>
                      <a:pt x="1677" y="769"/>
                    </a:lnTo>
                    <a:lnTo>
                      <a:pt x="1677" y="769"/>
                    </a:lnTo>
                    <a:lnTo>
                      <a:pt x="1676" y="770"/>
                    </a:lnTo>
                    <a:lnTo>
                      <a:pt x="1673" y="770"/>
                    </a:lnTo>
                    <a:lnTo>
                      <a:pt x="1672" y="770"/>
                    </a:lnTo>
                    <a:lnTo>
                      <a:pt x="1669" y="770"/>
                    </a:lnTo>
                    <a:lnTo>
                      <a:pt x="1669" y="770"/>
                    </a:lnTo>
                    <a:lnTo>
                      <a:pt x="1669" y="769"/>
                    </a:lnTo>
                    <a:lnTo>
                      <a:pt x="1671" y="765"/>
                    </a:lnTo>
                    <a:lnTo>
                      <a:pt x="1672" y="763"/>
                    </a:lnTo>
                    <a:lnTo>
                      <a:pt x="1672" y="760"/>
                    </a:lnTo>
                    <a:lnTo>
                      <a:pt x="1672" y="757"/>
                    </a:lnTo>
                    <a:lnTo>
                      <a:pt x="1668" y="757"/>
                    </a:lnTo>
                    <a:lnTo>
                      <a:pt x="1666" y="758"/>
                    </a:lnTo>
                    <a:lnTo>
                      <a:pt x="1663" y="759"/>
                    </a:lnTo>
                    <a:lnTo>
                      <a:pt x="1662" y="762"/>
                    </a:lnTo>
                    <a:lnTo>
                      <a:pt x="1659" y="763"/>
                    </a:lnTo>
                    <a:lnTo>
                      <a:pt x="1657" y="763"/>
                    </a:lnTo>
                    <a:lnTo>
                      <a:pt x="1654" y="763"/>
                    </a:lnTo>
                    <a:lnTo>
                      <a:pt x="1652" y="762"/>
                    </a:lnTo>
                    <a:lnTo>
                      <a:pt x="1648" y="762"/>
                    </a:lnTo>
                    <a:lnTo>
                      <a:pt x="1646" y="762"/>
                    </a:lnTo>
                    <a:lnTo>
                      <a:pt x="1642" y="764"/>
                    </a:lnTo>
                    <a:lnTo>
                      <a:pt x="1638" y="767"/>
                    </a:lnTo>
                    <a:lnTo>
                      <a:pt x="1637" y="769"/>
                    </a:lnTo>
                    <a:lnTo>
                      <a:pt x="1634" y="771"/>
                    </a:lnTo>
                    <a:lnTo>
                      <a:pt x="1634" y="775"/>
                    </a:lnTo>
                    <a:lnTo>
                      <a:pt x="1633" y="778"/>
                    </a:lnTo>
                    <a:lnTo>
                      <a:pt x="1631" y="775"/>
                    </a:lnTo>
                    <a:lnTo>
                      <a:pt x="1629" y="774"/>
                    </a:lnTo>
                    <a:lnTo>
                      <a:pt x="1629" y="771"/>
                    </a:lnTo>
                    <a:lnTo>
                      <a:pt x="1628" y="770"/>
                    </a:lnTo>
                    <a:lnTo>
                      <a:pt x="1627" y="768"/>
                    </a:lnTo>
                    <a:lnTo>
                      <a:pt x="1624" y="767"/>
                    </a:lnTo>
                    <a:lnTo>
                      <a:pt x="1621" y="768"/>
                    </a:lnTo>
                    <a:lnTo>
                      <a:pt x="1619" y="773"/>
                    </a:lnTo>
                    <a:lnTo>
                      <a:pt x="1618" y="779"/>
                    </a:lnTo>
                    <a:lnTo>
                      <a:pt x="1617" y="784"/>
                    </a:lnTo>
                    <a:lnTo>
                      <a:pt x="1617" y="788"/>
                    </a:lnTo>
                    <a:lnTo>
                      <a:pt x="1618" y="789"/>
                    </a:lnTo>
                    <a:lnTo>
                      <a:pt x="1618" y="791"/>
                    </a:lnTo>
                    <a:lnTo>
                      <a:pt x="1618" y="794"/>
                    </a:lnTo>
                    <a:lnTo>
                      <a:pt x="1618" y="796"/>
                    </a:lnTo>
                    <a:lnTo>
                      <a:pt x="1617" y="799"/>
                    </a:lnTo>
                    <a:lnTo>
                      <a:pt x="1614" y="801"/>
                    </a:lnTo>
                    <a:lnTo>
                      <a:pt x="1612" y="803"/>
                    </a:lnTo>
                    <a:lnTo>
                      <a:pt x="1609" y="806"/>
                    </a:lnTo>
                    <a:lnTo>
                      <a:pt x="1606" y="808"/>
                    </a:lnTo>
                    <a:lnTo>
                      <a:pt x="1602" y="809"/>
                    </a:lnTo>
                    <a:lnTo>
                      <a:pt x="1600" y="809"/>
                    </a:lnTo>
                    <a:lnTo>
                      <a:pt x="1597" y="809"/>
                    </a:lnTo>
                    <a:lnTo>
                      <a:pt x="1596" y="808"/>
                    </a:lnTo>
                    <a:lnTo>
                      <a:pt x="1595" y="806"/>
                    </a:lnTo>
                    <a:lnTo>
                      <a:pt x="1595" y="804"/>
                    </a:lnTo>
                    <a:lnTo>
                      <a:pt x="1593" y="803"/>
                    </a:lnTo>
                    <a:lnTo>
                      <a:pt x="1591" y="801"/>
                    </a:lnTo>
                    <a:lnTo>
                      <a:pt x="1588" y="801"/>
                    </a:lnTo>
                    <a:lnTo>
                      <a:pt x="1588" y="803"/>
                    </a:lnTo>
                    <a:lnTo>
                      <a:pt x="1588" y="804"/>
                    </a:lnTo>
                    <a:lnTo>
                      <a:pt x="1588" y="806"/>
                    </a:lnTo>
                    <a:lnTo>
                      <a:pt x="1590" y="808"/>
                    </a:lnTo>
                    <a:lnTo>
                      <a:pt x="1590" y="810"/>
                    </a:lnTo>
                    <a:lnTo>
                      <a:pt x="1588" y="811"/>
                    </a:lnTo>
                    <a:lnTo>
                      <a:pt x="1585" y="813"/>
                    </a:lnTo>
                    <a:lnTo>
                      <a:pt x="1582" y="811"/>
                    </a:lnTo>
                    <a:lnTo>
                      <a:pt x="1578" y="810"/>
                    </a:lnTo>
                    <a:lnTo>
                      <a:pt x="1576" y="809"/>
                    </a:lnTo>
                    <a:lnTo>
                      <a:pt x="1575" y="808"/>
                    </a:lnTo>
                    <a:lnTo>
                      <a:pt x="1573" y="806"/>
                    </a:lnTo>
                    <a:lnTo>
                      <a:pt x="1572" y="805"/>
                    </a:lnTo>
                    <a:lnTo>
                      <a:pt x="1571" y="805"/>
                    </a:lnTo>
                    <a:lnTo>
                      <a:pt x="1570" y="806"/>
                    </a:lnTo>
                    <a:lnTo>
                      <a:pt x="1568" y="808"/>
                    </a:lnTo>
                    <a:lnTo>
                      <a:pt x="1568" y="810"/>
                    </a:lnTo>
                    <a:lnTo>
                      <a:pt x="1567" y="811"/>
                    </a:lnTo>
                    <a:lnTo>
                      <a:pt x="1566" y="814"/>
                    </a:lnTo>
                    <a:lnTo>
                      <a:pt x="1565" y="816"/>
                    </a:lnTo>
                    <a:lnTo>
                      <a:pt x="1562" y="818"/>
                    </a:lnTo>
                    <a:lnTo>
                      <a:pt x="1558" y="819"/>
                    </a:lnTo>
                    <a:lnTo>
                      <a:pt x="1555" y="819"/>
                    </a:lnTo>
                    <a:lnTo>
                      <a:pt x="1548" y="819"/>
                    </a:lnTo>
                    <a:lnTo>
                      <a:pt x="1540" y="819"/>
                    </a:lnTo>
                    <a:lnTo>
                      <a:pt x="1531" y="818"/>
                    </a:lnTo>
                    <a:lnTo>
                      <a:pt x="1524" y="816"/>
                    </a:lnTo>
                    <a:lnTo>
                      <a:pt x="1520" y="813"/>
                    </a:lnTo>
                    <a:lnTo>
                      <a:pt x="1519" y="809"/>
                    </a:lnTo>
                    <a:lnTo>
                      <a:pt x="1520" y="806"/>
                    </a:lnTo>
                    <a:lnTo>
                      <a:pt x="1522" y="805"/>
                    </a:lnTo>
                    <a:lnTo>
                      <a:pt x="1526" y="804"/>
                    </a:lnTo>
                    <a:lnTo>
                      <a:pt x="1530" y="801"/>
                    </a:lnTo>
                    <a:lnTo>
                      <a:pt x="1532" y="800"/>
                    </a:lnTo>
                    <a:lnTo>
                      <a:pt x="1535" y="798"/>
                    </a:lnTo>
                    <a:lnTo>
                      <a:pt x="1536" y="795"/>
                    </a:lnTo>
                    <a:lnTo>
                      <a:pt x="1536" y="793"/>
                    </a:lnTo>
                    <a:lnTo>
                      <a:pt x="1535" y="793"/>
                    </a:lnTo>
                    <a:lnTo>
                      <a:pt x="1533" y="794"/>
                    </a:lnTo>
                    <a:lnTo>
                      <a:pt x="1532" y="795"/>
                    </a:lnTo>
                    <a:lnTo>
                      <a:pt x="1531" y="795"/>
                    </a:lnTo>
                    <a:lnTo>
                      <a:pt x="1529" y="795"/>
                    </a:lnTo>
                    <a:lnTo>
                      <a:pt x="1527" y="795"/>
                    </a:lnTo>
                    <a:lnTo>
                      <a:pt x="1526" y="795"/>
                    </a:lnTo>
                    <a:lnTo>
                      <a:pt x="1525" y="794"/>
                    </a:lnTo>
                    <a:lnTo>
                      <a:pt x="1524" y="793"/>
                    </a:lnTo>
                    <a:lnTo>
                      <a:pt x="1510" y="793"/>
                    </a:lnTo>
                    <a:lnTo>
                      <a:pt x="1509" y="791"/>
                    </a:lnTo>
                    <a:lnTo>
                      <a:pt x="1509" y="789"/>
                    </a:lnTo>
                    <a:lnTo>
                      <a:pt x="1510" y="786"/>
                    </a:lnTo>
                    <a:lnTo>
                      <a:pt x="1511" y="785"/>
                    </a:lnTo>
                    <a:lnTo>
                      <a:pt x="1512" y="783"/>
                    </a:lnTo>
                    <a:lnTo>
                      <a:pt x="1514" y="780"/>
                    </a:lnTo>
                    <a:lnTo>
                      <a:pt x="1515" y="779"/>
                    </a:lnTo>
                    <a:lnTo>
                      <a:pt x="1515" y="776"/>
                    </a:lnTo>
                    <a:lnTo>
                      <a:pt x="1514" y="775"/>
                    </a:lnTo>
                    <a:lnTo>
                      <a:pt x="1510" y="774"/>
                    </a:lnTo>
                    <a:lnTo>
                      <a:pt x="1509" y="773"/>
                    </a:lnTo>
                    <a:lnTo>
                      <a:pt x="1507" y="770"/>
                    </a:lnTo>
                    <a:lnTo>
                      <a:pt x="1509" y="769"/>
                    </a:lnTo>
                    <a:lnTo>
                      <a:pt x="1510" y="768"/>
                    </a:lnTo>
                    <a:lnTo>
                      <a:pt x="1511" y="765"/>
                    </a:lnTo>
                    <a:lnTo>
                      <a:pt x="1514" y="764"/>
                    </a:lnTo>
                    <a:lnTo>
                      <a:pt x="1516" y="762"/>
                    </a:lnTo>
                    <a:lnTo>
                      <a:pt x="1522" y="757"/>
                    </a:lnTo>
                    <a:lnTo>
                      <a:pt x="1530" y="754"/>
                    </a:lnTo>
                    <a:lnTo>
                      <a:pt x="1538" y="754"/>
                    </a:lnTo>
                    <a:lnTo>
                      <a:pt x="1543" y="753"/>
                    </a:lnTo>
                    <a:lnTo>
                      <a:pt x="1547" y="752"/>
                    </a:lnTo>
                    <a:lnTo>
                      <a:pt x="1548" y="750"/>
                    </a:lnTo>
                    <a:lnTo>
                      <a:pt x="1550" y="749"/>
                    </a:lnTo>
                    <a:lnTo>
                      <a:pt x="1548" y="747"/>
                    </a:lnTo>
                    <a:lnTo>
                      <a:pt x="1547" y="745"/>
                    </a:lnTo>
                    <a:lnTo>
                      <a:pt x="1546" y="744"/>
                    </a:lnTo>
                    <a:lnTo>
                      <a:pt x="1543" y="743"/>
                    </a:lnTo>
                    <a:lnTo>
                      <a:pt x="1541" y="742"/>
                    </a:lnTo>
                    <a:lnTo>
                      <a:pt x="1538" y="740"/>
                    </a:lnTo>
                    <a:lnTo>
                      <a:pt x="1530" y="738"/>
                    </a:lnTo>
                    <a:lnTo>
                      <a:pt x="1522" y="739"/>
                    </a:lnTo>
                    <a:lnTo>
                      <a:pt x="1514" y="742"/>
                    </a:lnTo>
                    <a:lnTo>
                      <a:pt x="1502" y="745"/>
                    </a:lnTo>
                    <a:lnTo>
                      <a:pt x="1487" y="745"/>
                    </a:lnTo>
                    <a:lnTo>
                      <a:pt x="1485" y="744"/>
                    </a:lnTo>
                    <a:lnTo>
                      <a:pt x="1484" y="744"/>
                    </a:lnTo>
                    <a:lnTo>
                      <a:pt x="1484" y="743"/>
                    </a:lnTo>
                    <a:lnTo>
                      <a:pt x="1484" y="742"/>
                    </a:lnTo>
                    <a:lnTo>
                      <a:pt x="1485" y="740"/>
                    </a:lnTo>
                    <a:lnTo>
                      <a:pt x="1486" y="739"/>
                    </a:lnTo>
                    <a:lnTo>
                      <a:pt x="1490" y="738"/>
                    </a:lnTo>
                    <a:lnTo>
                      <a:pt x="1492" y="738"/>
                    </a:lnTo>
                    <a:lnTo>
                      <a:pt x="1496" y="737"/>
                    </a:lnTo>
                    <a:lnTo>
                      <a:pt x="1500" y="735"/>
                    </a:lnTo>
                    <a:lnTo>
                      <a:pt x="1501" y="734"/>
                    </a:lnTo>
                    <a:lnTo>
                      <a:pt x="1504" y="732"/>
                    </a:lnTo>
                    <a:lnTo>
                      <a:pt x="1505" y="730"/>
                    </a:lnTo>
                    <a:lnTo>
                      <a:pt x="1506" y="729"/>
                    </a:lnTo>
                    <a:lnTo>
                      <a:pt x="1505" y="728"/>
                    </a:lnTo>
                    <a:lnTo>
                      <a:pt x="1502" y="728"/>
                    </a:lnTo>
                    <a:lnTo>
                      <a:pt x="1499" y="729"/>
                    </a:lnTo>
                    <a:lnTo>
                      <a:pt x="1496" y="729"/>
                    </a:lnTo>
                    <a:lnTo>
                      <a:pt x="1492" y="730"/>
                    </a:lnTo>
                    <a:lnTo>
                      <a:pt x="1490" y="730"/>
                    </a:lnTo>
                    <a:lnTo>
                      <a:pt x="1487" y="730"/>
                    </a:lnTo>
                    <a:lnTo>
                      <a:pt x="1484" y="729"/>
                    </a:lnTo>
                    <a:lnTo>
                      <a:pt x="1480" y="729"/>
                    </a:lnTo>
                    <a:lnTo>
                      <a:pt x="1477" y="728"/>
                    </a:lnTo>
                    <a:lnTo>
                      <a:pt x="1475" y="727"/>
                    </a:lnTo>
                    <a:lnTo>
                      <a:pt x="1474" y="724"/>
                    </a:lnTo>
                    <a:lnTo>
                      <a:pt x="1474" y="723"/>
                    </a:lnTo>
                    <a:lnTo>
                      <a:pt x="1474" y="721"/>
                    </a:lnTo>
                    <a:lnTo>
                      <a:pt x="1475" y="718"/>
                    </a:lnTo>
                    <a:lnTo>
                      <a:pt x="1477" y="717"/>
                    </a:lnTo>
                    <a:lnTo>
                      <a:pt x="1479" y="714"/>
                    </a:lnTo>
                    <a:lnTo>
                      <a:pt x="1479" y="712"/>
                    </a:lnTo>
                    <a:lnTo>
                      <a:pt x="1479" y="711"/>
                    </a:lnTo>
                    <a:lnTo>
                      <a:pt x="1479" y="708"/>
                    </a:lnTo>
                    <a:lnTo>
                      <a:pt x="1479" y="707"/>
                    </a:lnTo>
                    <a:lnTo>
                      <a:pt x="1480" y="704"/>
                    </a:lnTo>
                    <a:lnTo>
                      <a:pt x="1481" y="703"/>
                    </a:lnTo>
                    <a:lnTo>
                      <a:pt x="1485" y="701"/>
                    </a:lnTo>
                    <a:lnTo>
                      <a:pt x="1486" y="701"/>
                    </a:lnTo>
                    <a:lnTo>
                      <a:pt x="1489" y="701"/>
                    </a:lnTo>
                    <a:lnTo>
                      <a:pt x="1492" y="701"/>
                    </a:lnTo>
                    <a:lnTo>
                      <a:pt x="1495" y="701"/>
                    </a:lnTo>
                    <a:lnTo>
                      <a:pt x="1496" y="699"/>
                    </a:lnTo>
                    <a:lnTo>
                      <a:pt x="1497" y="698"/>
                    </a:lnTo>
                    <a:lnTo>
                      <a:pt x="1497" y="697"/>
                    </a:lnTo>
                    <a:lnTo>
                      <a:pt x="1497" y="696"/>
                    </a:lnTo>
                    <a:lnTo>
                      <a:pt x="1495" y="694"/>
                    </a:lnTo>
                    <a:lnTo>
                      <a:pt x="1494" y="694"/>
                    </a:lnTo>
                    <a:lnTo>
                      <a:pt x="1491" y="693"/>
                    </a:lnTo>
                    <a:lnTo>
                      <a:pt x="1490" y="693"/>
                    </a:lnTo>
                    <a:lnTo>
                      <a:pt x="1487" y="692"/>
                    </a:lnTo>
                    <a:lnTo>
                      <a:pt x="1486" y="691"/>
                    </a:lnTo>
                    <a:lnTo>
                      <a:pt x="1486" y="689"/>
                    </a:lnTo>
                    <a:lnTo>
                      <a:pt x="1486" y="688"/>
                    </a:lnTo>
                    <a:lnTo>
                      <a:pt x="1487" y="687"/>
                    </a:lnTo>
                    <a:lnTo>
                      <a:pt x="1487" y="684"/>
                    </a:lnTo>
                    <a:lnTo>
                      <a:pt x="1487" y="683"/>
                    </a:lnTo>
                    <a:lnTo>
                      <a:pt x="1486" y="682"/>
                    </a:lnTo>
                    <a:lnTo>
                      <a:pt x="1485" y="679"/>
                    </a:lnTo>
                    <a:lnTo>
                      <a:pt x="1485" y="678"/>
                    </a:lnTo>
                    <a:lnTo>
                      <a:pt x="1486" y="676"/>
                    </a:lnTo>
                    <a:lnTo>
                      <a:pt x="1487" y="674"/>
                    </a:lnTo>
                    <a:lnTo>
                      <a:pt x="1489" y="673"/>
                    </a:lnTo>
                    <a:lnTo>
                      <a:pt x="1492" y="672"/>
                    </a:lnTo>
                    <a:lnTo>
                      <a:pt x="1495" y="672"/>
                    </a:lnTo>
                    <a:lnTo>
                      <a:pt x="1497" y="673"/>
                    </a:lnTo>
                    <a:lnTo>
                      <a:pt x="1500" y="674"/>
                    </a:lnTo>
                    <a:lnTo>
                      <a:pt x="1502" y="674"/>
                    </a:lnTo>
                    <a:lnTo>
                      <a:pt x="1505" y="674"/>
                    </a:lnTo>
                    <a:lnTo>
                      <a:pt x="1506" y="674"/>
                    </a:lnTo>
                    <a:lnTo>
                      <a:pt x="1507" y="672"/>
                    </a:lnTo>
                    <a:lnTo>
                      <a:pt x="1509" y="671"/>
                    </a:lnTo>
                    <a:lnTo>
                      <a:pt x="1507" y="670"/>
                    </a:lnTo>
                    <a:lnTo>
                      <a:pt x="1506" y="668"/>
                    </a:lnTo>
                    <a:lnTo>
                      <a:pt x="1502" y="667"/>
                    </a:lnTo>
                    <a:lnTo>
                      <a:pt x="1500" y="667"/>
                    </a:lnTo>
                    <a:lnTo>
                      <a:pt x="1499" y="665"/>
                    </a:lnTo>
                    <a:lnTo>
                      <a:pt x="1497" y="662"/>
                    </a:lnTo>
                    <a:lnTo>
                      <a:pt x="1499" y="660"/>
                    </a:lnTo>
                    <a:lnTo>
                      <a:pt x="1500" y="656"/>
                    </a:lnTo>
                    <a:lnTo>
                      <a:pt x="1502" y="653"/>
                    </a:lnTo>
                    <a:lnTo>
                      <a:pt x="1506" y="651"/>
                    </a:lnTo>
                    <a:lnTo>
                      <a:pt x="1510" y="650"/>
                    </a:lnTo>
                    <a:lnTo>
                      <a:pt x="1514" y="648"/>
                    </a:lnTo>
                    <a:lnTo>
                      <a:pt x="1519" y="648"/>
                    </a:lnTo>
                    <a:lnTo>
                      <a:pt x="1521" y="650"/>
                    </a:lnTo>
                    <a:lnTo>
                      <a:pt x="1524" y="650"/>
                    </a:lnTo>
                    <a:lnTo>
                      <a:pt x="1525" y="648"/>
                    </a:lnTo>
                    <a:lnTo>
                      <a:pt x="1526" y="648"/>
                    </a:lnTo>
                    <a:lnTo>
                      <a:pt x="1526" y="647"/>
                    </a:lnTo>
                    <a:lnTo>
                      <a:pt x="1526" y="646"/>
                    </a:lnTo>
                    <a:lnTo>
                      <a:pt x="1526" y="645"/>
                    </a:lnTo>
                    <a:lnTo>
                      <a:pt x="1526" y="643"/>
                    </a:lnTo>
                    <a:lnTo>
                      <a:pt x="1529" y="642"/>
                    </a:lnTo>
                    <a:lnTo>
                      <a:pt x="1531" y="641"/>
                    </a:lnTo>
                    <a:lnTo>
                      <a:pt x="1533" y="641"/>
                    </a:lnTo>
                    <a:lnTo>
                      <a:pt x="1537" y="641"/>
                    </a:lnTo>
                    <a:lnTo>
                      <a:pt x="1538" y="641"/>
                    </a:lnTo>
                    <a:lnTo>
                      <a:pt x="1538" y="638"/>
                    </a:lnTo>
                    <a:lnTo>
                      <a:pt x="1535" y="637"/>
                    </a:lnTo>
                    <a:lnTo>
                      <a:pt x="1529" y="636"/>
                    </a:lnTo>
                    <a:lnTo>
                      <a:pt x="1521" y="636"/>
                    </a:lnTo>
                    <a:lnTo>
                      <a:pt x="1515" y="636"/>
                    </a:lnTo>
                    <a:lnTo>
                      <a:pt x="1510" y="636"/>
                    </a:lnTo>
                    <a:lnTo>
                      <a:pt x="1509" y="635"/>
                    </a:lnTo>
                    <a:lnTo>
                      <a:pt x="1507" y="635"/>
                    </a:lnTo>
                    <a:lnTo>
                      <a:pt x="1507" y="632"/>
                    </a:lnTo>
                    <a:lnTo>
                      <a:pt x="1509" y="631"/>
                    </a:lnTo>
                    <a:lnTo>
                      <a:pt x="1511" y="630"/>
                    </a:lnTo>
                    <a:lnTo>
                      <a:pt x="1514" y="627"/>
                    </a:lnTo>
                    <a:lnTo>
                      <a:pt x="1515" y="626"/>
                    </a:lnTo>
                    <a:lnTo>
                      <a:pt x="1519" y="626"/>
                    </a:lnTo>
                    <a:lnTo>
                      <a:pt x="1521" y="625"/>
                    </a:lnTo>
                    <a:lnTo>
                      <a:pt x="1525" y="625"/>
                    </a:lnTo>
                    <a:lnTo>
                      <a:pt x="1529" y="625"/>
                    </a:lnTo>
                    <a:lnTo>
                      <a:pt x="1540" y="623"/>
                    </a:lnTo>
                    <a:lnTo>
                      <a:pt x="1547" y="625"/>
                    </a:lnTo>
                    <a:lnTo>
                      <a:pt x="1555" y="627"/>
                    </a:lnTo>
                    <a:lnTo>
                      <a:pt x="1557" y="631"/>
                    </a:lnTo>
                    <a:lnTo>
                      <a:pt x="1558" y="633"/>
                    </a:lnTo>
                    <a:lnTo>
                      <a:pt x="1558" y="636"/>
                    </a:lnTo>
                    <a:lnTo>
                      <a:pt x="1558" y="640"/>
                    </a:lnTo>
                    <a:lnTo>
                      <a:pt x="1557" y="642"/>
                    </a:lnTo>
                    <a:lnTo>
                      <a:pt x="1557" y="646"/>
                    </a:lnTo>
                    <a:lnTo>
                      <a:pt x="1560" y="650"/>
                    </a:lnTo>
                    <a:lnTo>
                      <a:pt x="1562" y="652"/>
                    </a:lnTo>
                    <a:lnTo>
                      <a:pt x="1566" y="653"/>
                    </a:lnTo>
                    <a:lnTo>
                      <a:pt x="1568" y="656"/>
                    </a:lnTo>
                    <a:lnTo>
                      <a:pt x="1571" y="660"/>
                    </a:lnTo>
                    <a:lnTo>
                      <a:pt x="1571" y="661"/>
                    </a:lnTo>
                    <a:lnTo>
                      <a:pt x="1572" y="663"/>
                    </a:lnTo>
                    <a:lnTo>
                      <a:pt x="1573" y="666"/>
                    </a:lnTo>
                    <a:lnTo>
                      <a:pt x="1575" y="668"/>
                    </a:lnTo>
                    <a:lnTo>
                      <a:pt x="1576" y="671"/>
                    </a:lnTo>
                    <a:lnTo>
                      <a:pt x="1578" y="672"/>
                    </a:lnTo>
                    <a:lnTo>
                      <a:pt x="1581" y="672"/>
                    </a:lnTo>
                    <a:lnTo>
                      <a:pt x="1582" y="672"/>
                    </a:lnTo>
                    <a:lnTo>
                      <a:pt x="1585" y="672"/>
                    </a:lnTo>
                    <a:lnTo>
                      <a:pt x="1587" y="671"/>
                    </a:lnTo>
                    <a:lnTo>
                      <a:pt x="1590" y="671"/>
                    </a:lnTo>
                    <a:lnTo>
                      <a:pt x="1591" y="672"/>
                    </a:lnTo>
                    <a:lnTo>
                      <a:pt x="1602" y="672"/>
                    </a:lnTo>
                    <a:lnTo>
                      <a:pt x="1603" y="672"/>
                    </a:lnTo>
                    <a:lnTo>
                      <a:pt x="1605" y="673"/>
                    </a:lnTo>
                    <a:lnTo>
                      <a:pt x="1606" y="674"/>
                    </a:lnTo>
                    <a:lnTo>
                      <a:pt x="1607" y="676"/>
                    </a:lnTo>
                    <a:lnTo>
                      <a:pt x="1607" y="678"/>
                    </a:lnTo>
                    <a:lnTo>
                      <a:pt x="1607" y="681"/>
                    </a:lnTo>
                    <a:lnTo>
                      <a:pt x="1606" y="682"/>
                    </a:lnTo>
                    <a:lnTo>
                      <a:pt x="1605" y="683"/>
                    </a:lnTo>
                    <a:lnTo>
                      <a:pt x="1603" y="686"/>
                    </a:lnTo>
                    <a:lnTo>
                      <a:pt x="1602" y="688"/>
                    </a:lnTo>
                    <a:lnTo>
                      <a:pt x="1602" y="691"/>
                    </a:lnTo>
                    <a:lnTo>
                      <a:pt x="1602" y="693"/>
                    </a:lnTo>
                    <a:lnTo>
                      <a:pt x="1605" y="694"/>
                    </a:lnTo>
                    <a:lnTo>
                      <a:pt x="1607" y="697"/>
                    </a:lnTo>
                    <a:lnTo>
                      <a:pt x="1609" y="698"/>
                    </a:lnTo>
                    <a:lnTo>
                      <a:pt x="1612" y="701"/>
                    </a:lnTo>
                    <a:lnTo>
                      <a:pt x="1614" y="701"/>
                    </a:lnTo>
                    <a:lnTo>
                      <a:pt x="1617" y="701"/>
                    </a:lnTo>
                    <a:lnTo>
                      <a:pt x="1618" y="699"/>
                    </a:lnTo>
                    <a:lnTo>
                      <a:pt x="1618" y="698"/>
                    </a:lnTo>
                    <a:lnTo>
                      <a:pt x="1618" y="696"/>
                    </a:lnTo>
                    <a:lnTo>
                      <a:pt x="1617" y="693"/>
                    </a:lnTo>
                    <a:lnTo>
                      <a:pt x="1613" y="691"/>
                    </a:lnTo>
                    <a:lnTo>
                      <a:pt x="1612" y="688"/>
                    </a:lnTo>
                    <a:lnTo>
                      <a:pt x="1611" y="684"/>
                    </a:lnTo>
                    <a:lnTo>
                      <a:pt x="1612" y="681"/>
                    </a:lnTo>
                    <a:lnTo>
                      <a:pt x="1616" y="678"/>
                    </a:lnTo>
                    <a:lnTo>
                      <a:pt x="1619" y="677"/>
                    </a:lnTo>
                    <a:lnTo>
                      <a:pt x="1622" y="677"/>
                    </a:lnTo>
                    <a:lnTo>
                      <a:pt x="1626" y="678"/>
                    </a:lnTo>
                    <a:lnTo>
                      <a:pt x="1628" y="679"/>
                    </a:lnTo>
                    <a:lnTo>
                      <a:pt x="1629" y="682"/>
                    </a:lnTo>
                    <a:lnTo>
                      <a:pt x="1631" y="683"/>
                    </a:lnTo>
                    <a:lnTo>
                      <a:pt x="1631" y="687"/>
                    </a:lnTo>
                    <a:lnTo>
                      <a:pt x="1631" y="689"/>
                    </a:lnTo>
                    <a:lnTo>
                      <a:pt x="1631" y="692"/>
                    </a:lnTo>
                    <a:lnTo>
                      <a:pt x="1631" y="693"/>
                    </a:lnTo>
                    <a:lnTo>
                      <a:pt x="1628" y="696"/>
                    </a:lnTo>
                    <a:lnTo>
                      <a:pt x="1628" y="697"/>
                    </a:lnTo>
                    <a:lnTo>
                      <a:pt x="1629" y="698"/>
                    </a:lnTo>
                    <a:lnTo>
                      <a:pt x="1631" y="698"/>
                    </a:lnTo>
                    <a:lnTo>
                      <a:pt x="1632" y="699"/>
                    </a:lnTo>
                    <a:lnTo>
                      <a:pt x="1632" y="701"/>
                    </a:lnTo>
                    <a:lnTo>
                      <a:pt x="1633" y="701"/>
                    </a:lnTo>
                    <a:lnTo>
                      <a:pt x="1632" y="706"/>
                    </a:lnTo>
                    <a:lnTo>
                      <a:pt x="1632" y="712"/>
                    </a:lnTo>
                    <a:lnTo>
                      <a:pt x="1631" y="718"/>
                    </a:lnTo>
                    <a:lnTo>
                      <a:pt x="1632" y="723"/>
                    </a:lnTo>
                    <a:lnTo>
                      <a:pt x="1636" y="724"/>
                    </a:lnTo>
                    <a:lnTo>
                      <a:pt x="1644" y="725"/>
                    </a:lnTo>
                    <a:lnTo>
                      <a:pt x="1653" y="727"/>
                    </a:lnTo>
                    <a:lnTo>
                      <a:pt x="1662" y="728"/>
                    </a:lnTo>
                    <a:lnTo>
                      <a:pt x="1663" y="728"/>
                    </a:lnTo>
                    <a:lnTo>
                      <a:pt x="1664" y="729"/>
                    </a:lnTo>
                    <a:lnTo>
                      <a:pt x="1667" y="730"/>
                    </a:lnTo>
                    <a:lnTo>
                      <a:pt x="1668" y="730"/>
                    </a:lnTo>
                    <a:lnTo>
                      <a:pt x="1671" y="732"/>
                    </a:lnTo>
                    <a:lnTo>
                      <a:pt x="1672" y="732"/>
                    </a:lnTo>
                    <a:lnTo>
                      <a:pt x="1673" y="732"/>
                    </a:lnTo>
                    <a:lnTo>
                      <a:pt x="1674" y="732"/>
                    </a:lnTo>
                    <a:lnTo>
                      <a:pt x="1673" y="732"/>
                    </a:lnTo>
                    <a:lnTo>
                      <a:pt x="1672" y="730"/>
                    </a:lnTo>
                    <a:lnTo>
                      <a:pt x="1669" y="728"/>
                    </a:lnTo>
                    <a:lnTo>
                      <a:pt x="1667" y="727"/>
                    </a:lnTo>
                    <a:lnTo>
                      <a:pt x="1666" y="724"/>
                    </a:lnTo>
                    <a:lnTo>
                      <a:pt x="1664" y="722"/>
                    </a:lnTo>
                    <a:lnTo>
                      <a:pt x="1663" y="721"/>
                    </a:lnTo>
                    <a:lnTo>
                      <a:pt x="1661" y="718"/>
                    </a:lnTo>
                    <a:lnTo>
                      <a:pt x="1659" y="717"/>
                    </a:lnTo>
                    <a:lnTo>
                      <a:pt x="1657" y="714"/>
                    </a:lnTo>
                    <a:lnTo>
                      <a:pt x="1653" y="714"/>
                    </a:lnTo>
                    <a:lnTo>
                      <a:pt x="1649" y="713"/>
                    </a:lnTo>
                    <a:lnTo>
                      <a:pt x="1648" y="711"/>
                    </a:lnTo>
                    <a:lnTo>
                      <a:pt x="1646" y="708"/>
                    </a:lnTo>
                    <a:lnTo>
                      <a:pt x="1646" y="706"/>
                    </a:lnTo>
                    <a:lnTo>
                      <a:pt x="1646" y="703"/>
                    </a:lnTo>
                    <a:lnTo>
                      <a:pt x="1646" y="701"/>
                    </a:lnTo>
                    <a:lnTo>
                      <a:pt x="1646" y="698"/>
                    </a:lnTo>
                    <a:lnTo>
                      <a:pt x="1646" y="697"/>
                    </a:lnTo>
                    <a:lnTo>
                      <a:pt x="1646" y="696"/>
                    </a:lnTo>
                    <a:lnTo>
                      <a:pt x="1646" y="693"/>
                    </a:lnTo>
                    <a:lnTo>
                      <a:pt x="1646" y="691"/>
                    </a:lnTo>
                    <a:lnTo>
                      <a:pt x="1646" y="687"/>
                    </a:lnTo>
                    <a:lnTo>
                      <a:pt x="1647" y="686"/>
                    </a:lnTo>
                    <a:lnTo>
                      <a:pt x="1648" y="683"/>
                    </a:lnTo>
                    <a:lnTo>
                      <a:pt x="1651" y="683"/>
                    </a:lnTo>
                    <a:lnTo>
                      <a:pt x="1653" y="683"/>
                    </a:lnTo>
                    <a:lnTo>
                      <a:pt x="1667" y="683"/>
                    </a:lnTo>
                    <a:lnTo>
                      <a:pt x="1682" y="684"/>
                    </a:lnTo>
                    <a:lnTo>
                      <a:pt x="1695" y="688"/>
                    </a:lnTo>
                    <a:lnTo>
                      <a:pt x="1704" y="694"/>
                    </a:lnTo>
                    <a:lnTo>
                      <a:pt x="1710" y="701"/>
                    </a:lnTo>
                    <a:lnTo>
                      <a:pt x="1717" y="707"/>
                    </a:lnTo>
                    <a:lnTo>
                      <a:pt x="1718" y="709"/>
                    </a:lnTo>
                    <a:lnTo>
                      <a:pt x="1719" y="711"/>
                    </a:lnTo>
                    <a:lnTo>
                      <a:pt x="1720" y="713"/>
                    </a:lnTo>
                    <a:lnTo>
                      <a:pt x="1722" y="716"/>
                    </a:lnTo>
                    <a:lnTo>
                      <a:pt x="1724" y="717"/>
                    </a:lnTo>
                    <a:lnTo>
                      <a:pt x="1727" y="719"/>
                    </a:lnTo>
                    <a:lnTo>
                      <a:pt x="1729" y="721"/>
                    </a:lnTo>
                    <a:lnTo>
                      <a:pt x="1732" y="722"/>
                    </a:lnTo>
                    <a:lnTo>
                      <a:pt x="1734" y="723"/>
                    </a:lnTo>
                    <a:lnTo>
                      <a:pt x="1737" y="724"/>
                    </a:lnTo>
                    <a:lnTo>
                      <a:pt x="1739" y="724"/>
                    </a:lnTo>
                    <a:lnTo>
                      <a:pt x="1744" y="725"/>
                    </a:lnTo>
                    <a:lnTo>
                      <a:pt x="1747" y="725"/>
                    </a:lnTo>
                    <a:lnTo>
                      <a:pt x="1748" y="725"/>
                    </a:lnTo>
                    <a:lnTo>
                      <a:pt x="1748" y="724"/>
                    </a:lnTo>
                    <a:lnTo>
                      <a:pt x="1747" y="724"/>
                    </a:lnTo>
                    <a:lnTo>
                      <a:pt x="1745" y="723"/>
                    </a:lnTo>
                    <a:lnTo>
                      <a:pt x="1744" y="722"/>
                    </a:lnTo>
                    <a:lnTo>
                      <a:pt x="1742" y="722"/>
                    </a:lnTo>
                    <a:lnTo>
                      <a:pt x="1739" y="721"/>
                    </a:lnTo>
                    <a:lnTo>
                      <a:pt x="1737" y="719"/>
                    </a:lnTo>
                    <a:lnTo>
                      <a:pt x="1734" y="718"/>
                    </a:lnTo>
                    <a:lnTo>
                      <a:pt x="1733" y="716"/>
                    </a:lnTo>
                    <a:lnTo>
                      <a:pt x="1732" y="713"/>
                    </a:lnTo>
                    <a:lnTo>
                      <a:pt x="1730" y="711"/>
                    </a:lnTo>
                    <a:lnTo>
                      <a:pt x="1729" y="709"/>
                    </a:lnTo>
                    <a:lnTo>
                      <a:pt x="1727" y="706"/>
                    </a:lnTo>
                    <a:lnTo>
                      <a:pt x="1724" y="703"/>
                    </a:lnTo>
                    <a:lnTo>
                      <a:pt x="1722" y="699"/>
                    </a:lnTo>
                    <a:lnTo>
                      <a:pt x="1719" y="696"/>
                    </a:lnTo>
                    <a:lnTo>
                      <a:pt x="1717" y="694"/>
                    </a:lnTo>
                    <a:lnTo>
                      <a:pt x="1714" y="692"/>
                    </a:lnTo>
                    <a:lnTo>
                      <a:pt x="1713" y="691"/>
                    </a:lnTo>
                    <a:lnTo>
                      <a:pt x="1710" y="688"/>
                    </a:lnTo>
                    <a:lnTo>
                      <a:pt x="1710" y="686"/>
                    </a:lnTo>
                    <a:lnTo>
                      <a:pt x="1712" y="684"/>
                    </a:lnTo>
                    <a:lnTo>
                      <a:pt x="1714" y="682"/>
                    </a:lnTo>
                    <a:lnTo>
                      <a:pt x="1719" y="681"/>
                    </a:lnTo>
                    <a:lnTo>
                      <a:pt x="1724" y="678"/>
                    </a:lnTo>
                    <a:lnTo>
                      <a:pt x="1730" y="674"/>
                    </a:lnTo>
                    <a:lnTo>
                      <a:pt x="1737" y="672"/>
                    </a:lnTo>
                    <a:lnTo>
                      <a:pt x="1742" y="672"/>
                    </a:lnTo>
                    <a:lnTo>
                      <a:pt x="1747" y="672"/>
                    </a:lnTo>
                    <a:lnTo>
                      <a:pt x="1751" y="671"/>
                    </a:lnTo>
                    <a:lnTo>
                      <a:pt x="1755" y="670"/>
                    </a:lnTo>
                    <a:lnTo>
                      <a:pt x="1759" y="667"/>
                    </a:lnTo>
                    <a:lnTo>
                      <a:pt x="1763" y="665"/>
                    </a:lnTo>
                    <a:lnTo>
                      <a:pt x="1765" y="662"/>
                    </a:lnTo>
                    <a:lnTo>
                      <a:pt x="1768" y="661"/>
                    </a:lnTo>
                    <a:lnTo>
                      <a:pt x="1771" y="660"/>
                    </a:lnTo>
                    <a:lnTo>
                      <a:pt x="1774" y="658"/>
                    </a:lnTo>
                    <a:lnTo>
                      <a:pt x="1776" y="657"/>
                    </a:lnTo>
                    <a:lnTo>
                      <a:pt x="1788" y="652"/>
                    </a:lnTo>
                    <a:lnTo>
                      <a:pt x="1799" y="651"/>
                    </a:lnTo>
                    <a:lnTo>
                      <a:pt x="1810" y="651"/>
                    </a:lnTo>
                    <a:lnTo>
                      <a:pt x="1811" y="651"/>
                    </a:lnTo>
                    <a:lnTo>
                      <a:pt x="1814" y="651"/>
                    </a:lnTo>
                    <a:lnTo>
                      <a:pt x="1818" y="651"/>
                    </a:lnTo>
                    <a:lnTo>
                      <a:pt x="1820" y="650"/>
                    </a:lnTo>
                    <a:lnTo>
                      <a:pt x="1823" y="648"/>
                    </a:lnTo>
                    <a:lnTo>
                      <a:pt x="1825" y="648"/>
                    </a:lnTo>
                    <a:lnTo>
                      <a:pt x="1825" y="647"/>
                    </a:lnTo>
                    <a:lnTo>
                      <a:pt x="1823" y="646"/>
                    </a:lnTo>
                    <a:lnTo>
                      <a:pt x="1816" y="645"/>
                    </a:lnTo>
                    <a:lnTo>
                      <a:pt x="1806" y="643"/>
                    </a:lnTo>
                    <a:lnTo>
                      <a:pt x="1796" y="643"/>
                    </a:lnTo>
                    <a:lnTo>
                      <a:pt x="1776" y="643"/>
                    </a:lnTo>
                    <a:lnTo>
                      <a:pt x="1774" y="641"/>
                    </a:lnTo>
                    <a:lnTo>
                      <a:pt x="1775" y="637"/>
                    </a:lnTo>
                    <a:lnTo>
                      <a:pt x="1779" y="632"/>
                    </a:lnTo>
                    <a:lnTo>
                      <a:pt x="1785" y="627"/>
                    </a:lnTo>
                    <a:lnTo>
                      <a:pt x="1790" y="622"/>
                    </a:lnTo>
                    <a:lnTo>
                      <a:pt x="1794" y="620"/>
                    </a:lnTo>
                    <a:lnTo>
                      <a:pt x="1798" y="619"/>
                    </a:lnTo>
                    <a:lnTo>
                      <a:pt x="1800" y="617"/>
                    </a:lnTo>
                    <a:lnTo>
                      <a:pt x="1803" y="616"/>
                    </a:lnTo>
                    <a:lnTo>
                      <a:pt x="1805" y="615"/>
                    </a:lnTo>
                    <a:lnTo>
                      <a:pt x="1808" y="612"/>
                    </a:lnTo>
                    <a:lnTo>
                      <a:pt x="1808" y="612"/>
                    </a:lnTo>
                    <a:lnTo>
                      <a:pt x="1808" y="611"/>
                    </a:lnTo>
                    <a:lnTo>
                      <a:pt x="1806" y="610"/>
                    </a:lnTo>
                    <a:lnTo>
                      <a:pt x="1805" y="610"/>
                    </a:lnTo>
                    <a:lnTo>
                      <a:pt x="1803" y="610"/>
                    </a:lnTo>
                    <a:lnTo>
                      <a:pt x="1791" y="612"/>
                    </a:lnTo>
                    <a:lnTo>
                      <a:pt x="1781" y="617"/>
                    </a:lnTo>
                    <a:lnTo>
                      <a:pt x="1773" y="622"/>
                    </a:lnTo>
                    <a:lnTo>
                      <a:pt x="1768" y="630"/>
                    </a:lnTo>
                    <a:lnTo>
                      <a:pt x="1765" y="638"/>
                    </a:lnTo>
                    <a:lnTo>
                      <a:pt x="1766" y="640"/>
                    </a:lnTo>
                    <a:lnTo>
                      <a:pt x="1766" y="642"/>
                    </a:lnTo>
                    <a:lnTo>
                      <a:pt x="1766" y="645"/>
                    </a:lnTo>
                    <a:lnTo>
                      <a:pt x="1765" y="646"/>
                    </a:lnTo>
                    <a:lnTo>
                      <a:pt x="1764" y="648"/>
                    </a:lnTo>
                    <a:lnTo>
                      <a:pt x="1760" y="650"/>
                    </a:lnTo>
                    <a:lnTo>
                      <a:pt x="1759" y="652"/>
                    </a:lnTo>
                    <a:lnTo>
                      <a:pt x="1758" y="655"/>
                    </a:lnTo>
                    <a:lnTo>
                      <a:pt x="1753" y="658"/>
                    </a:lnTo>
                    <a:lnTo>
                      <a:pt x="1744" y="661"/>
                    </a:lnTo>
                    <a:lnTo>
                      <a:pt x="1734" y="663"/>
                    </a:lnTo>
                    <a:lnTo>
                      <a:pt x="1724" y="665"/>
                    </a:lnTo>
                    <a:lnTo>
                      <a:pt x="1720" y="667"/>
                    </a:lnTo>
                    <a:lnTo>
                      <a:pt x="1715" y="668"/>
                    </a:lnTo>
                    <a:lnTo>
                      <a:pt x="1712" y="670"/>
                    </a:lnTo>
                    <a:lnTo>
                      <a:pt x="1705" y="670"/>
                    </a:lnTo>
                    <a:lnTo>
                      <a:pt x="1704" y="668"/>
                    </a:lnTo>
                    <a:lnTo>
                      <a:pt x="1703" y="667"/>
                    </a:lnTo>
                    <a:lnTo>
                      <a:pt x="1703" y="666"/>
                    </a:lnTo>
                    <a:lnTo>
                      <a:pt x="1703" y="665"/>
                    </a:lnTo>
                    <a:lnTo>
                      <a:pt x="1704" y="663"/>
                    </a:lnTo>
                    <a:lnTo>
                      <a:pt x="1704" y="662"/>
                    </a:lnTo>
                    <a:lnTo>
                      <a:pt x="1704" y="661"/>
                    </a:lnTo>
                    <a:lnTo>
                      <a:pt x="1703" y="660"/>
                    </a:lnTo>
                    <a:lnTo>
                      <a:pt x="1700" y="658"/>
                    </a:lnTo>
                    <a:lnTo>
                      <a:pt x="1698" y="660"/>
                    </a:lnTo>
                    <a:lnTo>
                      <a:pt x="1694" y="662"/>
                    </a:lnTo>
                    <a:lnTo>
                      <a:pt x="1692" y="663"/>
                    </a:lnTo>
                    <a:lnTo>
                      <a:pt x="1689" y="666"/>
                    </a:lnTo>
                    <a:lnTo>
                      <a:pt x="1687" y="668"/>
                    </a:lnTo>
                    <a:lnTo>
                      <a:pt x="1685" y="670"/>
                    </a:lnTo>
                    <a:lnTo>
                      <a:pt x="1679" y="672"/>
                    </a:lnTo>
                    <a:lnTo>
                      <a:pt x="1671" y="673"/>
                    </a:lnTo>
                    <a:lnTo>
                      <a:pt x="1662" y="672"/>
                    </a:lnTo>
                    <a:lnTo>
                      <a:pt x="1657" y="670"/>
                    </a:lnTo>
                    <a:lnTo>
                      <a:pt x="1654" y="668"/>
                    </a:lnTo>
                    <a:lnTo>
                      <a:pt x="1654" y="667"/>
                    </a:lnTo>
                    <a:lnTo>
                      <a:pt x="1654" y="665"/>
                    </a:lnTo>
                    <a:lnTo>
                      <a:pt x="1656" y="662"/>
                    </a:lnTo>
                    <a:lnTo>
                      <a:pt x="1656" y="661"/>
                    </a:lnTo>
                    <a:lnTo>
                      <a:pt x="1657" y="660"/>
                    </a:lnTo>
                    <a:lnTo>
                      <a:pt x="1657" y="656"/>
                    </a:lnTo>
                    <a:lnTo>
                      <a:pt x="1658" y="655"/>
                    </a:lnTo>
                    <a:lnTo>
                      <a:pt x="1661" y="652"/>
                    </a:lnTo>
                    <a:lnTo>
                      <a:pt x="1663" y="651"/>
                    </a:lnTo>
                    <a:lnTo>
                      <a:pt x="1667" y="648"/>
                    </a:lnTo>
                    <a:lnTo>
                      <a:pt x="1684" y="642"/>
                    </a:lnTo>
                    <a:lnTo>
                      <a:pt x="1703" y="638"/>
                    </a:lnTo>
                    <a:lnTo>
                      <a:pt x="1707" y="637"/>
                    </a:lnTo>
                    <a:lnTo>
                      <a:pt x="1708" y="636"/>
                    </a:lnTo>
                    <a:lnTo>
                      <a:pt x="1708" y="636"/>
                    </a:lnTo>
                    <a:lnTo>
                      <a:pt x="1707" y="635"/>
                    </a:lnTo>
                    <a:lnTo>
                      <a:pt x="1704" y="635"/>
                    </a:lnTo>
                    <a:lnTo>
                      <a:pt x="1703" y="635"/>
                    </a:lnTo>
                    <a:lnTo>
                      <a:pt x="1699" y="635"/>
                    </a:lnTo>
                    <a:lnTo>
                      <a:pt x="1697" y="636"/>
                    </a:lnTo>
                    <a:lnTo>
                      <a:pt x="1694" y="636"/>
                    </a:lnTo>
                    <a:lnTo>
                      <a:pt x="1693" y="636"/>
                    </a:lnTo>
                    <a:lnTo>
                      <a:pt x="1678" y="637"/>
                    </a:lnTo>
                    <a:lnTo>
                      <a:pt x="1666" y="641"/>
                    </a:lnTo>
                    <a:lnTo>
                      <a:pt x="1653" y="646"/>
                    </a:lnTo>
                    <a:lnTo>
                      <a:pt x="1649" y="648"/>
                    </a:lnTo>
                    <a:lnTo>
                      <a:pt x="1647" y="651"/>
                    </a:lnTo>
                    <a:lnTo>
                      <a:pt x="1643" y="653"/>
                    </a:lnTo>
                    <a:lnTo>
                      <a:pt x="1641" y="656"/>
                    </a:lnTo>
                    <a:lnTo>
                      <a:pt x="1638" y="660"/>
                    </a:lnTo>
                    <a:lnTo>
                      <a:pt x="1631" y="661"/>
                    </a:lnTo>
                    <a:lnTo>
                      <a:pt x="1623" y="660"/>
                    </a:lnTo>
                    <a:lnTo>
                      <a:pt x="1614" y="657"/>
                    </a:lnTo>
                    <a:lnTo>
                      <a:pt x="1609" y="655"/>
                    </a:lnTo>
                    <a:lnTo>
                      <a:pt x="1606" y="652"/>
                    </a:lnTo>
                    <a:lnTo>
                      <a:pt x="1603" y="651"/>
                    </a:lnTo>
                    <a:lnTo>
                      <a:pt x="1603" y="650"/>
                    </a:lnTo>
                    <a:lnTo>
                      <a:pt x="1605" y="648"/>
                    </a:lnTo>
                    <a:lnTo>
                      <a:pt x="1607" y="647"/>
                    </a:lnTo>
                    <a:lnTo>
                      <a:pt x="1612" y="646"/>
                    </a:lnTo>
                    <a:lnTo>
                      <a:pt x="1624" y="643"/>
                    </a:lnTo>
                    <a:lnTo>
                      <a:pt x="1638" y="642"/>
                    </a:lnTo>
                    <a:lnTo>
                      <a:pt x="1651" y="641"/>
                    </a:lnTo>
                    <a:lnTo>
                      <a:pt x="1664" y="633"/>
                    </a:lnTo>
                    <a:lnTo>
                      <a:pt x="1677" y="625"/>
                    </a:lnTo>
                    <a:lnTo>
                      <a:pt x="1678" y="625"/>
                    </a:lnTo>
                    <a:lnTo>
                      <a:pt x="1679" y="623"/>
                    </a:lnTo>
                    <a:lnTo>
                      <a:pt x="1678" y="623"/>
                    </a:lnTo>
                    <a:lnTo>
                      <a:pt x="1677" y="622"/>
                    </a:lnTo>
                    <a:lnTo>
                      <a:pt x="1673" y="623"/>
                    </a:lnTo>
                    <a:lnTo>
                      <a:pt x="1671" y="623"/>
                    </a:lnTo>
                    <a:lnTo>
                      <a:pt x="1668" y="625"/>
                    </a:lnTo>
                    <a:lnTo>
                      <a:pt x="1667" y="625"/>
                    </a:lnTo>
                    <a:lnTo>
                      <a:pt x="1657" y="631"/>
                    </a:lnTo>
                    <a:lnTo>
                      <a:pt x="1646" y="636"/>
                    </a:lnTo>
                    <a:lnTo>
                      <a:pt x="1633" y="638"/>
                    </a:lnTo>
                    <a:lnTo>
                      <a:pt x="1619" y="641"/>
                    </a:lnTo>
                    <a:lnTo>
                      <a:pt x="1613" y="642"/>
                    </a:lnTo>
                    <a:lnTo>
                      <a:pt x="1606" y="643"/>
                    </a:lnTo>
                    <a:lnTo>
                      <a:pt x="1600" y="643"/>
                    </a:lnTo>
                    <a:lnTo>
                      <a:pt x="1596" y="643"/>
                    </a:lnTo>
                    <a:lnTo>
                      <a:pt x="1592" y="643"/>
                    </a:lnTo>
                    <a:lnTo>
                      <a:pt x="1590" y="642"/>
                    </a:lnTo>
                    <a:lnTo>
                      <a:pt x="1588" y="641"/>
                    </a:lnTo>
                    <a:lnTo>
                      <a:pt x="1587" y="640"/>
                    </a:lnTo>
                    <a:lnTo>
                      <a:pt x="1587" y="637"/>
                    </a:lnTo>
                    <a:lnTo>
                      <a:pt x="1588" y="636"/>
                    </a:lnTo>
                    <a:lnTo>
                      <a:pt x="1590" y="635"/>
                    </a:lnTo>
                    <a:lnTo>
                      <a:pt x="1591" y="633"/>
                    </a:lnTo>
                    <a:lnTo>
                      <a:pt x="1592" y="632"/>
                    </a:lnTo>
                    <a:lnTo>
                      <a:pt x="1593" y="631"/>
                    </a:lnTo>
                    <a:lnTo>
                      <a:pt x="1596" y="631"/>
                    </a:lnTo>
                    <a:lnTo>
                      <a:pt x="1597" y="630"/>
                    </a:lnTo>
                    <a:lnTo>
                      <a:pt x="1598" y="630"/>
                    </a:lnTo>
                    <a:lnTo>
                      <a:pt x="1600" y="627"/>
                    </a:lnTo>
                    <a:lnTo>
                      <a:pt x="1600" y="627"/>
                    </a:lnTo>
                    <a:lnTo>
                      <a:pt x="1600" y="626"/>
                    </a:lnTo>
                    <a:lnTo>
                      <a:pt x="1598" y="625"/>
                    </a:lnTo>
                    <a:lnTo>
                      <a:pt x="1597" y="625"/>
                    </a:lnTo>
                    <a:lnTo>
                      <a:pt x="1597" y="623"/>
                    </a:lnTo>
                    <a:lnTo>
                      <a:pt x="1596" y="622"/>
                    </a:lnTo>
                    <a:lnTo>
                      <a:pt x="1597" y="620"/>
                    </a:lnTo>
                    <a:lnTo>
                      <a:pt x="1600" y="619"/>
                    </a:lnTo>
                    <a:lnTo>
                      <a:pt x="1602" y="617"/>
                    </a:lnTo>
                    <a:lnTo>
                      <a:pt x="1608" y="615"/>
                    </a:lnTo>
                    <a:lnTo>
                      <a:pt x="1614" y="611"/>
                    </a:lnTo>
                    <a:lnTo>
                      <a:pt x="1619" y="607"/>
                    </a:lnTo>
                    <a:lnTo>
                      <a:pt x="1616" y="607"/>
                    </a:lnTo>
                    <a:lnTo>
                      <a:pt x="1612" y="609"/>
                    </a:lnTo>
                    <a:lnTo>
                      <a:pt x="1608" y="610"/>
                    </a:lnTo>
                    <a:lnTo>
                      <a:pt x="1606" y="611"/>
                    </a:lnTo>
                    <a:lnTo>
                      <a:pt x="1603" y="612"/>
                    </a:lnTo>
                    <a:lnTo>
                      <a:pt x="1602" y="612"/>
                    </a:lnTo>
                    <a:lnTo>
                      <a:pt x="1596" y="615"/>
                    </a:lnTo>
                    <a:lnTo>
                      <a:pt x="1591" y="616"/>
                    </a:lnTo>
                    <a:lnTo>
                      <a:pt x="1586" y="617"/>
                    </a:lnTo>
                    <a:lnTo>
                      <a:pt x="1583" y="617"/>
                    </a:lnTo>
                    <a:lnTo>
                      <a:pt x="1583" y="616"/>
                    </a:lnTo>
                    <a:lnTo>
                      <a:pt x="1582" y="615"/>
                    </a:lnTo>
                    <a:lnTo>
                      <a:pt x="1583" y="614"/>
                    </a:lnTo>
                    <a:lnTo>
                      <a:pt x="1583" y="612"/>
                    </a:lnTo>
                    <a:lnTo>
                      <a:pt x="1583" y="612"/>
                    </a:lnTo>
                    <a:lnTo>
                      <a:pt x="1585" y="611"/>
                    </a:lnTo>
                    <a:lnTo>
                      <a:pt x="1586" y="610"/>
                    </a:lnTo>
                    <a:lnTo>
                      <a:pt x="1587" y="609"/>
                    </a:lnTo>
                    <a:lnTo>
                      <a:pt x="1590" y="607"/>
                    </a:lnTo>
                    <a:lnTo>
                      <a:pt x="1591" y="606"/>
                    </a:lnTo>
                    <a:lnTo>
                      <a:pt x="1591" y="605"/>
                    </a:lnTo>
                    <a:lnTo>
                      <a:pt x="1592" y="605"/>
                    </a:lnTo>
                    <a:lnTo>
                      <a:pt x="1591" y="604"/>
                    </a:lnTo>
                    <a:lnTo>
                      <a:pt x="1590" y="604"/>
                    </a:lnTo>
                    <a:lnTo>
                      <a:pt x="1586" y="604"/>
                    </a:lnTo>
                    <a:lnTo>
                      <a:pt x="1576" y="606"/>
                    </a:lnTo>
                    <a:lnTo>
                      <a:pt x="1565" y="607"/>
                    </a:lnTo>
                    <a:lnTo>
                      <a:pt x="1563" y="606"/>
                    </a:lnTo>
                    <a:lnTo>
                      <a:pt x="1561" y="605"/>
                    </a:lnTo>
                    <a:lnTo>
                      <a:pt x="1561" y="604"/>
                    </a:lnTo>
                    <a:lnTo>
                      <a:pt x="1561" y="602"/>
                    </a:lnTo>
                    <a:lnTo>
                      <a:pt x="1561" y="600"/>
                    </a:lnTo>
                    <a:lnTo>
                      <a:pt x="1562" y="599"/>
                    </a:lnTo>
                    <a:lnTo>
                      <a:pt x="1565" y="599"/>
                    </a:lnTo>
                    <a:lnTo>
                      <a:pt x="1567" y="597"/>
                    </a:lnTo>
                    <a:lnTo>
                      <a:pt x="1570" y="596"/>
                    </a:lnTo>
                    <a:lnTo>
                      <a:pt x="1571" y="594"/>
                    </a:lnTo>
                    <a:lnTo>
                      <a:pt x="1571" y="591"/>
                    </a:lnTo>
                    <a:lnTo>
                      <a:pt x="1573" y="590"/>
                    </a:lnTo>
                    <a:lnTo>
                      <a:pt x="1576" y="589"/>
                    </a:lnTo>
                    <a:lnTo>
                      <a:pt x="1580" y="587"/>
                    </a:lnTo>
                    <a:lnTo>
                      <a:pt x="1582" y="586"/>
                    </a:lnTo>
                    <a:lnTo>
                      <a:pt x="1586" y="586"/>
                    </a:lnTo>
                    <a:lnTo>
                      <a:pt x="1588" y="586"/>
                    </a:lnTo>
                    <a:lnTo>
                      <a:pt x="1591" y="586"/>
                    </a:lnTo>
                    <a:lnTo>
                      <a:pt x="1593" y="586"/>
                    </a:lnTo>
                    <a:lnTo>
                      <a:pt x="1595" y="585"/>
                    </a:lnTo>
                    <a:lnTo>
                      <a:pt x="1596" y="584"/>
                    </a:lnTo>
                    <a:lnTo>
                      <a:pt x="1596" y="582"/>
                    </a:lnTo>
                    <a:lnTo>
                      <a:pt x="1596" y="580"/>
                    </a:lnTo>
                    <a:lnTo>
                      <a:pt x="1600" y="579"/>
                    </a:lnTo>
                    <a:lnTo>
                      <a:pt x="1602" y="577"/>
                    </a:lnTo>
                    <a:lnTo>
                      <a:pt x="1605" y="576"/>
                    </a:lnTo>
                    <a:lnTo>
                      <a:pt x="1608" y="576"/>
                    </a:lnTo>
                    <a:lnTo>
                      <a:pt x="1612" y="575"/>
                    </a:lnTo>
                    <a:lnTo>
                      <a:pt x="1616" y="573"/>
                    </a:lnTo>
                    <a:lnTo>
                      <a:pt x="1619" y="571"/>
                    </a:lnTo>
                    <a:lnTo>
                      <a:pt x="1624" y="570"/>
                    </a:lnTo>
                    <a:lnTo>
                      <a:pt x="1628" y="570"/>
                    </a:lnTo>
                    <a:lnTo>
                      <a:pt x="1631" y="571"/>
                    </a:lnTo>
                    <a:lnTo>
                      <a:pt x="1633" y="573"/>
                    </a:lnTo>
                    <a:lnTo>
                      <a:pt x="1636" y="573"/>
                    </a:lnTo>
                    <a:lnTo>
                      <a:pt x="1638" y="574"/>
                    </a:lnTo>
                    <a:lnTo>
                      <a:pt x="1639" y="574"/>
                    </a:lnTo>
                    <a:lnTo>
                      <a:pt x="1641" y="574"/>
                    </a:lnTo>
                    <a:lnTo>
                      <a:pt x="1642" y="574"/>
                    </a:lnTo>
                    <a:lnTo>
                      <a:pt x="1643" y="573"/>
                    </a:lnTo>
                    <a:lnTo>
                      <a:pt x="1646" y="573"/>
                    </a:lnTo>
                    <a:lnTo>
                      <a:pt x="1648" y="573"/>
                    </a:lnTo>
                    <a:lnTo>
                      <a:pt x="1651" y="574"/>
                    </a:lnTo>
                    <a:lnTo>
                      <a:pt x="1653" y="575"/>
                    </a:lnTo>
                    <a:lnTo>
                      <a:pt x="1656" y="575"/>
                    </a:lnTo>
                    <a:lnTo>
                      <a:pt x="1658" y="575"/>
                    </a:lnTo>
                    <a:lnTo>
                      <a:pt x="1661" y="575"/>
                    </a:lnTo>
                    <a:lnTo>
                      <a:pt x="1662" y="575"/>
                    </a:lnTo>
                    <a:lnTo>
                      <a:pt x="1663" y="575"/>
                    </a:lnTo>
                    <a:lnTo>
                      <a:pt x="1663" y="574"/>
                    </a:lnTo>
                    <a:lnTo>
                      <a:pt x="1662" y="573"/>
                    </a:lnTo>
                    <a:lnTo>
                      <a:pt x="1659" y="571"/>
                    </a:lnTo>
                    <a:lnTo>
                      <a:pt x="1658" y="570"/>
                    </a:lnTo>
                    <a:lnTo>
                      <a:pt x="1654" y="569"/>
                    </a:lnTo>
                    <a:lnTo>
                      <a:pt x="1652" y="568"/>
                    </a:lnTo>
                    <a:lnTo>
                      <a:pt x="1649" y="566"/>
                    </a:lnTo>
                    <a:lnTo>
                      <a:pt x="1647" y="565"/>
                    </a:lnTo>
                    <a:lnTo>
                      <a:pt x="1646" y="564"/>
                    </a:lnTo>
                    <a:lnTo>
                      <a:pt x="1646" y="563"/>
                    </a:lnTo>
                    <a:lnTo>
                      <a:pt x="1647" y="561"/>
                    </a:lnTo>
                    <a:lnTo>
                      <a:pt x="1648" y="560"/>
                    </a:lnTo>
                    <a:lnTo>
                      <a:pt x="1649" y="560"/>
                    </a:lnTo>
                    <a:lnTo>
                      <a:pt x="1652" y="560"/>
                    </a:lnTo>
                    <a:lnTo>
                      <a:pt x="1653" y="560"/>
                    </a:lnTo>
                    <a:lnTo>
                      <a:pt x="1656" y="559"/>
                    </a:lnTo>
                    <a:lnTo>
                      <a:pt x="1657" y="559"/>
                    </a:lnTo>
                    <a:lnTo>
                      <a:pt x="1657" y="558"/>
                    </a:lnTo>
                    <a:lnTo>
                      <a:pt x="1657" y="556"/>
                    </a:lnTo>
                    <a:lnTo>
                      <a:pt x="1657" y="555"/>
                    </a:lnTo>
                    <a:lnTo>
                      <a:pt x="1657" y="554"/>
                    </a:lnTo>
                    <a:lnTo>
                      <a:pt x="1654" y="553"/>
                    </a:lnTo>
                    <a:lnTo>
                      <a:pt x="1652" y="551"/>
                    </a:lnTo>
                    <a:lnTo>
                      <a:pt x="1649" y="549"/>
                    </a:lnTo>
                    <a:lnTo>
                      <a:pt x="1648" y="548"/>
                    </a:lnTo>
                    <a:lnTo>
                      <a:pt x="1648" y="546"/>
                    </a:lnTo>
                    <a:lnTo>
                      <a:pt x="1649" y="546"/>
                    </a:lnTo>
                    <a:lnTo>
                      <a:pt x="1652" y="545"/>
                    </a:lnTo>
                    <a:lnTo>
                      <a:pt x="1657" y="544"/>
                    </a:lnTo>
                    <a:lnTo>
                      <a:pt x="1661" y="544"/>
                    </a:lnTo>
                    <a:lnTo>
                      <a:pt x="1666" y="544"/>
                    </a:lnTo>
                    <a:lnTo>
                      <a:pt x="1671" y="545"/>
                    </a:lnTo>
                    <a:lnTo>
                      <a:pt x="1674" y="546"/>
                    </a:lnTo>
                    <a:lnTo>
                      <a:pt x="1677" y="548"/>
                    </a:lnTo>
                    <a:lnTo>
                      <a:pt x="1678" y="549"/>
                    </a:lnTo>
                    <a:lnTo>
                      <a:pt x="1680" y="551"/>
                    </a:lnTo>
                    <a:lnTo>
                      <a:pt x="1682" y="551"/>
                    </a:lnTo>
                    <a:lnTo>
                      <a:pt x="1687" y="554"/>
                    </a:lnTo>
                    <a:lnTo>
                      <a:pt x="1690" y="558"/>
                    </a:lnTo>
                    <a:lnTo>
                      <a:pt x="1695" y="560"/>
                    </a:lnTo>
                    <a:lnTo>
                      <a:pt x="1698" y="559"/>
                    </a:lnTo>
                    <a:lnTo>
                      <a:pt x="1700" y="558"/>
                    </a:lnTo>
                    <a:lnTo>
                      <a:pt x="1703" y="558"/>
                    </a:lnTo>
                    <a:lnTo>
                      <a:pt x="1708" y="560"/>
                    </a:lnTo>
                    <a:lnTo>
                      <a:pt x="1710" y="563"/>
                    </a:lnTo>
                    <a:lnTo>
                      <a:pt x="1714" y="565"/>
                    </a:lnTo>
                    <a:lnTo>
                      <a:pt x="1718" y="566"/>
                    </a:lnTo>
                    <a:lnTo>
                      <a:pt x="1723" y="569"/>
                    </a:lnTo>
                    <a:lnTo>
                      <a:pt x="1728" y="570"/>
                    </a:lnTo>
                    <a:lnTo>
                      <a:pt x="1732" y="570"/>
                    </a:lnTo>
                    <a:lnTo>
                      <a:pt x="1735" y="570"/>
                    </a:lnTo>
                    <a:lnTo>
                      <a:pt x="1737" y="569"/>
                    </a:lnTo>
                    <a:lnTo>
                      <a:pt x="1737" y="569"/>
                    </a:lnTo>
                    <a:lnTo>
                      <a:pt x="1735" y="568"/>
                    </a:lnTo>
                    <a:lnTo>
                      <a:pt x="1734" y="566"/>
                    </a:lnTo>
                    <a:lnTo>
                      <a:pt x="1732" y="566"/>
                    </a:lnTo>
                    <a:lnTo>
                      <a:pt x="1730" y="565"/>
                    </a:lnTo>
                    <a:lnTo>
                      <a:pt x="1729" y="565"/>
                    </a:lnTo>
                    <a:lnTo>
                      <a:pt x="1725" y="563"/>
                    </a:lnTo>
                    <a:lnTo>
                      <a:pt x="1722" y="560"/>
                    </a:lnTo>
                    <a:lnTo>
                      <a:pt x="1719" y="558"/>
                    </a:lnTo>
                    <a:lnTo>
                      <a:pt x="1715" y="555"/>
                    </a:lnTo>
                    <a:lnTo>
                      <a:pt x="1712" y="553"/>
                    </a:lnTo>
                    <a:lnTo>
                      <a:pt x="1709" y="550"/>
                    </a:lnTo>
                    <a:lnTo>
                      <a:pt x="1708" y="548"/>
                    </a:lnTo>
                    <a:lnTo>
                      <a:pt x="1707" y="545"/>
                    </a:lnTo>
                    <a:lnTo>
                      <a:pt x="1705" y="544"/>
                    </a:lnTo>
                    <a:lnTo>
                      <a:pt x="1707" y="543"/>
                    </a:lnTo>
                    <a:lnTo>
                      <a:pt x="1708" y="541"/>
                    </a:lnTo>
                    <a:lnTo>
                      <a:pt x="1709" y="541"/>
                    </a:lnTo>
                    <a:lnTo>
                      <a:pt x="1710" y="540"/>
                    </a:lnTo>
                    <a:lnTo>
                      <a:pt x="1710" y="539"/>
                    </a:lnTo>
                    <a:lnTo>
                      <a:pt x="1713" y="538"/>
                    </a:lnTo>
                    <a:lnTo>
                      <a:pt x="1713" y="536"/>
                    </a:lnTo>
                    <a:lnTo>
                      <a:pt x="1714" y="535"/>
                    </a:lnTo>
                    <a:lnTo>
                      <a:pt x="1714" y="534"/>
                    </a:lnTo>
                    <a:lnTo>
                      <a:pt x="1713" y="533"/>
                    </a:lnTo>
                    <a:lnTo>
                      <a:pt x="1713" y="533"/>
                    </a:lnTo>
                    <a:lnTo>
                      <a:pt x="1713" y="531"/>
                    </a:lnTo>
                    <a:lnTo>
                      <a:pt x="1714" y="531"/>
                    </a:lnTo>
                    <a:lnTo>
                      <a:pt x="1717" y="530"/>
                    </a:lnTo>
                    <a:lnTo>
                      <a:pt x="1719" y="533"/>
                    </a:lnTo>
                    <a:lnTo>
                      <a:pt x="1722" y="535"/>
                    </a:lnTo>
                    <a:lnTo>
                      <a:pt x="1724" y="536"/>
                    </a:lnTo>
                    <a:lnTo>
                      <a:pt x="1728" y="539"/>
                    </a:lnTo>
                    <a:lnTo>
                      <a:pt x="1730" y="539"/>
                    </a:lnTo>
                    <a:lnTo>
                      <a:pt x="1734" y="539"/>
                    </a:lnTo>
                    <a:lnTo>
                      <a:pt x="1734" y="538"/>
                    </a:lnTo>
                    <a:lnTo>
                      <a:pt x="1733" y="536"/>
                    </a:lnTo>
                    <a:lnTo>
                      <a:pt x="1732" y="533"/>
                    </a:lnTo>
                    <a:lnTo>
                      <a:pt x="1730" y="530"/>
                    </a:lnTo>
                    <a:lnTo>
                      <a:pt x="1729" y="528"/>
                    </a:lnTo>
                    <a:lnTo>
                      <a:pt x="1728" y="524"/>
                    </a:lnTo>
                    <a:lnTo>
                      <a:pt x="1727" y="523"/>
                    </a:lnTo>
                    <a:lnTo>
                      <a:pt x="1725" y="522"/>
                    </a:lnTo>
                    <a:lnTo>
                      <a:pt x="1725" y="520"/>
                    </a:lnTo>
                    <a:lnTo>
                      <a:pt x="1724" y="519"/>
                    </a:lnTo>
                    <a:lnTo>
                      <a:pt x="1724" y="518"/>
                    </a:lnTo>
                    <a:lnTo>
                      <a:pt x="1725" y="518"/>
                    </a:lnTo>
                    <a:lnTo>
                      <a:pt x="1727" y="517"/>
                    </a:lnTo>
                    <a:lnTo>
                      <a:pt x="1729" y="517"/>
                    </a:lnTo>
                    <a:lnTo>
                      <a:pt x="1732" y="518"/>
                    </a:lnTo>
                    <a:lnTo>
                      <a:pt x="1733" y="518"/>
                    </a:lnTo>
                    <a:lnTo>
                      <a:pt x="1734" y="519"/>
                    </a:lnTo>
                    <a:lnTo>
                      <a:pt x="1735" y="519"/>
                    </a:lnTo>
                    <a:lnTo>
                      <a:pt x="1738" y="520"/>
                    </a:lnTo>
                    <a:lnTo>
                      <a:pt x="1740" y="522"/>
                    </a:lnTo>
                    <a:lnTo>
                      <a:pt x="1743" y="523"/>
                    </a:lnTo>
                    <a:lnTo>
                      <a:pt x="1744" y="523"/>
                    </a:lnTo>
                    <a:lnTo>
                      <a:pt x="1745" y="524"/>
                    </a:lnTo>
                    <a:lnTo>
                      <a:pt x="1745" y="523"/>
                    </a:lnTo>
                    <a:lnTo>
                      <a:pt x="1744" y="520"/>
                    </a:lnTo>
                    <a:lnTo>
                      <a:pt x="1744" y="519"/>
                    </a:lnTo>
                    <a:lnTo>
                      <a:pt x="1743" y="518"/>
                    </a:lnTo>
                    <a:lnTo>
                      <a:pt x="1742" y="517"/>
                    </a:lnTo>
                    <a:lnTo>
                      <a:pt x="1742" y="515"/>
                    </a:lnTo>
                    <a:lnTo>
                      <a:pt x="1743" y="513"/>
                    </a:lnTo>
                    <a:lnTo>
                      <a:pt x="1744" y="512"/>
                    </a:lnTo>
                    <a:lnTo>
                      <a:pt x="1748" y="510"/>
                    </a:lnTo>
                    <a:lnTo>
                      <a:pt x="1751" y="510"/>
                    </a:lnTo>
                    <a:lnTo>
                      <a:pt x="1755" y="510"/>
                    </a:lnTo>
                    <a:lnTo>
                      <a:pt x="1760" y="510"/>
                    </a:lnTo>
                    <a:lnTo>
                      <a:pt x="1763" y="512"/>
                    </a:lnTo>
                    <a:lnTo>
                      <a:pt x="1766" y="513"/>
                    </a:lnTo>
                    <a:lnTo>
                      <a:pt x="1770" y="514"/>
                    </a:lnTo>
                    <a:lnTo>
                      <a:pt x="1773" y="515"/>
                    </a:lnTo>
                    <a:lnTo>
                      <a:pt x="1776" y="515"/>
                    </a:lnTo>
                    <a:lnTo>
                      <a:pt x="1779" y="515"/>
                    </a:lnTo>
                    <a:lnTo>
                      <a:pt x="1780" y="514"/>
                    </a:lnTo>
                    <a:lnTo>
                      <a:pt x="1781" y="513"/>
                    </a:lnTo>
                    <a:lnTo>
                      <a:pt x="1783" y="513"/>
                    </a:lnTo>
                    <a:lnTo>
                      <a:pt x="1784" y="513"/>
                    </a:lnTo>
                    <a:lnTo>
                      <a:pt x="1789" y="513"/>
                    </a:lnTo>
                    <a:lnTo>
                      <a:pt x="1790" y="514"/>
                    </a:lnTo>
                    <a:lnTo>
                      <a:pt x="1791" y="517"/>
                    </a:lnTo>
                    <a:lnTo>
                      <a:pt x="1793" y="518"/>
                    </a:lnTo>
                    <a:lnTo>
                      <a:pt x="1794" y="518"/>
                    </a:lnTo>
                    <a:lnTo>
                      <a:pt x="1803" y="524"/>
                    </a:lnTo>
                    <a:lnTo>
                      <a:pt x="1810" y="529"/>
                    </a:lnTo>
                    <a:lnTo>
                      <a:pt x="1815" y="536"/>
                    </a:lnTo>
                    <a:lnTo>
                      <a:pt x="1816" y="538"/>
                    </a:lnTo>
                    <a:lnTo>
                      <a:pt x="1818" y="539"/>
                    </a:lnTo>
                    <a:lnTo>
                      <a:pt x="1819" y="540"/>
                    </a:lnTo>
                    <a:lnTo>
                      <a:pt x="1820" y="541"/>
                    </a:lnTo>
                    <a:lnTo>
                      <a:pt x="1823" y="541"/>
                    </a:lnTo>
                    <a:lnTo>
                      <a:pt x="1825" y="541"/>
                    </a:lnTo>
                    <a:lnTo>
                      <a:pt x="1826" y="540"/>
                    </a:lnTo>
                    <a:lnTo>
                      <a:pt x="1826" y="540"/>
                    </a:lnTo>
                    <a:lnTo>
                      <a:pt x="1826" y="539"/>
                    </a:lnTo>
                    <a:lnTo>
                      <a:pt x="1826" y="538"/>
                    </a:lnTo>
                    <a:lnTo>
                      <a:pt x="1825" y="536"/>
                    </a:lnTo>
                    <a:lnTo>
                      <a:pt x="1825" y="534"/>
                    </a:lnTo>
                    <a:lnTo>
                      <a:pt x="1824" y="530"/>
                    </a:lnTo>
                    <a:lnTo>
                      <a:pt x="1821" y="528"/>
                    </a:lnTo>
                    <a:lnTo>
                      <a:pt x="1818" y="525"/>
                    </a:lnTo>
                    <a:lnTo>
                      <a:pt x="1815" y="524"/>
                    </a:lnTo>
                    <a:lnTo>
                      <a:pt x="1813" y="523"/>
                    </a:lnTo>
                    <a:lnTo>
                      <a:pt x="1809" y="522"/>
                    </a:lnTo>
                    <a:lnTo>
                      <a:pt x="1805" y="520"/>
                    </a:lnTo>
                    <a:lnTo>
                      <a:pt x="1803" y="519"/>
                    </a:lnTo>
                    <a:lnTo>
                      <a:pt x="1800" y="518"/>
                    </a:lnTo>
                    <a:lnTo>
                      <a:pt x="1799" y="517"/>
                    </a:lnTo>
                    <a:lnTo>
                      <a:pt x="1796" y="515"/>
                    </a:lnTo>
                    <a:lnTo>
                      <a:pt x="1794" y="515"/>
                    </a:lnTo>
                    <a:lnTo>
                      <a:pt x="1791" y="513"/>
                    </a:lnTo>
                    <a:lnTo>
                      <a:pt x="1790" y="510"/>
                    </a:lnTo>
                    <a:lnTo>
                      <a:pt x="1789" y="508"/>
                    </a:lnTo>
                    <a:lnTo>
                      <a:pt x="1791" y="507"/>
                    </a:lnTo>
                    <a:lnTo>
                      <a:pt x="1793" y="507"/>
                    </a:lnTo>
                    <a:lnTo>
                      <a:pt x="1795" y="507"/>
                    </a:lnTo>
                    <a:lnTo>
                      <a:pt x="1798" y="507"/>
                    </a:lnTo>
                    <a:lnTo>
                      <a:pt x="1800" y="507"/>
                    </a:lnTo>
                    <a:lnTo>
                      <a:pt x="1803" y="508"/>
                    </a:lnTo>
                    <a:lnTo>
                      <a:pt x="1806" y="507"/>
                    </a:lnTo>
                    <a:lnTo>
                      <a:pt x="1811" y="505"/>
                    </a:lnTo>
                    <a:lnTo>
                      <a:pt x="1816" y="505"/>
                    </a:lnTo>
                    <a:lnTo>
                      <a:pt x="1820" y="504"/>
                    </a:lnTo>
                    <a:lnTo>
                      <a:pt x="1831" y="505"/>
                    </a:lnTo>
                    <a:lnTo>
                      <a:pt x="1840" y="508"/>
                    </a:lnTo>
                    <a:lnTo>
                      <a:pt x="1846" y="513"/>
                    </a:lnTo>
                    <a:lnTo>
                      <a:pt x="1849" y="515"/>
                    </a:lnTo>
                    <a:lnTo>
                      <a:pt x="1855" y="520"/>
                    </a:lnTo>
                    <a:lnTo>
                      <a:pt x="1862" y="523"/>
                    </a:lnTo>
                    <a:lnTo>
                      <a:pt x="1867" y="523"/>
                    </a:lnTo>
                    <a:lnTo>
                      <a:pt x="1857" y="515"/>
                    </a:lnTo>
                    <a:lnTo>
                      <a:pt x="1855" y="513"/>
                    </a:lnTo>
                    <a:lnTo>
                      <a:pt x="1855" y="512"/>
                    </a:lnTo>
                    <a:lnTo>
                      <a:pt x="1856" y="509"/>
                    </a:lnTo>
                    <a:lnTo>
                      <a:pt x="1859" y="508"/>
                    </a:lnTo>
                    <a:lnTo>
                      <a:pt x="1861" y="507"/>
                    </a:lnTo>
                    <a:lnTo>
                      <a:pt x="1864" y="505"/>
                    </a:lnTo>
                    <a:lnTo>
                      <a:pt x="1867" y="504"/>
                    </a:lnTo>
                    <a:lnTo>
                      <a:pt x="1872" y="503"/>
                    </a:lnTo>
                    <a:lnTo>
                      <a:pt x="1877" y="503"/>
                    </a:lnTo>
                    <a:lnTo>
                      <a:pt x="1882" y="504"/>
                    </a:lnTo>
                    <a:lnTo>
                      <a:pt x="1886" y="505"/>
                    </a:lnTo>
                    <a:lnTo>
                      <a:pt x="1889" y="507"/>
                    </a:lnTo>
                    <a:lnTo>
                      <a:pt x="1891" y="508"/>
                    </a:lnTo>
                    <a:lnTo>
                      <a:pt x="1892" y="507"/>
                    </a:lnTo>
                    <a:lnTo>
                      <a:pt x="1892" y="505"/>
                    </a:lnTo>
                    <a:lnTo>
                      <a:pt x="1892" y="504"/>
                    </a:lnTo>
                    <a:lnTo>
                      <a:pt x="1891" y="503"/>
                    </a:lnTo>
                    <a:lnTo>
                      <a:pt x="1891" y="503"/>
                    </a:lnTo>
                    <a:lnTo>
                      <a:pt x="1891" y="502"/>
                    </a:lnTo>
                    <a:lnTo>
                      <a:pt x="1894" y="500"/>
                    </a:lnTo>
                    <a:close/>
                    <a:moveTo>
                      <a:pt x="2037" y="0"/>
                    </a:moveTo>
                    <a:lnTo>
                      <a:pt x="2160" y="4"/>
                    </a:lnTo>
                    <a:lnTo>
                      <a:pt x="2282" y="15"/>
                    </a:lnTo>
                    <a:lnTo>
                      <a:pt x="2402" y="34"/>
                    </a:lnTo>
                    <a:lnTo>
                      <a:pt x="2520" y="59"/>
                    </a:lnTo>
                    <a:lnTo>
                      <a:pt x="2635" y="90"/>
                    </a:lnTo>
                    <a:lnTo>
                      <a:pt x="2747" y="129"/>
                    </a:lnTo>
                    <a:lnTo>
                      <a:pt x="2856" y="172"/>
                    </a:lnTo>
                    <a:lnTo>
                      <a:pt x="2962" y="223"/>
                    </a:lnTo>
                    <a:lnTo>
                      <a:pt x="3065" y="279"/>
                    </a:lnTo>
                    <a:lnTo>
                      <a:pt x="3163" y="340"/>
                    </a:lnTo>
                    <a:lnTo>
                      <a:pt x="3258" y="407"/>
                    </a:lnTo>
                    <a:lnTo>
                      <a:pt x="3349" y="479"/>
                    </a:lnTo>
                    <a:lnTo>
                      <a:pt x="3434" y="556"/>
                    </a:lnTo>
                    <a:lnTo>
                      <a:pt x="3517" y="638"/>
                    </a:lnTo>
                    <a:lnTo>
                      <a:pt x="3594" y="724"/>
                    </a:lnTo>
                    <a:lnTo>
                      <a:pt x="3666" y="815"/>
                    </a:lnTo>
                    <a:lnTo>
                      <a:pt x="3733" y="910"/>
                    </a:lnTo>
                    <a:lnTo>
                      <a:pt x="3794" y="1008"/>
                    </a:lnTo>
                    <a:lnTo>
                      <a:pt x="3852" y="1111"/>
                    </a:lnTo>
                    <a:lnTo>
                      <a:pt x="3902" y="1217"/>
                    </a:lnTo>
                    <a:lnTo>
                      <a:pt x="3945" y="1325"/>
                    </a:lnTo>
                    <a:lnTo>
                      <a:pt x="3984" y="1437"/>
                    </a:lnTo>
                    <a:lnTo>
                      <a:pt x="4015" y="1551"/>
                    </a:lnTo>
                    <a:lnTo>
                      <a:pt x="4040" y="1669"/>
                    </a:lnTo>
                    <a:lnTo>
                      <a:pt x="4059" y="1789"/>
                    </a:lnTo>
                    <a:lnTo>
                      <a:pt x="4070" y="1911"/>
                    </a:lnTo>
                    <a:lnTo>
                      <a:pt x="4074" y="2034"/>
                    </a:lnTo>
                    <a:lnTo>
                      <a:pt x="4070" y="2161"/>
                    </a:lnTo>
                    <a:lnTo>
                      <a:pt x="4057" y="2285"/>
                    </a:lnTo>
                    <a:lnTo>
                      <a:pt x="4039" y="2407"/>
                    </a:lnTo>
                    <a:lnTo>
                      <a:pt x="4013" y="2526"/>
                    </a:lnTo>
                    <a:lnTo>
                      <a:pt x="3980" y="2643"/>
                    </a:lnTo>
                    <a:lnTo>
                      <a:pt x="3940" y="2756"/>
                    </a:lnTo>
                    <a:lnTo>
                      <a:pt x="3894" y="2867"/>
                    </a:lnTo>
                    <a:lnTo>
                      <a:pt x="3842" y="2974"/>
                    </a:lnTo>
                    <a:lnTo>
                      <a:pt x="3783" y="3078"/>
                    </a:lnTo>
                    <a:lnTo>
                      <a:pt x="3720" y="3178"/>
                    </a:lnTo>
                    <a:lnTo>
                      <a:pt x="3618" y="3076"/>
                    </a:lnTo>
                    <a:lnTo>
                      <a:pt x="3672" y="2989"/>
                    </a:lnTo>
                    <a:lnTo>
                      <a:pt x="3722" y="2898"/>
                    </a:lnTo>
                    <a:lnTo>
                      <a:pt x="3767" y="2806"/>
                    </a:lnTo>
                    <a:lnTo>
                      <a:pt x="3807" y="2710"/>
                    </a:lnTo>
                    <a:lnTo>
                      <a:pt x="3841" y="2612"/>
                    </a:lnTo>
                    <a:lnTo>
                      <a:pt x="3870" y="2511"/>
                    </a:lnTo>
                    <a:lnTo>
                      <a:pt x="3893" y="2409"/>
                    </a:lnTo>
                    <a:lnTo>
                      <a:pt x="3910" y="2312"/>
                    </a:lnTo>
                    <a:lnTo>
                      <a:pt x="3922" y="2215"/>
                    </a:lnTo>
                    <a:lnTo>
                      <a:pt x="3930" y="2115"/>
                    </a:lnTo>
                    <a:lnTo>
                      <a:pt x="3932" y="2076"/>
                    </a:lnTo>
                    <a:lnTo>
                      <a:pt x="3933" y="2034"/>
                    </a:lnTo>
                    <a:lnTo>
                      <a:pt x="3929" y="1919"/>
                    </a:lnTo>
                    <a:lnTo>
                      <a:pt x="3919" y="1806"/>
                    </a:lnTo>
                    <a:lnTo>
                      <a:pt x="3902" y="1696"/>
                    </a:lnTo>
                    <a:lnTo>
                      <a:pt x="3879" y="1586"/>
                    </a:lnTo>
                    <a:lnTo>
                      <a:pt x="3849" y="1480"/>
                    </a:lnTo>
                    <a:lnTo>
                      <a:pt x="3814" y="1376"/>
                    </a:lnTo>
                    <a:lnTo>
                      <a:pt x="3773" y="1274"/>
                    </a:lnTo>
                    <a:lnTo>
                      <a:pt x="3771" y="1274"/>
                    </a:lnTo>
                    <a:lnTo>
                      <a:pt x="3736" y="1197"/>
                    </a:lnTo>
                    <a:lnTo>
                      <a:pt x="3697" y="1123"/>
                    </a:lnTo>
                    <a:lnTo>
                      <a:pt x="3655" y="1050"/>
                    </a:lnTo>
                    <a:lnTo>
                      <a:pt x="3609" y="979"/>
                    </a:lnTo>
                    <a:lnTo>
                      <a:pt x="3549" y="896"/>
                    </a:lnTo>
                    <a:lnTo>
                      <a:pt x="3484" y="815"/>
                    </a:lnTo>
                    <a:lnTo>
                      <a:pt x="3416" y="738"/>
                    </a:lnTo>
                    <a:lnTo>
                      <a:pt x="3396" y="717"/>
                    </a:lnTo>
                    <a:lnTo>
                      <a:pt x="3375" y="696"/>
                    </a:lnTo>
                    <a:lnTo>
                      <a:pt x="3335" y="657"/>
                    </a:lnTo>
                    <a:lnTo>
                      <a:pt x="3332" y="657"/>
                    </a:lnTo>
                    <a:lnTo>
                      <a:pt x="3332" y="655"/>
                    </a:lnTo>
                    <a:lnTo>
                      <a:pt x="3300" y="623"/>
                    </a:lnTo>
                    <a:lnTo>
                      <a:pt x="3265" y="595"/>
                    </a:lnTo>
                    <a:lnTo>
                      <a:pt x="3264" y="592"/>
                    </a:lnTo>
                    <a:lnTo>
                      <a:pt x="3263" y="592"/>
                    </a:lnTo>
                    <a:lnTo>
                      <a:pt x="3263" y="592"/>
                    </a:lnTo>
                    <a:lnTo>
                      <a:pt x="3263" y="592"/>
                    </a:lnTo>
                    <a:lnTo>
                      <a:pt x="3226" y="563"/>
                    </a:lnTo>
                    <a:lnTo>
                      <a:pt x="3189" y="534"/>
                    </a:lnTo>
                    <a:lnTo>
                      <a:pt x="3189" y="533"/>
                    </a:lnTo>
                    <a:lnTo>
                      <a:pt x="3189" y="531"/>
                    </a:lnTo>
                    <a:lnTo>
                      <a:pt x="3189" y="531"/>
                    </a:lnTo>
                    <a:lnTo>
                      <a:pt x="3150" y="504"/>
                    </a:lnTo>
                    <a:lnTo>
                      <a:pt x="3113" y="477"/>
                    </a:lnTo>
                    <a:lnTo>
                      <a:pt x="3111" y="477"/>
                    </a:lnTo>
                    <a:lnTo>
                      <a:pt x="3072" y="451"/>
                    </a:lnTo>
                    <a:lnTo>
                      <a:pt x="3032" y="426"/>
                    </a:lnTo>
                    <a:lnTo>
                      <a:pt x="2957" y="382"/>
                    </a:lnTo>
                    <a:lnTo>
                      <a:pt x="2881" y="341"/>
                    </a:lnTo>
                    <a:lnTo>
                      <a:pt x="2804" y="305"/>
                    </a:lnTo>
                    <a:lnTo>
                      <a:pt x="2724" y="272"/>
                    </a:lnTo>
                    <a:lnTo>
                      <a:pt x="2638" y="240"/>
                    </a:lnTo>
                    <a:lnTo>
                      <a:pt x="2553" y="214"/>
                    </a:lnTo>
                    <a:lnTo>
                      <a:pt x="2549" y="213"/>
                    </a:lnTo>
                    <a:lnTo>
                      <a:pt x="2546" y="212"/>
                    </a:lnTo>
                    <a:lnTo>
                      <a:pt x="2545" y="212"/>
                    </a:lnTo>
                    <a:lnTo>
                      <a:pt x="2543" y="212"/>
                    </a:lnTo>
                    <a:lnTo>
                      <a:pt x="2498" y="198"/>
                    </a:lnTo>
                    <a:lnTo>
                      <a:pt x="2490" y="198"/>
                    </a:lnTo>
                    <a:lnTo>
                      <a:pt x="2435" y="184"/>
                    </a:lnTo>
                    <a:lnTo>
                      <a:pt x="2381" y="176"/>
                    </a:lnTo>
                    <a:lnTo>
                      <a:pt x="2381" y="175"/>
                    </a:lnTo>
                    <a:lnTo>
                      <a:pt x="2379" y="175"/>
                    </a:lnTo>
                    <a:lnTo>
                      <a:pt x="2378" y="172"/>
                    </a:lnTo>
                    <a:lnTo>
                      <a:pt x="2313" y="162"/>
                    </a:lnTo>
                    <a:lnTo>
                      <a:pt x="2247" y="155"/>
                    </a:lnTo>
                    <a:lnTo>
                      <a:pt x="2247" y="155"/>
                    </a:lnTo>
                    <a:lnTo>
                      <a:pt x="2247" y="155"/>
                    </a:lnTo>
                    <a:lnTo>
                      <a:pt x="2244" y="155"/>
                    </a:lnTo>
                    <a:lnTo>
                      <a:pt x="2240" y="155"/>
                    </a:lnTo>
                    <a:lnTo>
                      <a:pt x="2235" y="155"/>
                    </a:lnTo>
                    <a:lnTo>
                      <a:pt x="2180" y="148"/>
                    </a:lnTo>
                    <a:lnTo>
                      <a:pt x="2123" y="143"/>
                    </a:lnTo>
                    <a:lnTo>
                      <a:pt x="2047" y="143"/>
                    </a:lnTo>
                    <a:lnTo>
                      <a:pt x="2047" y="143"/>
                    </a:lnTo>
                    <a:lnTo>
                      <a:pt x="2047" y="143"/>
                    </a:lnTo>
                    <a:lnTo>
                      <a:pt x="2045" y="143"/>
                    </a:lnTo>
                    <a:lnTo>
                      <a:pt x="2042" y="143"/>
                    </a:lnTo>
                    <a:lnTo>
                      <a:pt x="2039" y="143"/>
                    </a:lnTo>
                    <a:lnTo>
                      <a:pt x="1951" y="143"/>
                    </a:lnTo>
                    <a:lnTo>
                      <a:pt x="1894" y="148"/>
                    </a:lnTo>
                    <a:lnTo>
                      <a:pt x="1836" y="155"/>
                    </a:lnTo>
                    <a:lnTo>
                      <a:pt x="1836" y="155"/>
                    </a:lnTo>
                    <a:lnTo>
                      <a:pt x="1835" y="155"/>
                    </a:lnTo>
                    <a:lnTo>
                      <a:pt x="1832" y="155"/>
                    </a:lnTo>
                    <a:lnTo>
                      <a:pt x="1830" y="155"/>
                    </a:lnTo>
                    <a:lnTo>
                      <a:pt x="1825" y="155"/>
                    </a:lnTo>
                    <a:lnTo>
                      <a:pt x="1759" y="162"/>
                    </a:lnTo>
                    <a:lnTo>
                      <a:pt x="1694" y="172"/>
                    </a:lnTo>
                    <a:lnTo>
                      <a:pt x="1638" y="184"/>
                    </a:lnTo>
                    <a:lnTo>
                      <a:pt x="1582" y="198"/>
                    </a:lnTo>
                    <a:lnTo>
                      <a:pt x="1575" y="198"/>
                    </a:lnTo>
                    <a:lnTo>
                      <a:pt x="1552" y="206"/>
                    </a:lnTo>
                    <a:lnTo>
                      <a:pt x="1531" y="212"/>
                    </a:lnTo>
                    <a:lnTo>
                      <a:pt x="1529" y="212"/>
                    </a:lnTo>
                    <a:lnTo>
                      <a:pt x="1526" y="212"/>
                    </a:lnTo>
                    <a:lnTo>
                      <a:pt x="1524" y="213"/>
                    </a:lnTo>
                    <a:lnTo>
                      <a:pt x="1520" y="214"/>
                    </a:lnTo>
                    <a:lnTo>
                      <a:pt x="1485" y="224"/>
                    </a:lnTo>
                    <a:lnTo>
                      <a:pt x="1448" y="235"/>
                    </a:lnTo>
                    <a:lnTo>
                      <a:pt x="1399" y="253"/>
                    </a:lnTo>
                    <a:lnTo>
                      <a:pt x="1348" y="272"/>
                    </a:lnTo>
                    <a:lnTo>
                      <a:pt x="1268" y="305"/>
                    </a:lnTo>
                    <a:lnTo>
                      <a:pt x="1191" y="341"/>
                    </a:lnTo>
                    <a:lnTo>
                      <a:pt x="1116" y="382"/>
                    </a:lnTo>
                    <a:lnTo>
                      <a:pt x="1043" y="426"/>
                    </a:lnTo>
                    <a:lnTo>
                      <a:pt x="1040" y="426"/>
                    </a:lnTo>
                    <a:lnTo>
                      <a:pt x="1002" y="451"/>
                    </a:lnTo>
                    <a:lnTo>
                      <a:pt x="962" y="477"/>
                    </a:lnTo>
                    <a:lnTo>
                      <a:pt x="959" y="477"/>
                    </a:lnTo>
                    <a:lnTo>
                      <a:pt x="923" y="504"/>
                    </a:lnTo>
                    <a:lnTo>
                      <a:pt x="886" y="531"/>
                    </a:lnTo>
                    <a:lnTo>
                      <a:pt x="884" y="531"/>
                    </a:lnTo>
                    <a:lnTo>
                      <a:pt x="883" y="533"/>
                    </a:lnTo>
                    <a:lnTo>
                      <a:pt x="883" y="534"/>
                    </a:lnTo>
                    <a:lnTo>
                      <a:pt x="847" y="561"/>
                    </a:lnTo>
                    <a:lnTo>
                      <a:pt x="813" y="589"/>
                    </a:lnTo>
                    <a:lnTo>
                      <a:pt x="812" y="591"/>
                    </a:lnTo>
                    <a:lnTo>
                      <a:pt x="811" y="592"/>
                    </a:lnTo>
                    <a:lnTo>
                      <a:pt x="810" y="592"/>
                    </a:lnTo>
                    <a:lnTo>
                      <a:pt x="808" y="595"/>
                    </a:lnTo>
                    <a:lnTo>
                      <a:pt x="774" y="623"/>
                    </a:lnTo>
                    <a:lnTo>
                      <a:pt x="740" y="655"/>
                    </a:lnTo>
                    <a:lnTo>
                      <a:pt x="740" y="657"/>
                    </a:lnTo>
                    <a:lnTo>
                      <a:pt x="737" y="657"/>
                    </a:lnTo>
                    <a:lnTo>
                      <a:pt x="671" y="722"/>
                    </a:lnTo>
                    <a:lnTo>
                      <a:pt x="608" y="790"/>
                    </a:lnTo>
                    <a:lnTo>
                      <a:pt x="549" y="862"/>
                    </a:lnTo>
                    <a:lnTo>
                      <a:pt x="493" y="937"/>
                    </a:lnTo>
                    <a:lnTo>
                      <a:pt x="441" y="1014"/>
                    </a:lnTo>
                    <a:lnTo>
                      <a:pt x="394" y="1095"/>
                    </a:lnTo>
                    <a:lnTo>
                      <a:pt x="360" y="1152"/>
                    </a:lnTo>
                    <a:lnTo>
                      <a:pt x="330" y="1212"/>
                    </a:lnTo>
                    <a:lnTo>
                      <a:pt x="303" y="1274"/>
                    </a:lnTo>
                    <a:lnTo>
                      <a:pt x="299" y="1274"/>
                    </a:lnTo>
                    <a:lnTo>
                      <a:pt x="259" y="1376"/>
                    </a:lnTo>
                    <a:lnTo>
                      <a:pt x="224" y="1480"/>
                    </a:lnTo>
                    <a:lnTo>
                      <a:pt x="196" y="1586"/>
                    </a:lnTo>
                    <a:lnTo>
                      <a:pt x="173" y="1696"/>
                    </a:lnTo>
                    <a:lnTo>
                      <a:pt x="156" y="1806"/>
                    </a:lnTo>
                    <a:lnTo>
                      <a:pt x="146" y="1919"/>
                    </a:lnTo>
                    <a:lnTo>
                      <a:pt x="143" y="2034"/>
                    </a:lnTo>
                    <a:lnTo>
                      <a:pt x="143" y="2115"/>
                    </a:lnTo>
                    <a:lnTo>
                      <a:pt x="151" y="2230"/>
                    </a:lnTo>
                    <a:lnTo>
                      <a:pt x="167" y="2345"/>
                    </a:lnTo>
                    <a:lnTo>
                      <a:pt x="188" y="2455"/>
                    </a:lnTo>
                    <a:lnTo>
                      <a:pt x="217" y="2565"/>
                    </a:lnTo>
                    <a:lnTo>
                      <a:pt x="252" y="2671"/>
                    </a:lnTo>
                    <a:lnTo>
                      <a:pt x="293" y="2774"/>
                    </a:lnTo>
                    <a:lnTo>
                      <a:pt x="339" y="2874"/>
                    </a:lnTo>
                    <a:lnTo>
                      <a:pt x="391" y="2971"/>
                    </a:lnTo>
                    <a:lnTo>
                      <a:pt x="448" y="3065"/>
                    </a:lnTo>
                    <a:lnTo>
                      <a:pt x="511" y="3154"/>
                    </a:lnTo>
                    <a:lnTo>
                      <a:pt x="578" y="3241"/>
                    </a:lnTo>
                    <a:lnTo>
                      <a:pt x="650" y="3323"/>
                    </a:lnTo>
                    <a:lnTo>
                      <a:pt x="728" y="3401"/>
                    </a:lnTo>
                    <a:lnTo>
                      <a:pt x="759" y="3430"/>
                    </a:lnTo>
                    <a:lnTo>
                      <a:pt x="790" y="3459"/>
                    </a:lnTo>
                    <a:lnTo>
                      <a:pt x="790" y="3459"/>
                    </a:lnTo>
                    <a:lnTo>
                      <a:pt x="790" y="3460"/>
                    </a:lnTo>
                    <a:lnTo>
                      <a:pt x="791" y="3460"/>
                    </a:lnTo>
                    <a:lnTo>
                      <a:pt x="792" y="3461"/>
                    </a:lnTo>
                    <a:lnTo>
                      <a:pt x="823" y="3489"/>
                    </a:lnTo>
                    <a:lnTo>
                      <a:pt x="857" y="3516"/>
                    </a:lnTo>
                    <a:lnTo>
                      <a:pt x="893" y="3542"/>
                    </a:lnTo>
                    <a:lnTo>
                      <a:pt x="928" y="3567"/>
                    </a:lnTo>
                    <a:lnTo>
                      <a:pt x="964" y="3593"/>
                    </a:lnTo>
                    <a:lnTo>
                      <a:pt x="1002" y="3617"/>
                    </a:lnTo>
                    <a:lnTo>
                      <a:pt x="1002" y="3619"/>
                    </a:lnTo>
                    <a:lnTo>
                      <a:pt x="1003" y="3619"/>
                    </a:lnTo>
                    <a:lnTo>
                      <a:pt x="1004" y="3621"/>
                    </a:lnTo>
                    <a:lnTo>
                      <a:pt x="1007" y="3622"/>
                    </a:lnTo>
                    <a:lnTo>
                      <a:pt x="1007" y="3622"/>
                    </a:lnTo>
                    <a:lnTo>
                      <a:pt x="1007" y="3623"/>
                    </a:lnTo>
                    <a:lnTo>
                      <a:pt x="1007" y="3623"/>
                    </a:lnTo>
                    <a:lnTo>
                      <a:pt x="1008" y="3623"/>
                    </a:lnTo>
                    <a:lnTo>
                      <a:pt x="1009" y="3624"/>
                    </a:lnTo>
                    <a:lnTo>
                      <a:pt x="1012" y="3626"/>
                    </a:lnTo>
                    <a:lnTo>
                      <a:pt x="1015" y="3627"/>
                    </a:lnTo>
                    <a:lnTo>
                      <a:pt x="1019" y="3629"/>
                    </a:lnTo>
                    <a:lnTo>
                      <a:pt x="1024" y="3633"/>
                    </a:lnTo>
                    <a:lnTo>
                      <a:pt x="1120" y="3689"/>
                    </a:lnTo>
                    <a:lnTo>
                      <a:pt x="1218" y="3740"/>
                    </a:lnTo>
                    <a:lnTo>
                      <a:pt x="1320" y="3786"/>
                    </a:lnTo>
                    <a:lnTo>
                      <a:pt x="1426" y="3826"/>
                    </a:lnTo>
                    <a:lnTo>
                      <a:pt x="1431" y="3826"/>
                    </a:lnTo>
                    <a:lnTo>
                      <a:pt x="1527" y="3856"/>
                    </a:lnTo>
                    <a:lnTo>
                      <a:pt x="1624" y="3881"/>
                    </a:lnTo>
                    <a:lnTo>
                      <a:pt x="1725" y="3900"/>
                    </a:lnTo>
                    <a:lnTo>
                      <a:pt x="1827" y="3914"/>
                    </a:lnTo>
                    <a:lnTo>
                      <a:pt x="1827" y="3914"/>
                    </a:lnTo>
                    <a:lnTo>
                      <a:pt x="1829" y="3914"/>
                    </a:lnTo>
                    <a:lnTo>
                      <a:pt x="1830" y="3914"/>
                    </a:lnTo>
                    <a:lnTo>
                      <a:pt x="1831" y="3914"/>
                    </a:lnTo>
                    <a:lnTo>
                      <a:pt x="1836" y="3914"/>
                    </a:lnTo>
                    <a:lnTo>
                      <a:pt x="1902" y="3920"/>
                    </a:lnTo>
                    <a:lnTo>
                      <a:pt x="1968" y="3923"/>
                    </a:lnTo>
                    <a:lnTo>
                      <a:pt x="2037" y="3924"/>
                    </a:lnTo>
                    <a:lnTo>
                      <a:pt x="2138" y="3922"/>
                    </a:lnTo>
                    <a:lnTo>
                      <a:pt x="2240" y="3914"/>
                    </a:lnTo>
                    <a:lnTo>
                      <a:pt x="2240" y="3914"/>
                    </a:lnTo>
                    <a:lnTo>
                      <a:pt x="2240" y="3914"/>
                    </a:lnTo>
                    <a:lnTo>
                      <a:pt x="2244" y="3914"/>
                    </a:lnTo>
                    <a:lnTo>
                      <a:pt x="2246" y="3914"/>
                    </a:lnTo>
                    <a:lnTo>
                      <a:pt x="2250" y="3914"/>
                    </a:lnTo>
                    <a:lnTo>
                      <a:pt x="2276" y="3910"/>
                    </a:lnTo>
                    <a:lnTo>
                      <a:pt x="2300" y="3907"/>
                    </a:lnTo>
                    <a:lnTo>
                      <a:pt x="2389" y="3893"/>
                    </a:lnTo>
                    <a:lnTo>
                      <a:pt x="2477" y="3874"/>
                    </a:lnTo>
                    <a:lnTo>
                      <a:pt x="2561" y="3852"/>
                    </a:lnTo>
                    <a:lnTo>
                      <a:pt x="2645" y="3826"/>
                    </a:lnTo>
                    <a:lnTo>
                      <a:pt x="2650" y="3826"/>
                    </a:lnTo>
                    <a:lnTo>
                      <a:pt x="2746" y="3789"/>
                    </a:lnTo>
                    <a:lnTo>
                      <a:pt x="2839" y="3748"/>
                    </a:lnTo>
                    <a:lnTo>
                      <a:pt x="2930" y="3703"/>
                    </a:lnTo>
                    <a:lnTo>
                      <a:pt x="3017" y="3652"/>
                    </a:lnTo>
                    <a:lnTo>
                      <a:pt x="3072" y="3701"/>
                    </a:lnTo>
                    <a:lnTo>
                      <a:pt x="3128" y="3750"/>
                    </a:lnTo>
                    <a:lnTo>
                      <a:pt x="3031" y="3807"/>
                    </a:lnTo>
                    <a:lnTo>
                      <a:pt x="2931" y="3861"/>
                    </a:lnTo>
                    <a:lnTo>
                      <a:pt x="2829" y="3907"/>
                    </a:lnTo>
                    <a:lnTo>
                      <a:pt x="2723" y="3949"/>
                    </a:lnTo>
                    <a:lnTo>
                      <a:pt x="2615" y="3984"/>
                    </a:lnTo>
                    <a:lnTo>
                      <a:pt x="2503" y="4014"/>
                    </a:lnTo>
                    <a:lnTo>
                      <a:pt x="2389" y="4037"/>
                    </a:lnTo>
                    <a:lnTo>
                      <a:pt x="2273" y="4053"/>
                    </a:lnTo>
                    <a:lnTo>
                      <a:pt x="2156" y="4065"/>
                    </a:lnTo>
                    <a:lnTo>
                      <a:pt x="2037" y="4067"/>
                    </a:lnTo>
                    <a:lnTo>
                      <a:pt x="1912" y="4065"/>
                    </a:lnTo>
                    <a:lnTo>
                      <a:pt x="1790" y="4053"/>
                    </a:lnTo>
                    <a:lnTo>
                      <a:pt x="1671" y="4035"/>
                    </a:lnTo>
                    <a:lnTo>
                      <a:pt x="1553" y="4010"/>
                    </a:lnTo>
                    <a:lnTo>
                      <a:pt x="1438" y="3979"/>
                    </a:lnTo>
                    <a:lnTo>
                      <a:pt x="1325" y="3940"/>
                    </a:lnTo>
                    <a:lnTo>
                      <a:pt x="1217" y="3897"/>
                    </a:lnTo>
                    <a:lnTo>
                      <a:pt x="1111" y="3846"/>
                    </a:lnTo>
                    <a:lnTo>
                      <a:pt x="1009" y="3790"/>
                    </a:lnTo>
                    <a:lnTo>
                      <a:pt x="911" y="3729"/>
                    </a:lnTo>
                    <a:lnTo>
                      <a:pt x="815" y="3662"/>
                    </a:lnTo>
                    <a:lnTo>
                      <a:pt x="725" y="3590"/>
                    </a:lnTo>
                    <a:lnTo>
                      <a:pt x="638" y="3512"/>
                    </a:lnTo>
                    <a:lnTo>
                      <a:pt x="556" y="3430"/>
                    </a:lnTo>
                    <a:lnTo>
                      <a:pt x="478" y="3345"/>
                    </a:lnTo>
                    <a:lnTo>
                      <a:pt x="406" y="3254"/>
                    </a:lnTo>
                    <a:lnTo>
                      <a:pt x="340" y="3159"/>
                    </a:lnTo>
                    <a:lnTo>
                      <a:pt x="278" y="3060"/>
                    </a:lnTo>
                    <a:lnTo>
                      <a:pt x="222" y="2958"/>
                    </a:lnTo>
                    <a:lnTo>
                      <a:pt x="172" y="2852"/>
                    </a:lnTo>
                    <a:lnTo>
                      <a:pt x="127" y="2744"/>
                    </a:lnTo>
                    <a:lnTo>
                      <a:pt x="88" y="2632"/>
                    </a:lnTo>
                    <a:lnTo>
                      <a:pt x="57" y="2516"/>
                    </a:lnTo>
                    <a:lnTo>
                      <a:pt x="32" y="2399"/>
                    </a:lnTo>
                    <a:lnTo>
                      <a:pt x="14" y="2280"/>
                    </a:lnTo>
                    <a:lnTo>
                      <a:pt x="4" y="2158"/>
                    </a:lnTo>
                    <a:lnTo>
                      <a:pt x="0" y="2034"/>
                    </a:lnTo>
                    <a:lnTo>
                      <a:pt x="4" y="1911"/>
                    </a:lnTo>
                    <a:lnTo>
                      <a:pt x="14" y="1789"/>
                    </a:lnTo>
                    <a:lnTo>
                      <a:pt x="32" y="1669"/>
                    </a:lnTo>
                    <a:lnTo>
                      <a:pt x="57" y="1551"/>
                    </a:lnTo>
                    <a:lnTo>
                      <a:pt x="88" y="1437"/>
                    </a:lnTo>
                    <a:lnTo>
                      <a:pt x="127" y="1325"/>
                    </a:lnTo>
                    <a:lnTo>
                      <a:pt x="172" y="1217"/>
                    </a:lnTo>
                    <a:lnTo>
                      <a:pt x="222" y="1111"/>
                    </a:lnTo>
                    <a:lnTo>
                      <a:pt x="278" y="1008"/>
                    </a:lnTo>
                    <a:lnTo>
                      <a:pt x="340" y="910"/>
                    </a:lnTo>
                    <a:lnTo>
                      <a:pt x="406" y="815"/>
                    </a:lnTo>
                    <a:lnTo>
                      <a:pt x="478" y="724"/>
                    </a:lnTo>
                    <a:lnTo>
                      <a:pt x="556" y="638"/>
                    </a:lnTo>
                    <a:lnTo>
                      <a:pt x="638" y="556"/>
                    </a:lnTo>
                    <a:lnTo>
                      <a:pt x="725" y="479"/>
                    </a:lnTo>
                    <a:lnTo>
                      <a:pt x="815" y="407"/>
                    </a:lnTo>
                    <a:lnTo>
                      <a:pt x="911" y="340"/>
                    </a:lnTo>
                    <a:lnTo>
                      <a:pt x="1009" y="279"/>
                    </a:lnTo>
                    <a:lnTo>
                      <a:pt x="1111" y="223"/>
                    </a:lnTo>
                    <a:lnTo>
                      <a:pt x="1217" y="172"/>
                    </a:lnTo>
                    <a:lnTo>
                      <a:pt x="1325" y="129"/>
                    </a:lnTo>
                    <a:lnTo>
                      <a:pt x="1438" y="90"/>
                    </a:lnTo>
                    <a:lnTo>
                      <a:pt x="1553" y="59"/>
                    </a:lnTo>
                    <a:lnTo>
                      <a:pt x="1671" y="34"/>
                    </a:lnTo>
                    <a:lnTo>
                      <a:pt x="1790" y="15"/>
                    </a:lnTo>
                    <a:lnTo>
                      <a:pt x="1912" y="4"/>
                    </a:lnTo>
                    <a:lnTo>
                      <a:pt x="2037"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505050"/>
                  </a:solidFill>
                </a:endParaRPr>
              </a:p>
            </p:txBody>
          </p:sp>
        </p:grpSp>
      </p:grpSp>
      <p:sp>
        <p:nvSpPr>
          <p:cNvPr id="74" name="Title 5"/>
          <p:cNvSpPr txBox="1">
            <a:spLocks/>
          </p:cNvSpPr>
          <p:nvPr/>
        </p:nvSpPr>
        <p:spPr>
          <a:xfrm>
            <a:off x="274320" y="296897"/>
            <a:ext cx="11889564" cy="917575"/>
          </a:xfrm>
          <a:prstGeom prst="rect">
            <a:avLst/>
          </a:prstGeom>
        </p:spPr>
        <p:txBody>
          <a:bodyPr vert="horz" wrap="square" lIns="182880" tIns="45720" rIns="182880" bIns="45720" rtlCol="0" anchor="t">
            <a:noAutofit/>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People-centric IT</a:t>
            </a:r>
          </a:p>
        </p:txBody>
      </p:sp>
    </p:spTree>
    <p:extLst>
      <p:ext uri="{BB962C8B-B14F-4D97-AF65-F5344CB8AC3E}">
        <p14:creationId xmlns:p14="http://schemas.microsoft.com/office/powerpoint/2010/main" val="1685012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6"/>
                                        </p:tgtEl>
                                        <p:attrNameLst>
                                          <p:attrName>style.visibility</p:attrName>
                                        </p:attrNameLst>
                                      </p:cBhvr>
                                      <p:to>
                                        <p:strVal val="visible"/>
                                      </p:to>
                                    </p:set>
                                    <p:animEffect transition="in" filter="fade">
                                      <p:cBhvr>
                                        <p:cTn id="10" dur="500"/>
                                        <p:tgtEl>
                                          <p:spTgt spid="196"/>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500"/>
                                        <p:tgtEl>
                                          <p:spTgt spid="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03"/>
                                        </p:tgtEl>
                                        <p:attrNameLst>
                                          <p:attrName>style.visibility</p:attrName>
                                        </p:attrNameLst>
                                      </p:cBhvr>
                                      <p:to>
                                        <p:strVal val="visible"/>
                                      </p:to>
                                    </p:set>
                                    <p:animEffect transition="in" filter="fade">
                                      <p:cBhvr>
                                        <p:cTn id="17" dur="500"/>
                                        <p:tgtEl>
                                          <p:spTgt spid="203"/>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84"/>
                                        </p:tgtEl>
                                        <p:attrNameLst>
                                          <p:attrName>style.visibility</p:attrName>
                                        </p:attrNameLst>
                                      </p:cBhvr>
                                      <p:to>
                                        <p:strVal val="visible"/>
                                      </p:to>
                                    </p:set>
                                    <p:animEffect transition="in" filter="fade">
                                      <p:cBhvr>
                                        <p:cTn id="21" dur="500"/>
                                        <p:tgtEl>
                                          <p:spTgt spid="8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09"/>
                                        </p:tgtEl>
                                        <p:attrNameLst>
                                          <p:attrName>style.visibility</p:attrName>
                                        </p:attrNameLst>
                                      </p:cBhvr>
                                      <p:to>
                                        <p:strVal val="visible"/>
                                      </p:to>
                                    </p:set>
                                    <p:animEffect transition="in" filter="fade">
                                      <p:cBhvr>
                                        <p:cTn id="24" dur="500"/>
                                        <p:tgtEl>
                                          <p:spTgt spid="209"/>
                                        </p:tgtEl>
                                      </p:cBhvr>
                                    </p:animEffect>
                                  </p:childTnLst>
                                </p:cTn>
                              </p:par>
                            </p:childTnLst>
                          </p:cTn>
                        </p:par>
                        <p:par>
                          <p:cTn id="25" fill="hold">
                            <p:stCondLst>
                              <p:cond delay="1500"/>
                            </p:stCondLst>
                            <p:childTnLst>
                              <p:par>
                                <p:cTn id="26" presetID="10" presetClass="entr" presetSubtype="0" fill="hold" nodeType="afterEffect">
                                  <p:stCondLst>
                                    <p:cond delay="0"/>
                                  </p:stCondLst>
                                  <p:childTnLst>
                                    <p:set>
                                      <p:cBhvr>
                                        <p:cTn id="27" dur="1" fill="hold">
                                          <p:stCondLst>
                                            <p:cond delay="0"/>
                                          </p:stCondLst>
                                        </p:cTn>
                                        <p:tgtEl>
                                          <p:spTgt spid="228"/>
                                        </p:tgtEl>
                                        <p:attrNameLst>
                                          <p:attrName>style.visibility</p:attrName>
                                        </p:attrNameLst>
                                      </p:cBhvr>
                                      <p:to>
                                        <p:strVal val="visible"/>
                                      </p:to>
                                    </p:set>
                                    <p:animEffect transition="in" filter="fade">
                                      <p:cBhvr>
                                        <p:cTn id="28" dur="500"/>
                                        <p:tgtEl>
                                          <p:spTgt spid="228"/>
                                        </p:tgtEl>
                                      </p:cBhvr>
                                    </p:animEffect>
                                  </p:childTnLst>
                                </p:cTn>
                              </p:par>
                            </p:childTnLst>
                          </p:cTn>
                        </p:par>
                        <p:par>
                          <p:cTn id="29" fill="hold">
                            <p:stCondLst>
                              <p:cond delay="2000"/>
                            </p:stCondLst>
                            <p:childTnLst>
                              <p:par>
                                <p:cTn id="30" presetID="10" presetClass="entr" presetSubtype="0" fill="hold" grpId="0" nodeType="afterEffect">
                                  <p:stCondLst>
                                    <p:cond delay="1000"/>
                                  </p:stCondLst>
                                  <p:childTnLst>
                                    <p:set>
                                      <p:cBhvr>
                                        <p:cTn id="31" dur="1" fill="hold">
                                          <p:stCondLst>
                                            <p:cond delay="0"/>
                                          </p:stCondLst>
                                        </p:cTn>
                                        <p:tgtEl>
                                          <p:spTgt spid="195"/>
                                        </p:tgtEl>
                                        <p:attrNameLst>
                                          <p:attrName>style.visibility</p:attrName>
                                        </p:attrNameLst>
                                      </p:cBhvr>
                                      <p:to>
                                        <p:strVal val="visible"/>
                                      </p:to>
                                    </p:set>
                                    <p:animEffect transition="in" filter="fade">
                                      <p:cBhvr>
                                        <p:cTn id="32" dur="500"/>
                                        <p:tgtEl>
                                          <p:spTgt spid="19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95"/>
                                        </p:tgtEl>
                                        <p:attrNameLst>
                                          <p:attrName>style.visibility</p:attrName>
                                        </p:attrNameLst>
                                      </p:cBhvr>
                                      <p:to>
                                        <p:strVal val="visible"/>
                                      </p:to>
                                    </p:set>
                                    <p:animEffect transition="in" filter="fade">
                                      <p:cBhvr>
                                        <p:cTn id="35" dur="500"/>
                                        <p:tgtEl>
                                          <p:spTgt spid="29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96"/>
                                        </p:tgtEl>
                                        <p:attrNameLst>
                                          <p:attrName>style.visibility</p:attrName>
                                        </p:attrNameLst>
                                      </p:cBhvr>
                                      <p:to>
                                        <p:strVal val="visible"/>
                                      </p:to>
                                    </p:set>
                                    <p:animEffect transition="in" filter="fade">
                                      <p:cBhvr>
                                        <p:cTn id="38" dur="500"/>
                                        <p:tgtEl>
                                          <p:spTgt spid="296"/>
                                        </p:tgtEl>
                                      </p:cBhvr>
                                    </p:animEffect>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11"/>
                                        </p:tgtEl>
                                        <p:attrNameLst>
                                          <p:attrName>style.visibility</p:attrName>
                                        </p:attrNameLst>
                                      </p:cBhvr>
                                      <p:to>
                                        <p:strVal val="visible"/>
                                      </p:to>
                                    </p:set>
                                    <p:animEffect transition="in" filter="wipe(up)">
                                      <p:cBhvr>
                                        <p:cTn id="42" dur="500"/>
                                        <p:tgtEl>
                                          <p:spTgt spid="211"/>
                                        </p:tgtEl>
                                      </p:cBhvr>
                                    </p:animEffect>
                                  </p:childTnLst>
                                </p:cTn>
                              </p:par>
                            </p:childTnLst>
                          </p:cTn>
                        </p:par>
                        <p:par>
                          <p:cTn id="43" fill="hold">
                            <p:stCondLst>
                              <p:cond delay="4000"/>
                            </p:stCondLst>
                            <p:childTnLst>
                              <p:par>
                                <p:cTn id="44" presetID="22" presetClass="entr" presetSubtype="1" fill="hold" grpId="0" nodeType="afterEffect">
                                  <p:stCondLst>
                                    <p:cond delay="0"/>
                                  </p:stCondLst>
                                  <p:childTnLst>
                                    <p:set>
                                      <p:cBhvr>
                                        <p:cTn id="45" dur="1" fill="hold">
                                          <p:stCondLst>
                                            <p:cond delay="0"/>
                                          </p:stCondLst>
                                        </p:cTn>
                                        <p:tgtEl>
                                          <p:spTgt spid="212"/>
                                        </p:tgtEl>
                                        <p:attrNameLst>
                                          <p:attrName>style.visibility</p:attrName>
                                        </p:attrNameLst>
                                      </p:cBhvr>
                                      <p:to>
                                        <p:strVal val="visible"/>
                                      </p:to>
                                    </p:set>
                                    <p:animEffect transition="in" filter="wipe(up)">
                                      <p:cBhvr>
                                        <p:cTn id="46" dur="500"/>
                                        <p:tgtEl>
                                          <p:spTgt spid="212"/>
                                        </p:tgtEl>
                                      </p:cBhvr>
                                    </p:animEffect>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222"/>
                                        </p:tgtEl>
                                        <p:attrNameLst>
                                          <p:attrName>style.visibility</p:attrName>
                                        </p:attrNameLst>
                                      </p:cBhvr>
                                      <p:to>
                                        <p:strVal val="visible"/>
                                      </p:to>
                                    </p:set>
                                    <p:animEffect transition="in" filter="wipe(up)">
                                      <p:cBhvr>
                                        <p:cTn id="50" dur="500"/>
                                        <p:tgtEl>
                                          <p:spTgt spid="222"/>
                                        </p:tgtEl>
                                      </p:cBhvr>
                                    </p:animEffect>
                                  </p:childTnLst>
                                </p:cTn>
                              </p:par>
                            </p:childTnLst>
                          </p:cTn>
                        </p:par>
                        <p:par>
                          <p:cTn id="51" fill="hold">
                            <p:stCondLst>
                              <p:cond delay="5000"/>
                            </p:stCondLst>
                            <p:childTnLst>
                              <p:par>
                                <p:cTn id="52" presetID="22" presetClass="entr" presetSubtype="1" fill="hold" grpId="0" nodeType="afterEffect">
                                  <p:stCondLst>
                                    <p:cond delay="0"/>
                                  </p:stCondLst>
                                  <p:childTnLst>
                                    <p:set>
                                      <p:cBhvr>
                                        <p:cTn id="53" dur="1" fill="hold">
                                          <p:stCondLst>
                                            <p:cond delay="0"/>
                                          </p:stCondLst>
                                        </p:cTn>
                                        <p:tgtEl>
                                          <p:spTgt spid="223"/>
                                        </p:tgtEl>
                                        <p:attrNameLst>
                                          <p:attrName>style.visibility</p:attrName>
                                        </p:attrNameLst>
                                      </p:cBhvr>
                                      <p:to>
                                        <p:strVal val="visible"/>
                                      </p:to>
                                    </p:set>
                                    <p:animEffect transition="in" filter="wipe(up)">
                                      <p:cBhvr>
                                        <p:cTn id="54" dur="500"/>
                                        <p:tgtEl>
                                          <p:spTgt spid="223"/>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225"/>
                                        </p:tgtEl>
                                        <p:attrNameLst>
                                          <p:attrName>style.visibility</p:attrName>
                                        </p:attrNameLst>
                                      </p:cBhvr>
                                      <p:to>
                                        <p:strVal val="visible"/>
                                      </p:to>
                                    </p:set>
                                    <p:animEffect transition="in" filter="fade">
                                      <p:cBhvr>
                                        <p:cTn id="59" dur="500"/>
                                        <p:tgtEl>
                                          <p:spTgt spid="22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26"/>
                                        </p:tgtEl>
                                        <p:attrNameLst>
                                          <p:attrName>style.visibility</p:attrName>
                                        </p:attrNameLst>
                                      </p:cBhvr>
                                      <p:to>
                                        <p:strVal val="visible"/>
                                      </p:to>
                                    </p:set>
                                    <p:animEffect transition="in" filter="fade">
                                      <p:cBhvr>
                                        <p:cTn id="62" dur="500"/>
                                        <p:tgtEl>
                                          <p:spTgt spid="22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27"/>
                                        </p:tgtEl>
                                        <p:attrNameLst>
                                          <p:attrName>style.visibility</p:attrName>
                                        </p:attrNameLst>
                                      </p:cBhvr>
                                      <p:to>
                                        <p:strVal val="visible"/>
                                      </p:to>
                                    </p:set>
                                    <p:animEffect transition="in" filter="fade">
                                      <p:cBhvr>
                                        <p:cTn id="65" dur="500"/>
                                        <p:tgtEl>
                                          <p:spTgt spid="2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5" grpId="0"/>
      <p:bldP spid="226" grpId="0"/>
      <p:bldP spid="227" grpId="0"/>
      <p:bldP spid="295" grpId="0" animBg="1"/>
      <p:bldP spid="296" grpId="0"/>
      <p:bldP spid="195" grpId="0" animBg="1"/>
      <p:bldP spid="222" grpId="0" animBg="1"/>
      <p:bldP spid="223" grpId="0" animBg="1"/>
      <p:bldP spid="209" grpId="0" animBg="1"/>
      <p:bldP spid="211" grpId="0" animBg="1"/>
      <p:bldP spid="196" grpId="0" animBg="1"/>
      <p:bldP spid="203" grpId="0" animBg="1"/>
      <p:bldP spid="2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272565" y="1226846"/>
            <a:ext cx="9974873" cy="1670942"/>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279709" tIns="46617" rIns="279709" bIns="46618" numCol="1" spcCol="0" rtlCol="0" fromWordArt="0" anchor="ctr" anchorCtr="0" forceAA="0" compatLnSpc="1">
            <a:prstTxWarp prst="textNoShape">
              <a:avLst/>
            </a:prstTxWarp>
            <a:noAutofit/>
          </a:bodyPr>
          <a:lstStyle/>
          <a:p>
            <a:pPr defTabSz="932325"/>
            <a:r>
              <a:rPr lang="en-US" sz="2447" b="1" u="sng" dirty="0">
                <a:solidFill>
                  <a:srgbClr val="363535"/>
                </a:solidFill>
              </a:rPr>
              <a:t>Value </a:t>
            </a:r>
            <a:r>
              <a:rPr lang="en-US" sz="2447" b="1" u="sng" dirty="0" smtClean="0">
                <a:solidFill>
                  <a:srgbClr val="363535"/>
                </a:solidFill>
              </a:rPr>
              <a:t>Proposition:</a:t>
            </a:r>
            <a:endParaRPr lang="en-US" sz="2040" dirty="0">
              <a:solidFill>
                <a:srgbClr val="363535"/>
              </a:solidFill>
            </a:endParaRPr>
          </a:p>
          <a:p>
            <a:pPr marL="342900" indent="-342900" defTabSz="932325">
              <a:buFont typeface="Wingdings" panose="05000000000000000000" pitchFamily="2" charset="2"/>
              <a:buChar char="Ø"/>
            </a:pPr>
            <a:r>
              <a:rPr lang="en-US" sz="2040" dirty="0" smtClean="0">
                <a:solidFill>
                  <a:srgbClr val="363535"/>
                </a:solidFill>
              </a:rPr>
              <a:t>End user productivity, being able to work from anywhere, from any device</a:t>
            </a:r>
          </a:p>
          <a:p>
            <a:pPr marL="342900" indent="-342900" defTabSz="932325">
              <a:buFont typeface="Wingdings" panose="05000000000000000000" pitchFamily="2" charset="2"/>
              <a:buChar char="Ø"/>
            </a:pPr>
            <a:r>
              <a:rPr lang="en-US" sz="2040" dirty="0" smtClean="0">
                <a:solidFill>
                  <a:srgbClr val="363535"/>
                </a:solidFill>
              </a:rPr>
              <a:t>Companies can manage </a:t>
            </a:r>
            <a:r>
              <a:rPr lang="en-US" sz="2040" dirty="0">
                <a:solidFill>
                  <a:srgbClr val="363535"/>
                </a:solidFill>
              </a:rPr>
              <a:t>their risk when dealing with </a:t>
            </a:r>
            <a:r>
              <a:rPr lang="en-US" sz="2040" dirty="0" smtClean="0">
                <a:solidFill>
                  <a:srgbClr val="363535"/>
                </a:solidFill>
              </a:rPr>
              <a:t>different types of devices</a:t>
            </a:r>
            <a:endParaRPr lang="en-US" sz="2040" dirty="0">
              <a:solidFill>
                <a:srgbClr val="363535"/>
              </a:solidFill>
            </a:endParaRPr>
          </a:p>
        </p:txBody>
      </p:sp>
      <p:sp>
        <p:nvSpPr>
          <p:cNvPr id="2" name="Rectangle 1"/>
          <p:cNvSpPr/>
          <p:nvPr/>
        </p:nvSpPr>
        <p:spPr bwMode="auto">
          <a:xfrm>
            <a:off x="1272566" y="3117821"/>
            <a:ext cx="9974872" cy="377710"/>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243" dirty="0" smtClean="0">
                <a:solidFill>
                  <a:schemeClr val="tx1">
                    <a:alpha val="98824"/>
                  </a:schemeClr>
                </a:solidFill>
                <a:ea typeface="Segoe UI" pitchFamily="34" charset="0"/>
                <a:cs typeface="Segoe UI" pitchFamily="34" charset="0"/>
              </a:rPr>
              <a:t>ENABLING </a:t>
            </a:r>
            <a:r>
              <a:rPr lang="en-US" sz="2243" dirty="0">
                <a:solidFill>
                  <a:schemeClr val="tx1">
                    <a:alpha val="98824"/>
                  </a:schemeClr>
                </a:solidFill>
                <a:ea typeface="Segoe UI" pitchFamily="34" charset="0"/>
                <a:cs typeface="Segoe UI" pitchFamily="34" charset="0"/>
              </a:rPr>
              <a:t>PRODUCTIVITY AND RISK MANAGEMENT</a:t>
            </a:r>
          </a:p>
        </p:txBody>
      </p:sp>
      <p:sp>
        <p:nvSpPr>
          <p:cNvPr id="9" name="Rectangle 8"/>
          <p:cNvSpPr/>
          <p:nvPr/>
        </p:nvSpPr>
        <p:spPr bwMode="auto">
          <a:xfrm>
            <a:off x="4009213" y="3607767"/>
            <a:ext cx="7238225" cy="397116"/>
          </a:xfrm>
          <a:prstGeom prst="rect">
            <a:avLst/>
          </a:prstGeom>
          <a:solidFill>
            <a:schemeClr val="accent1">
              <a:lumMod val="60000"/>
              <a:lumOff val="40000"/>
            </a:schemeClr>
          </a:solidFill>
          <a:ln>
            <a:solidFill>
              <a:schemeClr val="bg2">
                <a:lumMod val="25000"/>
                <a:lumOff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Employees can access applications and data everywhere, on any device</a:t>
            </a:r>
          </a:p>
        </p:txBody>
      </p:sp>
      <p:sp>
        <p:nvSpPr>
          <p:cNvPr id="11" name="Rectangle 10"/>
          <p:cNvSpPr/>
          <p:nvPr/>
        </p:nvSpPr>
        <p:spPr bwMode="auto">
          <a:xfrm>
            <a:off x="1272561" y="4143009"/>
            <a:ext cx="2547329" cy="397116"/>
          </a:xfrm>
          <a:prstGeom prst="rect">
            <a:avLst/>
          </a:prstGeom>
          <a:solidFill>
            <a:schemeClr val="accent1">
              <a:lumMod val="75000"/>
            </a:schemeClr>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Easy IW experience</a:t>
            </a:r>
          </a:p>
        </p:txBody>
      </p:sp>
      <p:sp>
        <p:nvSpPr>
          <p:cNvPr id="12" name="Rectangle 11"/>
          <p:cNvSpPr/>
          <p:nvPr/>
        </p:nvSpPr>
        <p:spPr bwMode="auto">
          <a:xfrm>
            <a:off x="4017847" y="4143009"/>
            <a:ext cx="7238226" cy="397116"/>
          </a:xfrm>
          <a:prstGeom prst="rect">
            <a:avLst/>
          </a:prstGeom>
          <a:solidFill>
            <a:schemeClr val="accent1">
              <a:lumMod val="60000"/>
              <a:lumOff val="40000"/>
            </a:schemeClr>
          </a:solidFill>
          <a:ln>
            <a:solidFill>
              <a:schemeClr val="bg2">
                <a:lumMod val="25000"/>
                <a:lumOff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Employees can discover and access applications in an intuitive manner</a:t>
            </a:r>
          </a:p>
        </p:txBody>
      </p:sp>
      <p:sp>
        <p:nvSpPr>
          <p:cNvPr id="14" name="Rectangle 13"/>
          <p:cNvSpPr/>
          <p:nvPr/>
        </p:nvSpPr>
        <p:spPr bwMode="auto">
          <a:xfrm>
            <a:off x="4017847" y="4695517"/>
            <a:ext cx="7229591"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Admins can control who has access to what based on application, user, device &amp; location</a:t>
            </a:r>
          </a:p>
        </p:txBody>
      </p:sp>
      <p:sp>
        <p:nvSpPr>
          <p:cNvPr id="15" name="Rectangle 14"/>
          <p:cNvSpPr/>
          <p:nvPr/>
        </p:nvSpPr>
        <p:spPr bwMode="auto">
          <a:xfrm>
            <a:off x="1278810" y="5242821"/>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Data Governance</a:t>
            </a:r>
          </a:p>
        </p:txBody>
      </p:sp>
      <p:sp>
        <p:nvSpPr>
          <p:cNvPr id="16" name="Rectangle 15"/>
          <p:cNvSpPr/>
          <p:nvPr/>
        </p:nvSpPr>
        <p:spPr bwMode="auto">
          <a:xfrm>
            <a:off x="4026478" y="5233733"/>
            <a:ext cx="7220960"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Admins can classify and protect data in motion and at rest on any device</a:t>
            </a:r>
          </a:p>
        </p:txBody>
      </p:sp>
      <p:sp>
        <p:nvSpPr>
          <p:cNvPr id="17" name="Rectangle 16"/>
          <p:cNvSpPr/>
          <p:nvPr/>
        </p:nvSpPr>
        <p:spPr bwMode="auto">
          <a:xfrm>
            <a:off x="1289827" y="5807391"/>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Device &amp; Application Governance</a:t>
            </a:r>
          </a:p>
        </p:txBody>
      </p:sp>
      <p:sp>
        <p:nvSpPr>
          <p:cNvPr id="18" name="Rectangle 17"/>
          <p:cNvSpPr/>
          <p:nvPr/>
        </p:nvSpPr>
        <p:spPr bwMode="auto">
          <a:xfrm>
            <a:off x="4035114" y="5786241"/>
            <a:ext cx="7212324" cy="397116"/>
          </a:xfrm>
          <a:prstGeom prst="rect">
            <a:avLst/>
          </a:prstGeom>
          <a:solidFill>
            <a:schemeClr val="accent5">
              <a:lumMod val="40000"/>
              <a:lumOff val="60000"/>
            </a:schemeClr>
          </a:solidFill>
          <a:ln>
            <a:solidFill>
              <a:schemeClr val="accent5">
                <a:lumMod val="60000"/>
                <a:lumOff val="40000"/>
              </a:schemeClr>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363535">
                    <a:alpha val="98824"/>
                  </a:srgbClr>
                </a:solidFill>
                <a:ea typeface="Segoe UI" pitchFamily="34" charset="0"/>
                <a:cs typeface="Segoe UI" pitchFamily="34" charset="0"/>
              </a:rPr>
              <a:t>Information Workers can access applications and data everywhere, on any device</a:t>
            </a:r>
          </a:p>
        </p:txBody>
      </p:sp>
      <p:sp>
        <p:nvSpPr>
          <p:cNvPr id="8" name="Rectangle 7"/>
          <p:cNvSpPr/>
          <p:nvPr/>
        </p:nvSpPr>
        <p:spPr bwMode="auto">
          <a:xfrm rot="16200000">
            <a:off x="474314" y="3836537"/>
            <a:ext cx="932360" cy="474813"/>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scene3d>
              <a:camera prst="orthographicFront">
                <a:rot lat="0" lon="20999997" rev="0"/>
              </a:camera>
              <a:lightRig rig="threePt" dir="t"/>
            </a:scene3d>
          </a:bodyPr>
          <a:lstStyle/>
          <a:p>
            <a:pPr algn="ctr" defTabSz="932056"/>
            <a:r>
              <a:rPr lang="en-US" sz="1428" b="1" dirty="0">
                <a:solidFill>
                  <a:srgbClr val="FFFFFF">
                    <a:alpha val="98824"/>
                  </a:srgbClr>
                </a:solidFill>
                <a:ea typeface="Segoe UI" pitchFamily="34" charset="0"/>
                <a:cs typeface="Segoe UI" pitchFamily="34" charset="0"/>
              </a:rPr>
              <a:t>IW Value</a:t>
            </a:r>
          </a:p>
        </p:txBody>
      </p:sp>
      <p:sp>
        <p:nvSpPr>
          <p:cNvPr id="20" name="Rectangle 19"/>
          <p:cNvSpPr/>
          <p:nvPr/>
        </p:nvSpPr>
        <p:spPr bwMode="auto">
          <a:xfrm rot="16200000">
            <a:off x="180752" y="5230274"/>
            <a:ext cx="1519488" cy="474813"/>
          </a:xfrm>
          <a:prstGeom prst="rect">
            <a:avLst/>
          </a:prstGeom>
          <a:solidFill>
            <a:schemeClr val="accent4">
              <a:lumMod val="5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32" tIns="46617" rIns="93232" bIns="46617" numCol="1" rtlCol="0" anchor="ctr" anchorCtr="0" compatLnSpc="1">
            <a:prstTxWarp prst="textNoShape">
              <a:avLst/>
            </a:prstTxWarp>
            <a:scene3d>
              <a:camera prst="orthographicFront">
                <a:rot lat="0" lon="20999997" rev="0"/>
              </a:camera>
              <a:lightRig rig="threePt" dir="t"/>
            </a:scene3d>
          </a:bodyPr>
          <a:lstStyle/>
          <a:p>
            <a:pPr algn="ctr" defTabSz="932056"/>
            <a:r>
              <a:rPr lang="en-US" sz="1428" b="1" dirty="0">
                <a:solidFill>
                  <a:srgbClr val="FFFFFF">
                    <a:alpha val="98824"/>
                  </a:srgbClr>
                </a:solidFill>
                <a:ea typeface="Segoe UI" pitchFamily="34" charset="0"/>
                <a:cs typeface="Segoe UI" pitchFamily="34" charset="0"/>
              </a:rPr>
              <a:t>BDM + IT Value</a:t>
            </a:r>
          </a:p>
        </p:txBody>
      </p:sp>
      <p:sp>
        <p:nvSpPr>
          <p:cNvPr id="3" name="Rectangle 2"/>
          <p:cNvSpPr/>
          <p:nvPr/>
        </p:nvSpPr>
        <p:spPr bwMode="auto">
          <a:xfrm>
            <a:off x="1272563" y="3607767"/>
            <a:ext cx="2547329" cy="397116"/>
          </a:xfrm>
          <a:prstGeom prst="rect">
            <a:avLst/>
          </a:prstGeom>
          <a:solidFill>
            <a:schemeClr val="accent1">
              <a:lumMod val="75000"/>
            </a:schemeClr>
          </a:soli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Access to Company Resources</a:t>
            </a:r>
          </a:p>
        </p:txBody>
      </p:sp>
      <p:sp>
        <p:nvSpPr>
          <p:cNvPr id="13" name="Rectangle 12"/>
          <p:cNvSpPr/>
          <p:nvPr/>
        </p:nvSpPr>
        <p:spPr bwMode="auto">
          <a:xfrm>
            <a:off x="1272560" y="4707579"/>
            <a:ext cx="2547329" cy="397116"/>
          </a:xfrm>
          <a:prstGeom prst="rect">
            <a:avLst/>
          </a:prstGeom>
          <a:solidFill>
            <a:schemeClr val="accent5">
              <a:lumMod val="75000"/>
            </a:schemeClr>
          </a:solidFill>
          <a:ln>
            <a:solidFill>
              <a:schemeClr val="accent5">
                <a:lumMod val="75000"/>
              </a:schemeClr>
            </a:solid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1224" dirty="0">
                <a:solidFill>
                  <a:srgbClr val="FFFFFF">
                    <a:alpha val="98824"/>
                  </a:srgbClr>
                </a:solidFill>
                <a:ea typeface="Segoe UI" pitchFamily="34" charset="0"/>
                <a:cs typeface="Segoe UI" pitchFamily="34" charset="0"/>
              </a:rPr>
              <a:t>Access Governance</a:t>
            </a:r>
          </a:p>
        </p:txBody>
      </p:sp>
      <p:sp>
        <p:nvSpPr>
          <p:cNvPr id="6" name="Title 5"/>
          <p:cNvSpPr>
            <a:spLocks noGrp="1"/>
          </p:cNvSpPr>
          <p:nvPr>
            <p:ph type="title"/>
          </p:nvPr>
        </p:nvSpPr>
        <p:spPr/>
        <p:txBody>
          <a:bodyPr/>
          <a:lstStyle/>
          <a:p>
            <a:r>
              <a:rPr lang="en-US" dirty="0"/>
              <a:t>Enabling IT to empower users</a:t>
            </a:r>
          </a:p>
        </p:txBody>
      </p:sp>
    </p:spTree>
    <p:extLst>
      <p:ext uri="{BB962C8B-B14F-4D97-AF65-F5344CB8AC3E}">
        <p14:creationId xmlns:p14="http://schemas.microsoft.com/office/powerpoint/2010/main" val="2835424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fade">
                                      <p:cBhvr>
                                        <p:cTn id="39" dur="500"/>
                                        <p:tgtEl>
                                          <p:spTgt spid="1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7"/>
                                        </p:tgtEl>
                                        <p:attrNameLst>
                                          <p:attrName>style.visibility</p:attrName>
                                        </p:attrNameLst>
                                      </p:cBhvr>
                                      <p:to>
                                        <p:strVal val="visible"/>
                                      </p:to>
                                    </p:set>
                                    <p:animEffect transition="in" filter="fade">
                                      <p:cBhvr>
                                        <p:cTn id="42" dur="500"/>
                                        <p:tgtEl>
                                          <p:spTgt spid="17"/>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fade">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1" grpId="0" animBg="1"/>
      <p:bldP spid="12" grpId="0" animBg="1"/>
      <p:bldP spid="14" grpId="0" animBg="1"/>
      <p:bldP spid="15" grpId="0" animBg="1"/>
      <p:bldP spid="16" grpId="0" animBg="1"/>
      <p:bldP spid="17" grpId="0" animBg="1"/>
      <p:bldP spid="18" grpId="0" animBg="1"/>
      <p:bldP spid="8" grpId="0" animBg="1"/>
      <p:bldP spid="20" grpId="0" animBg="1"/>
      <p:bldP spid="3" grpId="0" animBg="1"/>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cenarios enabled by Active Directory</a:t>
            </a:r>
          </a:p>
        </p:txBody>
      </p:sp>
      <p:sp>
        <p:nvSpPr>
          <p:cNvPr id="8" name="Rectangle 7"/>
          <p:cNvSpPr/>
          <p:nvPr/>
        </p:nvSpPr>
        <p:spPr bwMode="auto">
          <a:xfrm>
            <a:off x="447732" y="1728912"/>
            <a:ext cx="11464812" cy="1105962"/>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Single Sign On (SSO) experience on Workplace Joined devices</a:t>
            </a:r>
          </a:p>
          <a:p>
            <a:pPr marL="349724" indent="-349724">
              <a:buFont typeface="Wingdings" panose="05000000000000000000" pitchFamily="2" charset="2"/>
              <a:buChar char="Ø"/>
            </a:pPr>
            <a:r>
              <a:rPr lang="en-US" kern="0" dirty="0">
                <a:solidFill>
                  <a:schemeClr val="bg1"/>
                </a:solidFill>
              </a:rPr>
              <a:t>Join </a:t>
            </a:r>
            <a:r>
              <a:rPr lang="en-US" kern="0" dirty="0" smtClean="0">
                <a:solidFill>
                  <a:schemeClr val="bg1"/>
                </a:solidFill>
              </a:rPr>
              <a:t>Windows and </a:t>
            </a:r>
            <a:r>
              <a:rPr lang="en-US" kern="0" dirty="0" err="1" smtClean="0">
                <a:solidFill>
                  <a:schemeClr val="bg1"/>
                </a:solidFill>
              </a:rPr>
              <a:t>iOS</a:t>
            </a:r>
            <a:r>
              <a:rPr lang="en-US" kern="0" dirty="0" smtClean="0">
                <a:solidFill>
                  <a:schemeClr val="bg1"/>
                </a:solidFill>
              </a:rPr>
              <a:t> devices to </a:t>
            </a:r>
            <a:r>
              <a:rPr lang="en-US" kern="0" dirty="0">
                <a:solidFill>
                  <a:schemeClr val="bg1"/>
                </a:solidFill>
              </a:rPr>
              <a:t>the Workplace</a:t>
            </a:r>
          </a:p>
          <a:p>
            <a:pPr marL="349724" indent="-349724">
              <a:buFont typeface="Wingdings" panose="05000000000000000000" pitchFamily="2" charset="2"/>
              <a:buChar char="Ø"/>
            </a:pPr>
            <a:r>
              <a:rPr lang="en-US" kern="0" dirty="0">
                <a:solidFill>
                  <a:schemeClr val="bg1"/>
                </a:solidFill>
              </a:rPr>
              <a:t>SSO across browser and enterprise applications</a:t>
            </a:r>
          </a:p>
        </p:txBody>
      </p:sp>
      <p:sp>
        <p:nvSpPr>
          <p:cNvPr id="9" name="Rectangle 8"/>
          <p:cNvSpPr/>
          <p:nvPr/>
        </p:nvSpPr>
        <p:spPr bwMode="auto">
          <a:xfrm>
            <a:off x="447732" y="2996651"/>
            <a:ext cx="11464812" cy="554170"/>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Enable users to work from anywhere, adhering to IT risk management strategy</a:t>
            </a:r>
          </a:p>
        </p:txBody>
      </p:sp>
      <p:sp>
        <p:nvSpPr>
          <p:cNvPr id="10" name="Rectangle 9"/>
          <p:cNvSpPr/>
          <p:nvPr/>
        </p:nvSpPr>
        <p:spPr bwMode="auto">
          <a:xfrm>
            <a:off x="447732" y="3712598"/>
            <a:ext cx="11464812" cy="1326806"/>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IT can conditionally grant access to company applications</a:t>
            </a:r>
          </a:p>
          <a:p>
            <a:pPr marL="349724" indent="-349724">
              <a:buFont typeface="Wingdings" panose="05000000000000000000" pitchFamily="2" charset="2"/>
              <a:buChar char="Ø"/>
            </a:pPr>
            <a:r>
              <a:rPr lang="en-US" kern="0" dirty="0">
                <a:solidFill>
                  <a:schemeClr val="bg1"/>
                </a:solidFill>
              </a:rPr>
              <a:t>Workplace joined devices provide a seamless second factor authentication</a:t>
            </a:r>
          </a:p>
          <a:p>
            <a:pPr marL="349724" indent="-349724">
              <a:buFont typeface="Wingdings" panose="05000000000000000000" pitchFamily="2" charset="2"/>
              <a:buChar char="Ø"/>
            </a:pPr>
            <a:r>
              <a:rPr lang="en-US" kern="0" dirty="0">
                <a:solidFill>
                  <a:schemeClr val="bg1"/>
                </a:solidFill>
              </a:rPr>
              <a:t>Conditions include user, device and strength of authentication</a:t>
            </a:r>
          </a:p>
          <a:p>
            <a:pPr marL="349724" indent="-349724">
              <a:buFont typeface="Wingdings" panose="05000000000000000000" pitchFamily="2" charset="2"/>
              <a:buChar char="Ø"/>
            </a:pPr>
            <a:r>
              <a:rPr lang="en-US" kern="0" dirty="0">
                <a:solidFill>
                  <a:schemeClr val="bg1"/>
                </a:solidFill>
              </a:rPr>
              <a:t>Audit logs capture the user and device information</a:t>
            </a:r>
          </a:p>
        </p:txBody>
      </p:sp>
      <p:sp>
        <p:nvSpPr>
          <p:cNvPr id="11" name="Rectangle 10"/>
          <p:cNvSpPr/>
          <p:nvPr/>
        </p:nvSpPr>
        <p:spPr bwMode="auto">
          <a:xfrm>
            <a:off x="428456" y="5201181"/>
            <a:ext cx="11464812" cy="824366"/>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n-US" sz="2400" kern="0" dirty="0">
                <a:solidFill>
                  <a:schemeClr val="bg1"/>
                </a:solidFill>
              </a:rPr>
              <a:t>IT/ISV can author enterprise apps that deliver native experiences on devices and are integrated with AD for SSO and conditional access</a:t>
            </a:r>
            <a:endParaRPr lang="en-US" sz="2400" b="1" dirty="0">
              <a:solidFill>
                <a:schemeClr val="bg1"/>
              </a:solidFill>
              <a:ea typeface="Segoe UI" pitchFamily="34" charset="0"/>
              <a:cs typeface="Segoe UI" pitchFamily="34" charset="0"/>
            </a:endParaRPr>
          </a:p>
        </p:txBody>
      </p:sp>
    </p:spTree>
    <p:extLst>
      <p:ext uri="{BB962C8B-B14F-4D97-AF65-F5344CB8AC3E}">
        <p14:creationId xmlns:p14="http://schemas.microsoft.com/office/powerpoint/2010/main" val="31721042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7</a:t>
            </a:fld>
            <a:endParaRPr dirty="0">
              <a:gradFill>
                <a:gsLst>
                  <a:gs pos="0">
                    <a:srgbClr val="505050"/>
                  </a:gs>
                  <a:gs pos="100000">
                    <a:srgbClr val="505050"/>
                  </a:gs>
                </a:gsLst>
                <a:lin ang="5400000" scaled="0"/>
              </a:gradFill>
            </a:endParaRPr>
          </a:p>
        </p:txBody>
      </p:sp>
      <p:pic>
        <p:nvPicPr>
          <p:cNvPr id="362"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4567" y="3841115"/>
            <a:ext cx="330971" cy="498499"/>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8820989" y="4628163"/>
            <a:ext cx="1943660" cy="1477131"/>
            <a:chOff x="3435182" y="5042873"/>
            <a:chExt cx="1943660" cy="1477131"/>
          </a:xfrm>
        </p:grpSpPr>
        <p:sp>
          <p:nvSpPr>
            <p:cNvPr id="413" name="Oval 412"/>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sp>
          <p:nvSpPr>
            <p:cNvPr id="414" name="Rectangle 413"/>
            <p:cNvSpPr/>
            <p:nvPr/>
          </p:nvSpPr>
          <p:spPr>
            <a:xfrm>
              <a:off x="4097758"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416" name="Picture 4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23474" y="5795665"/>
              <a:ext cx="1601430" cy="446655"/>
            </a:xfrm>
            <a:prstGeom prst="rect">
              <a:avLst/>
            </a:prstGeom>
          </p:spPr>
        </p:pic>
        <p:pic>
          <p:nvPicPr>
            <p:cNvPr id="417" name="Picture 41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sp>
        <p:nvSpPr>
          <p:cNvPr id="467" name="Freeform 466"/>
          <p:cNvSpPr>
            <a:spLocks/>
          </p:cNvSpPr>
          <p:nvPr/>
        </p:nvSpPr>
        <p:spPr bwMode="auto">
          <a:xfrm>
            <a:off x="1143023" y="1138341"/>
            <a:ext cx="3152998" cy="156355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4" name="Group 3"/>
          <p:cNvGrpSpPr/>
          <p:nvPr/>
        </p:nvGrpSpPr>
        <p:grpSpPr>
          <a:xfrm>
            <a:off x="7817657" y="3743721"/>
            <a:ext cx="1434026" cy="926437"/>
            <a:chOff x="8938130" y="4466059"/>
            <a:chExt cx="1434026" cy="926437"/>
          </a:xfrm>
        </p:grpSpPr>
        <p:grpSp>
          <p:nvGrpSpPr>
            <p:cNvPr id="360" name="Group 359"/>
            <p:cNvGrpSpPr>
              <a:grpSpLocks noChangeAspect="1"/>
            </p:cNvGrpSpPr>
            <p:nvPr/>
          </p:nvGrpSpPr>
          <p:grpSpPr>
            <a:xfrm>
              <a:off x="9810311" y="4466059"/>
              <a:ext cx="561845" cy="926436"/>
              <a:chOff x="8665724" y="2355872"/>
              <a:chExt cx="819243" cy="1350866"/>
            </a:xfrm>
          </p:grpSpPr>
          <p:grpSp>
            <p:nvGrpSpPr>
              <p:cNvPr id="378" name="Group 377"/>
              <p:cNvGrpSpPr/>
              <p:nvPr/>
            </p:nvGrpSpPr>
            <p:grpSpPr>
              <a:xfrm>
                <a:off x="8665724" y="2445237"/>
                <a:ext cx="819243" cy="1261501"/>
                <a:chOff x="9378404" y="3512012"/>
                <a:chExt cx="681012" cy="1048648"/>
              </a:xfrm>
            </p:grpSpPr>
            <p:sp>
              <p:nvSpPr>
                <p:cNvPr id="380" name="Rectangle 379"/>
                <p:cNvSpPr/>
                <p:nvPr/>
              </p:nvSpPr>
              <p:spPr>
                <a:xfrm>
                  <a:off x="9512833" y="4332318"/>
                  <a:ext cx="546583" cy="228342"/>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pic>
            <p:nvPicPr>
              <p:cNvPr id="379" name="Picture 37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43468" y="2355872"/>
                <a:ext cx="723204" cy="1010842"/>
              </a:xfrm>
              <a:prstGeom prst="rect">
                <a:avLst/>
              </a:prstGeom>
            </p:spPr>
          </p:pic>
        </p:grpSp>
        <p:grpSp>
          <p:nvGrpSpPr>
            <p:cNvPr id="361" name="Group 360"/>
            <p:cNvGrpSpPr>
              <a:grpSpLocks noChangeAspect="1"/>
            </p:cNvGrpSpPr>
            <p:nvPr/>
          </p:nvGrpSpPr>
          <p:grpSpPr>
            <a:xfrm>
              <a:off x="8938130" y="4487632"/>
              <a:ext cx="832929" cy="904864"/>
              <a:chOff x="9929358" y="3977955"/>
              <a:chExt cx="1214520" cy="1319410"/>
            </a:xfrm>
          </p:grpSpPr>
          <p:sp>
            <p:nvSpPr>
              <p:cNvPr id="376" name="Rectangle 375"/>
              <p:cNvSpPr/>
              <p:nvPr/>
            </p:nvSpPr>
            <p:spPr>
              <a:xfrm>
                <a:off x="9929358" y="5022675"/>
                <a:ext cx="1214520" cy="274690"/>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LOB</a:t>
                </a:r>
                <a:r>
                  <a:rPr lang="en-US" sz="1224" dirty="0">
                    <a:ln>
                      <a:solidFill>
                        <a:srgbClr val="FFFFFF">
                          <a:alpha val="0"/>
                        </a:srgbClr>
                      </a:solidFill>
                    </a:ln>
                    <a:solidFill>
                      <a:srgbClr val="FF8C00"/>
                    </a:solidFill>
                    <a:latin typeface="Segoe"/>
                  </a:rPr>
                  <a:t> </a:t>
                </a:r>
                <a:r>
                  <a:rPr lang="en-US" sz="1224" dirty="0">
                    <a:ln>
                      <a:solidFill>
                        <a:srgbClr val="FFFFFF">
                          <a:alpha val="0"/>
                        </a:srgbClr>
                      </a:solidFill>
                    </a:ln>
                    <a:solidFill>
                      <a:schemeClr val="bg1"/>
                    </a:solidFill>
                    <a:latin typeface="Segoe"/>
                  </a:rPr>
                  <a:t>Apps</a:t>
                </a:r>
              </a:p>
            </p:txBody>
          </p:sp>
          <p:sp>
            <p:nvSpPr>
              <p:cNvPr id="377" name="Freeform 27"/>
              <p:cNvSpPr>
                <a:spLocks noEditPoints="1"/>
              </p:cNvSpPr>
              <p:nvPr/>
            </p:nvSpPr>
            <p:spPr bwMode="auto">
              <a:xfrm>
                <a:off x="10187846" y="3977955"/>
                <a:ext cx="712103" cy="962346"/>
              </a:xfrm>
              <a:custGeom>
                <a:avLst/>
                <a:gdLst>
                  <a:gd name="T0" fmla="*/ 621 w 621"/>
                  <a:gd name="T1" fmla="*/ 496 h 840"/>
                  <a:gd name="T2" fmla="*/ 621 w 621"/>
                  <a:gd name="T3" fmla="*/ 748 h 840"/>
                  <a:gd name="T4" fmla="*/ 310 w 621"/>
                  <a:gd name="T5" fmla="*/ 840 h 840"/>
                  <a:gd name="T6" fmla="*/ 0 w 621"/>
                  <a:gd name="T7" fmla="*/ 748 h 840"/>
                  <a:gd name="T8" fmla="*/ 0 w 621"/>
                  <a:gd name="T9" fmla="*/ 496 h 840"/>
                  <a:gd name="T10" fmla="*/ 310 w 621"/>
                  <a:gd name="T11" fmla="*/ 554 h 840"/>
                  <a:gd name="T12" fmla="*/ 621 w 621"/>
                  <a:gd name="T13" fmla="*/ 496 h 840"/>
                  <a:gd name="T14" fmla="*/ 273 w 621"/>
                  <a:gd name="T15" fmla="*/ 364 h 840"/>
                  <a:gd name="T16" fmla="*/ 348 w 621"/>
                  <a:gd name="T17" fmla="*/ 364 h 840"/>
                  <a:gd name="T18" fmla="*/ 502 w 621"/>
                  <a:gd name="T19" fmla="*/ 198 h 840"/>
                  <a:gd name="T20" fmla="*/ 485 w 621"/>
                  <a:gd name="T21" fmla="*/ 159 h 840"/>
                  <a:gd name="T22" fmla="*/ 405 w 621"/>
                  <a:gd name="T23" fmla="*/ 159 h 840"/>
                  <a:gd name="T24" fmla="*/ 405 w 621"/>
                  <a:gd name="T25" fmla="*/ 54 h 840"/>
                  <a:gd name="T26" fmla="*/ 351 w 621"/>
                  <a:gd name="T27" fmla="*/ 0 h 840"/>
                  <a:gd name="T28" fmla="*/ 269 w 621"/>
                  <a:gd name="T29" fmla="*/ 0 h 840"/>
                  <a:gd name="T30" fmla="*/ 215 w 621"/>
                  <a:gd name="T31" fmla="*/ 54 h 840"/>
                  <a:gd name="T32" fmla="*/ 215 w 621"/>
                  <a:gd name="T33" fmla="*/ 159 h 840"/>
                  <a:gd name="T34" fmla="*/ 136 w 621"/>
                  <a:gd name="T35" fmla="*/ 159 h 840"/>
                  <a:gd name="T36" fmla="*/ 118 w 621"/>
                  <a:gd name="T37" fmla="*/ 198 h 840"/>
                  <a:gd name="T38" fmla="*/ 273 w 621"/>
                  <a:gd name="T39" fmla="*/ 364 h 840"/>
                  <a:gd name="T40" fmla="*/ 273 w 621"/>
                  <a:gd name="T41" fmla="*/ 364 h 840"/>
                  <a:gd name="T42" fmla="*/ 435 w 621"/>
                  <a:gd name="T43" fmla="*/ 362 h 840"/>
                  <a:gd name="T44" fmla="*/ 375 w 621"/>
                  <a:gd name="T45" fmla="*/ 411 h 840"/>
                  <a:gd name="T46" fmla="*/ 310 w 621"/>
                  <a:gd name="T47" fmla="*/ 433 h 840"/>
                  <a:gd name="T48" fmla="*/ 245 w 621"/>
                  <a:gd name="T49" fmla="*/ 411 h 840"/>
                  <a:gd name="T50" fmla="*/ 185 w 621"/>
                  <a:gd name="T51" fmla="*/ 362 h 840"/>
                  <a:gd name="T52" fmla="*/ 0 w 621"/>
                  <a:gd name="T53" fmla="*/ 427 h 840"/>
                  <a:gd name="T54" fmla="*/ 310 w 621"/>
                  <a:gd name="T55" fmla="*/ 499 h 840"/>
                  <a:gd name="T56" fmla="*/ 621 w 621"/>
                  <a:gd name="T57" fmla="*/ 427 h 840"/>
                  <a:gd name="T58" fmla="*/ 435 w 621"/>
                  <a:gd name="T59" fmla="*/ 362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1" h="840">
                    <a:moveTo>
                      <a:pt x="621" y="496"/>
                    </a:moveTo>
                    <a:cubicBezTo>
                      <a:pt x="621" y="748"/>
                      <a:pt x="621" y="748"/>
                      <a:pt x="621" y="748"/>
                    </a:cubicBezTo>
                    <a:cubicBezTo>
                      <a:pt x="621" y="799"/>
                      <a:pt x="482" y="840"/>
                      <a:pt x="310" y="840"/>
                    </a:cubicBezTo>
                    <a:cubicBezTo>
                      <a:pt x="138" y="840"/>
                      <a:pt x="0" y="799"/>
                      <a:pt x="0" y="748"/>
                    </a:cubicBezTo>
                    <a:cubicBezTo>
                      <a:pt x="0" y="496"/>
                      <a:pt x="0" y="496"/>
                      <a:pt x="0" y="496"/>
                    </a:cubicBezTo>
                    <a:cubicBezTo>
                      <a:pt x="99" y="550"/>
                      <a:pt x="265" y="554"/>
                      <a:pt x="310" y="554"/>
                    </a:cubicBezTo>
                    <a:cubicBezTo>
                      <a:pt x="355" y="554"/>
                      <a:pt x="521" y="550"/>
                      <a:pt x="621" y="496"/>
                    </a:cubicBezTo>
                    <a:close/>
                    <a:moveTo>
                      <a:pt x="273" y="364"/>
                    </a:moveTo>
                    <a:cubicBezTo>
                      <a:pt x="294" y="386"/>
                      <a:pt x="327" y="386"/>
                      <a:pt x="348" y="364"/>
                    </a:cubicBezTo>
                    <a:cubicBezTo>
                      <a:pt x="502" y="198"/>
                      <a:pt x="502" y="198"/>
                      <a:pt x="502" y="198"/>
                    </a:cubicBezTo>
                    <a:cubicBezTo>
                      <a:pt x="522" y="177"/>
                      <a:pt x="515" y="159"/>
                      <a:pt x="485" y="159"/>
                    </a:cubicBezTo>
                    <a:cubicBezTo>
                      <a:pt x="405" y="159"/>
                      <a:pt x="405" y="159"/>
                      <a:pt x="405" y="159"/>
                    </a:cubicBezTo>
                    <a:cubicBezTo>
                      <a:pt x="405" y="54"/>
                      <a:pt x="405" y="54"/>
                      <a:pt x="405" y="54"/>
                    </a:cubicBezTo>
                    <a:cubicBezTo>
                      <a:pt x="405" y="25"/>
                      <a:pt x="380" y="0"/>
                      <a:pt x="351" y="0"/>
                    </a:cubicBezTo>
                    <a:cubicBezTo>
                      <a:pt x="269" y="0"/>
                      <a:pt x="269" y="0"/>
                      <a:pt x="269" y="0"/>
                    </a:cubicBezTo>
                    <a:cubicBezTo>
                      <a:pt x="240" y="0"/>
                      <a:pt x="215" y="25"/>
                      <a:pt x="215" y="54"/>
                    </a:cubicBezTo>
                    <a:cubicBezTo>
                      <a:pt x="215" y="159"/>
                      <a:pt x="215" y="159"/>
                      <a:pt x="215" y="159"/>
                    </a:cubicBezTo>
                    <a:cubicBezTo>
                      <a:pt x="136" y="159"/>
                      <a:pt x="136" y="159"/>
                      <a:pt x="136" y="159"/>
                    </a:cubicBezTo>
                    <a:cubicBezTo>
                      <a:pt x="105" y="159"/>
                      <a:pt x="98" y="177"/>
                      <a:pt x="118" y="198"/>
                    </a:cubicBezTo>
                    <a:cubicBezTo>
                      <a:pt x="273" y="364"/>
                      <a:pt x="273" y="364"/>
                      <a:pt x="273" y="364"/>
                    </a:cubicBezTo>
                    <a:cubicBezTo>
                      <a:pt x="273" y="364"/>
                      <a:pt x="273" y="364"/>
                      <a:pt x="273" y="364"/>
                    </a:cubicBezTo>
                    <a:close/>
                    <a:moveTo>
                      <a:pt x="435" y="362"/>
                    </a:moveTo>
                    <a:cubicBezTo>
                      <a:pt x="375" y="411"/>
                      <a:pt x="375" y="411"/>
                      <a:pt x="375" y="411"/>
                    </a:cubicBezTo>
                    <a:cubicBezTo>
                      <a:pt x="358" y="426"/>
                      <a:pt x="335" y="433"/>
                      <a:pt x="310" y="433"/>
                    </a:cubicBezTo>
                    <a:cubicBezTo>
                      <a:pt x="285" y="433"/>
                      <a:pt x="263" y="426"/>
                      <a:pt x="245" y="411"/>
                    </a:cubicBezTo>
                    <a:cubicBezTo>
                      <a:pt x="185" y="362"/>
                      <a:pt x="185" y="362"/>
                      <a:pt x="185" y="362"/>
                    </a:cubicBezTo>
                    <a:cubicBezTo>
                      <a:pt x="75" y="373"/>
                      <a:pt x="0" y="398"/>
                      <a:pt x="0" y="427"/>
                    </a:cubicBezTo>
                    <a:cubicBezTo>
                      <a:pt x="0" y="467"/>
                      <a:pt x="138" y="499"/>
                      <a:pt x="310" y="499"/>
                    </a:cubicBezTo>
                    <a:cubicBezTo>
                      <a:pt x="482" y="499"/>
                      <a:pt x="621" y="467"/>
                      <a:pt x="621" y="427"/>
                    </a:cubicBezTo>
                    <a:cubicBezTo>
                      <a:pt x="621" y="398"/>
                      <a:pt x="545" y="373"/>
                      <a:pt x="435" y="362"/>
                    </a:cubicBezTo>
                    <a:close/>
                  </a:path>
                </a:pathLst>
              </a:custGeom>
              <a:solidFill>
                <a:srgbClr val="FFFFFF"/>
              </a:solidFill>
              <a:ln w="2857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66" name="Group 365"/>
          <p:cNvGrpSpPr>
            <a:grpSpLocks noChangeAspect="1"/>
          </p:cNvGrpSpPr>
          <p:nvPr/>
        </p:nvGrpSpPr>
        <p:grpSpPr>
          <a:xfrm>
            <a:off x="1788201" y="1709346"/>
            <a:ext cx="833840" cy="887624"/>
            <a:chOff x="8956177" y="3970370"/>
            <a:chExt cx="1215849" cy="1294273"/>
          </a:xfrm>
          <a:solidFill>
            <a:schemeClr val="bg2">
              <a:lumMod val="20000"/>
              <a:lumOff val="80000"/>
            </a:schemeClr>
          </a:solidFill>
        </p:grpSpPr>
        <p:sp>
          <p:nvSpPr>
            <p:cNvPr id="374" name="Rectangle 373"/>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SaaS</a:t>
              </a:r>
              <a:r>
                <a:rPr lang="en-US" sz="1224" dirty="0" smtClean="0">
                  <a:ln>
                    <a:solidFill>
                      <a:srgbClr val="FFFFFF">
                        <a:alpha val="0"/>
                      </a:srgbClr>
                    </a:solidFill>
                  </a:ln>
                  <a:solidFill>
                    <a:schemeClr val="tx2">
                      <a:lumMod val="40000"/>
                      <a:lumOff val="60000"/>
                    </a:schemeClr>
                  </a:solidFill>
                  <a:latin typeface="Segoe"/>
                </a:rPr>
                <a:t> App</a:t>
              </a:r>
              <a:endParaRPr lang="en-US" sz="1224" dirty="0">
                <a:ln>
                  <a:solidFill>
                    <a:srgbClr val="FFFFFF">
                      <a:alpha val="0"/>
                    </a:srgbClr>
                  </a:solidFill>
                </a:ln>
                <a:solidFill>
                  <a:schemeClr val="tx2">
                    <a:lumMod val="40000"/>
                    <a:lumOff val="60000"/>
                  </a:schemeClr>
                </a:solidFill>
                <a:latin typeface="Segoe"/>
              </a:endParaRP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cxnSp>
        <p:nvCxnSpPr>
          <p:cNvPr id="77" name="Straight Connector 76"/>
          <p:cNvCxnSpPr>
            <a:endCxn id="467" idx="2"/>
          </p:cNvCxnSpPr>
          <p:nvPr/>
        </p:nvCxnSpPr>
        <p:spPr>
          <a:xfrm flipV="1">
            <a:off x="1322902" y="2693116"/>
            <a:ext cx="434939" cy="1042894"/>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1731842" y="2693117"/>
            <a:ext cx="145976" cy="2741590"/>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80" name="Group 79"/>
          <p:cNvGrpSpPr>
            <a:grpSpLocks noChangeAspect="1"/>
          </p:cNvGrpSpPr>
          <p:nvPr/>
        </p:nvGrpSpPr>
        <p:grpSpPr>
          <a:xfrm>
            <a:off x="6857692" y="3778541"/>
            <a:ext cx="833840" cy="887624"/>
            <a:chOff x="8956177" y="3970370"/>
            <a:chExt cx="1215849" cy="1294273"/>
          </a:xfrm>
        </p:grpSpPr>
        <p:sp>
          <p:nvSpPr>
            <p:cNvPr id="81" name="Rectangle 80"/>
            <p:cNvSpPr>
              <a:spLocks noChangeAspect="1"/>
            </p:cNvSpPr>
            <p:nvPr/>
          </p:nvSpPr>
          <p:spPr>
            <a:xfrm>
              <a:off x="8956177" y="4983196"/>
              <a:ext cx="1215849" cy="281447"/>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Web Apps</a:t>
              </a:r>
            </a:p>
          </p:txBody>
        </p:sp>
        <p:sp>
          <p:nvSpPr>
            <p:cNvPr id="84"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87" name="Rectangle 86"/>
          <p:cNvSpPr/>
          <p:nvPr/>
        </p:nvSpPr>
        <p:spPr>
          <a:xfrm>
            <a:off x="6218238" y="3627389"/>
            <a:ext cx="4596903" cy="2621135"/>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1" name="Rectangle 90"/>
          <p:cNvSpPr/>
          <p:nvPr/>
        </p:nvSpPr>
        <p:spPr>
          <a:xfrm>
            <a:off x="292505" y="1028568"/>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7" name="TextBox 6"/>
          <p:cNvSpPr txBox="1"/>
          <p:nvPr/>
        </p:nvSpPr>
        <p:spPr>
          <a:xfrm>
            <a:off x="3370521" y="2700268"/>
            <a:ext cx="1573044"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Public Cloud</a:t>
            </a:r>
          </a:p>
        </p:txBody>
      </p:sp>
      <p:sp>
        <p:nvSpPr>
          <p:cNvPr id="97" name="Rectangle 96"/>
          <p:cNvSpPr/>
          <p:nvPr/>
        </p:nvSpPr>
        <p:spPr>
          <a:xfrm>
            <a:off x="6184771" y="1051291"/>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8" name="TextBox 97"/>
          <p:cNvSpPr txBox="1"/>
          <p:nvPr/>
        </p:nvSpPr>
        <p:spPr>
          <a:xfrm>
            <a:off x="8895710" y="2722991"/>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Microsoft Cloud</a:t>
            </a:r>
          </a:p>
        </p:txBody>
      </p:sp>
      <p:sp>
        <p:nvSpPr>
          <p:cNvPr id="100" name="Freeform 99"/>
          <p:cNvSpPr>
            <a:spLocks noChangeAspect="1"/>
          </p:cNvSpPr>
          <p:nvPr/>
        </p:nvSpPr>
        <p:spPr bwMode="auto">
          <a:xfrm>
            <a:off x="7100442" y="1172089"/>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1" name="Group 100"/>
          <p:cNvGrpSpPr/>
          <p:nvPr/>
        </p:nvGrpSpPr>
        <p:grpSpPr>
          <a:xfrm>
            <a:off x="9121268" y="1339382"/>
            <a:ext cx="802333" cy="529844"/>
            <a:chOff x="4095890" y="3325492"/>
            <a:chExt cx="802333" cy="529844"/>
          </a:xfrm>
        </p:grpSpPr>
        <p:sp>
          <p:nvSpPr>
            <p:cNvPr id="104" name="Freeform 103"/>
            <p:cNvSpPr>
              <a:spLocks noChangeAspect="1"/>
            </p:cNvSpPr>
            <p:nvPr/>
          </p:nvSpPr>
          <p:spPr bwMode="auto">
            <a:xfrm>
              <a:off x="4095890" y="3325494"/>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5" name="Freeform 104"/>
            <p:cNvSpPr>
              <a:spLocks noChangeAspect="1"/>
            </p:cNvSpPr>
            <p:nvPr/>
          </p:nvSpPr>
          <p:spPr bwMode="auto">
            <a:xfrm flipH="1">
              <a:off x="4497083" y="3325492"/>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6" name="Oval 105"/>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7" name="Oval 106"/>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8" name="Oval 107"/>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9" name="Oval 108"/>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0" name="Oval 109"/>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1" name="Oval 110"/>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2" name="Oval 111"/>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Arc 113"/>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5" name="Arc 114"/>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Arc 115"/>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cxnSp>
          <p:nvCxnSpPr>
            <p:cNvPr id="117" name="Straight Connector 116"/>
            <p:cNvCxnSpPr>
              <a:stCxn id="106" idx="4"/>
              <a:endCxn id="108"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18" name="Oval 117"/>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19" name="Straight Connector 118"/>
            <p:cNvCxnSpPr>
              <a:stCxn id="107" idx="4"/>
              <a:endCxn id="109"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20" name="Oval 119"/>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1" name="Straight Connector 120"/>
            <p:cNvCxnSpPr>
              <a:stCxn id="107" idx="3"/>
              <a:endCxn id="112"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22" name="Oval 121"/>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3" name="Straight Connector 122"/>
            <p:cNvCxnSpPr>
              <a:stCxn id="106" idx="3"/>
              <a:endCxn id="113"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24" name="Oval 123"/>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5" name="Straight Connector 124"/>
            <p:cNvCxnSpPr>
              <a:stCxn id="118" idx="3"/>
              <a:endCxn id="111"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26" name="Straight Connector 125"/>
            <p:cNvCxnSpPr>
              <a:stCxn id="120" idx="3"/>
              <a:endCxn id="110" idx="7"/>
            </p:cNvCxnSpPr>
            <p:nvPr/>
          </p:nvCxnSpPr>
          <p:spPr>
            <a:xfrm>
              <a:off x="4584747" y="3631567"/>
              <a:ext cx="51077" cy="67907"/>
            </a:xfrm>
            <a:prstGeom prst="line">
              <a:avLst/>
            </a:prstGeom>
            <a:noFill/>
            <a:ln w="9525" cap="flat" cmpd="sng" algn="ctr">
              <a:solidFill>
                <a:srgbClr val="0070C0"/>
              </a:solidFill>
              <a:prstDash val="solid"/>
            </a:ln>
            <a:effectLst/>
          </p:spPr>
        </p:cxnSp>
      </p:grpSp>
      <p:sp>
        <p:nvSpPr>
          <p:cNvPr id="102" name="Rectangle 101"/>
          <p:cNvSpPr/>
          <p:nvPr/>
        </p:nvSpPr>
        <p:spPr>
          <a:xfrm>
            <a:off x="8971462" y="2074482"/>
            <a:ext cx="1299564" cy="215444"/>
          </a:xfrm>
          <a:prstGeom prst="rect">
            <a:avLst/>
          </a:prstGeom>
          <a:ln>
            <a:noFill/>
          </a:ln>
        </p:spPr>
        <p:txBody>
          <a:bodyPr wrap="square" lIns="0" tIns="0" rIns="0" bIns="0" anchor="ctr">
            <a:spAutoFit/>
          </a:bodyPr>
          <a:lstStyle/>
          <a:p>
            <a:pPr algn="ctr" defTabSz="1118538" fontAlgn="base">
              <a:spcAft>
                <a:spcPct val="0"/>
              </a:spcAft>
            </a:pPr>
            <a:r>
              <a:rPr lang="en-US" sz="1400" dirty="0" smtClean="0">
                <a:ln>
                  <a:solidFill>
                    <a:srgbClr val="FFFFFF">
                      <a:alpha val="0"/>
                    </a:srgbClr>
                  </a:solidFill>
                </a:ln>
                <a:solidFill>
                  <a:srgbClr val="FFFFFF"/>
                </a:solidFill>
                <a:latin typeface="Segoe"/>
              </a:rPr>
              <a:t>Active Directory</a:t>
            </a:r>
            <a:endParaRPr lang="en-US" sz="1400" dirty="0">
              <a:ln>
                <a:solidFill>
                  <a:srgbClr val="FFFFFF">
                    <a:alpha val="0"/>
                  </a:srgbClr>
                </a:solidFill>
              </a:ln>
              <a:solidFill>
                <a:srgbClr val="FFFFFF"/>
              </a:solidFill>
              <a:latin typeface="Segoe"/>
            </a:endParaRPr>
          </a:p>
        </p:txBody>
      </p:sp>
      <p:pic>
        <p:nvPicPr>
          <p:cNvPr id="103" name="Picture 10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570899" y="1743126"/>
            <a:ext cx="1776346" cy="427852"/>
          </a:xfrm>
          <a:prstGeom prst="rect">
            <a:avLst/>
          </a:prstGeom>
        </p:spPr>
      </p:pic>
      <p:grpSp>
        <p:nvGrpSpPr>
          <p:cNvPr id="127" name="Group 126"/>
          <p:cNvGrpSpPr>
            <a:grpSpLocks noChangeAspect="1"/>
          </p:cNvGrpSpPr>
          <p:nvPr/>
        </p:nvGrpSpPr>
        <p:grpSpPr>
          <a:xfrm>
            <a:off x="7791852" y="1757856"/>
            <a:ext cx="833840" cy="887624"/>
            <a:chOff x="8956177" y="3970370"/>
            <a:chExt cx="1215849" cy="1294273"/>
          </a:xfrm>
          <a:solidFill>
            <a:schemeClr val="bg2">
              <a:lumMod val="20000"/>
              <a:lumOff val="80000"/>
            </a:schemeClr>
          </a:solidFill>
        </p:grpSpPr>
        <p:sp>
          <p:nvSpPr>
            <p:cNvPr id="128" name="Rectangle 127"/>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SharePoint</a:t>
              </a:r>
              <a:endParaRPr lang="en-US" sz="1224" dirty="0">
                <a:ln>
                  <a:solidFill>
                    <a:srgbClr val="FFFFFF">
                      <a:alpha val="0"/>
                    </a:srgbClr>
                  </a:solidFill>
                </a:ln>
                <a:solidFill>
                  <a:schemeClr val="tx2">
                    <a:lumMod val="40000"/>
                    <a:lumOff val="60000"/>
                  </a:schemeClr>
                </a:solidFill>
                <a:latin typeface="Segoe"/>
              </a:endParaRPr>
            </a:p>
          </p:txBody>
        </p:sp>
        <p:sp>
          <p:nvSpPr>
            <p:cNvPr id="129"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0" name="TextBox 129"/>
          <p:cNvSpPr txBox="1"/>
          <p:nvPr/>
        </p:nvSpPr>
        <p:spPr>
          <a:xfrm>
            <a:off x="6184771" y="57655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On-premises</a:t>
            </a:r>
          </a:p>
        </p:txBody>
      </p:sp>
      <p:cxnSp>
        <p:nvCxnSpPr>
          <p:cNvPr id="131" name="Straight Connector 130"/>
          <p:cNvCxnSpPr/>
          <p:nvPr/>
        </p:nvCxnSpPr>
        <p:spPr>
          <a:xfrm flipV="1">
            <a:off x="1351682" y="2870237"/>
            <a:ext cx="6440170" cy="879223"/>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73204" y="3776873"/>
            <a:ext cx="5655603" cy="93900"/>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3" name="Rectangle 132"/>
          <p:cNvSpPr/>
          <p:nvPr/>
        </p:nvSpPr>
        <p:spPr>
          <a:xfrm>
            <a:off x="416048" y="5216629"/>
            <a:ext cx="1690305" cy="997695"/>
          </a:xfrm>
          <a:prstGeom prst="rect">
            <a:avLst/>
          </a:prstGeom>
          <a:noFill/>
          <a:ln>
            <a:solidFill>
              <a:schemeClr val="tx2">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135" name="TextBox 134"/>
          <p:cNvSpPr txBox="1"/>
          <p:nvPr/>
        </p:nvSpPr>
        <p:spPr>
          <a:xfrm>
            <a:off x="1313758" y="3977648"/>
            <a:ext cx="1383762" cy="794064"/>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Coffee shop</a:t>
            </a:r>
          </a:p>
        </p:txBody>
      </p:sp>
      <p:grpSp>
        <p:nvGrpSpPr>
          <p:cNvPr id="136" name="Group 135"/>
          <p:cNvGrpSpPr/>
          <p:nvPr/>
        </p:nvGrpSpPr>
        <p:grpSpPr>
          <a:xfrm>
            <a:off x="1012842" y="3581093"/>
            <a:ext cx="260362" cy="458993"/>
            <a:chOff x="3450679" y="3215125"/>
            <a:chExt cx="260362" cy="458993"/>
          </a:xfrm>
        </p:grpSpPr>
        <p:sp>
          <p:nvSpPr>
            <p:cNvPr id="137" name="Freeform 6"/>
            <p:cNvSpPr>
              <a:spLocks noChangeAspect="1" noEditPoints="1"/>
            </p:cNvSpPr>
            <p:nvPr/>
          </p:nvSpPr>
          <p:spPr bwMode="auto">
            <a:xfrm>
              <a:off x="3450679" y="3215125"/>
              <a:ext cx="260362" cy="458993"/>
            </a:xfrm>
            <a:custGeom>
              <a:avLst/>
              <a:gdLst>
                <a:gd name="T0" fmla="*/ 761 w 995"/>
                <a:gd name="T1" fmla="*/ 1817 h 1934"/>
                <a:gd name="T2" fmla="*/ 761 w 995"/>
                <a:gd name="T3" fmla="*/ 1782 h 1934"/>
                <a:gd name="T4" fmla="*/ 995 w 995"/>
                <a:gd name="T5" fmla="*/ 179 h 1934"/>
                <a:gd name="T6" fmla="*/ 694 w 995"/>
                <a:gd name="T7" fmla="*/ 1934 h 1934"/>
                <a:gd name="T8" fmla="*/ 0 w 995"/>
                <a:gd name="T9" fmla="*/ 1750 h 1934"/>
                <a:gd name="T10" fmla="*/ 305 w 995"/>
                <a:gd name="T11" fmla="*/ 0 h 1934"/>
                <a:gd name="T12" fmla="*/ 995 w 995"/>
                <a:gd name="T13" fmla="*/ 179 h 1934"/>
                <a:gd name="T14" fmla="*/ 262 w 995"/>
                <a:gd name="T15" fmla="*/ 1800 h 1934"/>
                <a:gd name="T16" fmla="*/ 240 w 995"/>
                <a:gd name="T17" fmla="*/ 1782 h 1934"/>
                <a:gd name="T18" fmla="*/ 210 w 995"/>
                <a:gd name="T19" fmla="*/ 1801 h 1934"/>
                <a:gd name="T20" fmla="*/ 210 w 995"/>
                <a:gd name="T21" fmla="*/ 1807 h 1934"/>
                <a:gd name="T22" fmla="*/ 241 w 995"/>
                <a:gd name="T23" fmla="*/ 1826 h 1934"/>
                <a:gd name="T24" fmla="*/ 262 w 995"/>
                <a:gd name="T25" fmla="*/ 1808 h 1934"/>
                <a:gd name="T26" fmla="*/ 489 w 995"/>
                <a:gd name="T27" fmla="*/ 1835 h 1934"/>
                <a:gd name="T28" fmla="*/ 463 w 995"/>
                <a:gd name="T29" fmla="*/ 1803 h 1934"/>
                <a:gd name="T30" fmla="*/ 454 w 995"/>
                <a:gd name="T31" fmla="*/ 1831 h 1934"/>
                <a:gd name="T32" fmla="*/ 455 w 995"/>
                <a:gd name="T33" fmla="*/ 1832 h 1934"/>
                <a:gd name="T34" fmla="*/ 499 w 995"/>
                <a:gd name="T35" fmla="*/ 1800 h 1934"/>
                <a:gd name="T36" fmla="*/ 473 w 995"/>
                <a:gd name="T37" fmla="*/ 1768 h 1934"/>
                <a:gd name="T38" fmla="*/ 499 w 995"/>
                <a:gd name="T39" fmla="*/ 1800 h 1934"/>
                <a:gd name="T40" fmla="*/ 503 w 995"/>
                <a:gd name="T41" fmla="*/ 1808 h 1934"/>
                <a:gd name="T42" fmla="*/ 529 w 995"/>
                <a:gd name="T43" fmla="*/ 1840 h 1934"/>
                <a:gd name="T44" fmla="*/ 549 w 995"/>
                <a:gd name="T45" fmla="*/ 1776 h 1934"/>
                <a:gd name="T46" fmla="*/ 504 w 995"/>
                <a:gd name="T47" fmla="*/ 1803 h 1934"/>
                <a:gd name="T48" fmla="*/ 549 w 995"/>
                <a:gd name="T49" fmla="*/ 1776 h 1934"/>
                <a:gd name="T50" fmla="*/ 761 w 995"/>
                <a:gd name="T51" fmla="*/ 1772 h 1934"/>
                <a:gd name="T52" fmla="*/ 739 w 995"/>
                <a:gd name="T53" fmla="*/ 1815 h 1934"/>
                <a:gd name="T54" fmla="*/ 731 w 995"/>
                <a:gd name="T55" fmla="*/ 1837 h 1934"/>
                <a:gd name="T56" fmla="*/ 761 w 995"/>
                <a:gd name="T57" fmla="*/ 1826 h 1934"/>
                <a:gd name="T58" fmla="*/ 942 w 995"/>
                <a:gd name="T59" fmla="*/ 339 h 1934"/>
                <a:gd name="T60" fmla="*/ 168 w 995"/>
                <a:gd name="T61" fmla="*/ 224 h 1934"/>
                <a:gd name="T62" fmla="*/ 53 w 995"/>
                <a:gd name="T63" fmla="*/ 1615 h 1934"/>
                <a:gd name="T64" fmla="*/ 827 w 995"/>
                <a:gd name="T65" fmla="*/ 1730 h 1934"/>
                <a:gd name="T66" fmla="*/ 942 w 995"/>
                <a:gd name="T67" fmla="*/ 339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5" h="1934">
                  <a:moveTo>
                    <a:pt x="779" y="1799"/>
                  </a:moveTo>
                  <a:cubicBezTo>
                    <a:pt x="779" y="1809"/>
                    <a:pt x="771" y="1817"/>
                    <a:pt x="761" y="1817"/>
                  </a:cubicBezTo>
                  <a:cubicBezTo>
                    <a:pt x="751" y="1817"/>
                    <a:pt x="744" y="1809"/>
                    <a:pt x="744" y="1799"/>
                  </a:cubicBezTo>
                  <a:cubicBezTo>
                    <a:pt x="744" y="1790"/>
                    <a:pt x="751" y="1782"/>
                    <a:pt x="761" y="1782"/>
                  </a:cubicBezTo>
                  <a:cubicBezTo>
                    <a:pt x="771" y="1782"/>
                    <a:pt x="779" y="1790"/>
                    <a:pt x="779" y="1799"/>
                  </a:cubicBezTo>
                  <a:close/>
                  <a:moveTo>
                    <a:pt x="995" y="179"/>
                  </a:moveTo>
                  <a:cubicBezTo>
                    <a:pt x="995" y="1751"/>
                    <a:pt x="995" y="1751"/>
                    <a:pt x="995" y="1751"/>
                  </a:cubicBezTo>
                  <a:cubicBezTo>
                    <a:pt x="995" y="1887"/>
                    <a:pt x="934" y="1923"/>
                    <a:pt x="694" y="1934"/>
                  </a:cubicBezTo>
                  <a:cubicBezTo>
                    <a:pt x="302" y="1934"/>
                    <a:pt x="302" y="1934"/>
                    <a:pt x="302" y="1934"/>
                  </a:cubicBezTo>
                  <a:cubicBezTo>
                    <a:pt x="62" y="1934"/>
                    <a:pt x="0" y="1883"/>
                    <a:pt x="0" y="1750"/>
                  </a:cubicBezTo>
                  <a:cubicBezTo>
                    <a:pt x="0" y="1632"/>
                    <a:pt x="0" y="1696"/>
                    <a:pt x="0" y="179"/>
                  </a:cubicBezTo>
                  <a:cubicBezTo>
                    <a:pt x="0" y="94"/>
                    <a:pt x="9" y="0"/>
                    <a:pt x="305" y="0"/>
                  </a:cubicBezTo>
                  <a:cubicBezTo>
                    <a:pt x="694" y="0"/>
                    <a:pt x="694" y="0"/>
                    <a:pt x="694" y="0"/>
                  </a:cubicBezTo>
                  <a:cubicBezTo>
                    <a:pt x="929" y="0"/>
                    <a:pt x="995" y="56"/>
                    <a:pt x="995" y="179"/>
                  </a:cubicBezTo>
                  <a:close/>
                  <a:moveTo>
                    <a:pt x="266" y="1804"/>
                  </a:moveTo>
                  <a:cubicBezTo>
                    <a:pt x="266" y="1802"/>
                    <a:pt x="265" y="1800"/>
                    <a:pt x="262" y="1800"/>
                  </a:cubicBezTo>
                  <a:cubicBezTo>
                    <a:pt x="223" y="1800"/>
                    <a:pt x="223" y="1800"/>
                    <a:pt x="223" y="1800"/>
                  </a:cubicBezTo>
                  <a:cubicBezTo>
                    <a:pt x="240" y="1782"/>
                    <a:pt x="240" y="1782"/>
                    <a:pt x="240" y="1782"/>
                  </a:cubicBezTo>
                  <a:cubicBezTo>
                    <a:pt x="234" y="1776"/>
                    <a:pt x="234" y="1776"/>
                    <a:pt x="234" y="1776"/>
                  </a:cubicBezTo>
                  <a:cubicBezTo>
                    <a:pt x="210" y="1801"/>
                    <a:pt x="210" y="1801"/>
                    <a:pt x="210" y="1801"/>
                  </a:cubicBezTo>
                  <a:cubicBezTo>
                    <a:pt x="209" y="1802"/>
                    <a:pt x="208" y="1803"/>
                    <a:pt x="208" y="1804"/>
                  </a:cubicBezTo>
                  <a:cubicBezTo>
                    <a:pt x="208" y="1805"/>
                    <a:pt x="209" y="1806"/>
                    <a:pt x="210" y="1807"/>
                  </a:cubicBezTo>
                  <a:cubicBezTo>
                    <a:pt x="235" y="1832"/>
                    <a:pt x="235" y="1832"/>
                    <a:pt x="235" y="1832"/>
                  </a:cubicBezTo>
                  <a:cubicBezTo>
                    <a:pt x="241" y="1826"/>
                    <a:pt x="241" y="1826"/>
                    <a:pt x="241" y="1826"/>
                  </a:cubicBezTo>
                  <a:cubicBezTo>
                    <a:pt x="223" y="1808"/>
                    <a:pt x="223" y="1808"/>
                    <a:pt x="223" y="1808"/>
                  </a:cubicBezTo>
                  <a:cubicBezTo>
                    <a:pt x="262" y="1808"/>
                    <a:pt x="262" y="1808"/>
                    <a:pt x="262" y="1808"/>
                  </a:cubicBezTo>
                  <a:cubicBezTo>
                    <a:pt x="265" y="1808"/>
                    <a:pt x="266" y="1806"/>
                    <a:pt x="266" y="1804"/>
                  </a:cubicBezTo>
                  <a:close/>
                  <a:moveTo>
                    <a:pt x="489" y="1835"/>
                  </a:moveTo>
                  <a:cubicBezTo>
                    <a:pt x="498" y="1805"/>
                    <a:pt x="498" y="1805"/>
                    <a:pt x="498" y="1805"/>
                  </a:cubicBezTo>
                  <a:cubicBezTo>
                    <a:pt x="490" y="1800"/>
                    <a:pt x="481" y="1796"/>
                    <a:pt x="463" y="1803"/>
                  </a:cubicBezTo>
                  <a:cubicBezTo>
                    <a:pt x="454" y="1831"/>
                    <a:pt x="454" y="1831"/>
                    <a:pt x="454" y="1831"/>
                  </a:cubicBezTo>
                  <a:cubicBezTo>
                    <a:pt x="454" y="1831"/>
                    <a:pt x="454" y="1831"/>
                    <a:pt x="454" y="1831"/>
                  </a:cubicBezTo>
                  <a:cubicBezTo>
                    <a:pt x="454" y="1832"/>
                    <a:pt x="454" y="1832"/>
                    <a:pt x="455" y="1832"/>
                  </a:cubicBezTo>
                  <a:cubicBezTo>
                    <a:pt x="455" y="1832"/>
                    <a:pt x="455" y="1832"/>
                    <a:pt x="455" y="1832"/>
                  </a:cubicBezTo>
                  <a:cubicBezTo>
                    <a:pt x="472" y="1826"/>
                    <a:pt x="481" y="1830"/>
                    <a:pt x="489" y="1835"/>
                  </a:cubicBezTo>
                  <a:close/>
                  <a:moveTo>
                    <a:pt x="499" y="1800"/>
                  </a:moveTo>
                  <a:cubicBezTo>
                    <a:pt x="509" y="1770"/>
                    <a:pt x="509" y="1770"/>
                    <a:pt x="509" y="1770"/>
                  </a:cubicBezTo>
                  <a:cubicBezTo>
                    <a:pt x="501" y="1765"/>
                    <a:pt x="492" y="1761"/>
                    <a:pt x="473" y="1768"/>
                  </a:cubicBezTo>
                  <a:cubicBezTo>
                    <a:pt x="464" y="1798"/>
                    <a:pt x="464" y="1798"/>
                    <a:pt x="464" y="1798"/>
                  </a:cubicBezTo>
                  <a:cubicBezTo>
                    <a:pt x="483" y="1791"/>
                    <a:pt x="491" y="1795"/>
                    <a:pt x="499" y="1800"/>
                  </a:cubicBezTo>
                  <a:close/>
                  <a:moveTo>
                    <a:pt x="538" y="1810"/>
                  </a:moveTo>
                  <a:cubicBezTo>
                    <a:pt x="519" y="1817"/>
                    <a:pt x="511" y="1813"/>
                    <a:pt x="503" y="1808"/>
                  </a:cubicBezTo>
                  <a:cubicBezTo>
                    <a:pt x="494" y="1838"/>
                    <a:pt x="494" y="1838"/>
                    <a:pt x="494" y="1838"/>
                  </a:cubicBezTo>
                  <a:cubicBezTo>
                    <a:pt x="502" y="1843"/>
                    <a:pt x="510" y="1847"/>
                    <a:pt x="529" y="1840"/>
                  </a:cubicBezTo>
                  <a:lnTo>
                    <a:pt x="538" y="1810"/>
                  </a:lnTo>
                  <a:close/>
                  <a:moveTo>
                    <a:pt x="549" y="1776"/>
                  </a:moveTo>
                  <a:cubicBezTo>
                    <a:pt x="530" y="1783"/>
                    <a:pt x="521" y="1779"/>
                    <a:pt x="513" y="1774"/>
                  </a:cubicBezTo>
                  <a:cubicBezTo>
                    <a:pt x="504" y="1803"/>
                    <a:pt x="504" y="1803"/>
                    <a:pt x="504" y="1803"/>
                  </a:cubicBezTo>
                  <a:cubicBezTo>
                    <a:pt x="512" y="1808"/>
                    <a:pt x="521" y="1812"/>
                    <a:pt x="540" y="1805"/>
                  </a:cubicBezTo>
                  <a:lnTo>
                    <a:pt x="549" y="1776"/>
                  </a:lnTo>
                  <a:close/>
                  <a:moveTo>
                    <a:pt x="788" y="1799"/>
                  </a:moveTo>
                  <a:cubicBezTo>
                    <a:pt x="788" y="1784"/>
                    <a:pt x="776" y="1772"/>
                    <a:pt x="761" y="1772"/>
                  </a:cubicBezTo>
                  <a:cubicBezTo>
                    <a:pt x="746" y="1772"/>
                    <a:pt x="734" y="1784"/>
                    <a:pt x="734" y="1799"/>
                  </a:cubicBezTo>
                  <a:cubicBezTo>
                    <a:pt x="734" y="1805"/>
                    <a:pt x="736" y="1810"/>
                    <a:pt x="739" y="1815"/>
                  </a:cubicBezTo>
                  <a:cubicBezTo>
                    <a:pt x="724" y="1830"/>
                    <a:pt x="724" y="1830"/>
                    <a:pt x="724" y="1830"/>
                  </a:cubicBezTo>
                  <a:cubicBezTo>
                    <a:pt x="731" y="1837"/>
                    <a:pt x="731" y="1837"/>
                    <a:pt x="731" y="1837"/>
                  </a:cubicBezTo>
                  <a:cubicBezTo>
                    <a:pt x="746" y="1821"/>
                    <a:pt x="746" y="1821"/>
                    <a:pt x="746" y="1821"/>
                  </a:cubicBezTo>
                  <a:cubicBezTo>
                    <a:pt x="750" y="1824"/>
                    <a:pt x="755" y="1826"/>
                    <a:pt x="761" y="1826"/>
                  </a:cubicBezTo>
                  <a:cubicBezTo>
                    <a:pt x="776" y="1826"/>
                    <a:pt x="788" y="1814"/>
                    <a:pt x="788" y="1799"/>
                  </a:cubicBezTo>
                  <a:close/>
                  <a:moveTo>
                    <a:pt x="942" y="339"/>
                  </a:moveTo>
                  <a:cubicBezTo>
                    <a:pt x="942" y="275"/>
                    <a:pt x="890" y="224"/>
                    <a:pt x="827" y="224"/>
                  </a:cubicBezTo>
                  <a:cubicBezTo>
                    <a:pt x="168" y="224"/>
                    <a:pt x="168" y="224"/>
                    <a:pt x="168" y="224"/>
                  </a:cubicBezTo>
                  <a:cubicBezTo>
                    <a:pt x="105" y="224"/>
                    <a:pt x="53" y="275"/>
                    <a:pt x="53" y="339"/>
                  </a:cubicBezTo>
                  <a:cubicBezTo>
                    <a:pt x="53" y="1615"/>
                    <a:pt x="53" y="1615"/>
                    <a:pt x="53" y="1615"/>
                  </a:cubicBezTo>
                  <a:cubicBezTo>
                    <a:pt x="53" y="1679"/>
                    <a:pt x="105" y="1730"/>
                    <a:pt x="168" y="1730"/>
                  </a:cubicBezTo>
                  <a:cubicBezTo>
                    <a:pt x="827" y="1730"/>
                    <a:pt x="827" y="1730"/>
                    <a:pt x="827" y="1730"/>
                  </a:cubicBezTo>
                  <a:cubicBezTo>
                    <a:pt x="890" y="1730"/>
                    <a:pt x="942" y="1679"/>
                    <a:pt x="942" y="1615"/>
                  </a:cubicBezTo>
                  <a:lnTo>
                    <a:pt x="942" y="339"/>
                  </a:lnTo>
                  <a:close/>
                </a:path>
              </a:pathLst>
            </a:custGeom>
            <a:solidFill>
              <a:schemeClr val="tx1"/>
            </a:solidFill>
            <a:ln w="10795" cap="flat" cmpd="sng" algn="ctr">
              <a:solidFill>
                <a:schemeClr val="tx1"/>
              </a:solidFill>
              <a:prstDash val="solid"/>
              <a:headEnd type="none" w="med" len="med"/>
              <a:tailEnd type="none" w="med" len="med"/>
            </a:ln>
            <a:effectLst/>
            <a:extLst/>
          </p:spPr>
          <p:txBody>
            <a:bodyPr vert="horz" wrap="square" lIns="0" tIns="46621" rIns="93242" bIns="46621" numCol="1" rtlCol="0" anchor="ctr" anchorCtr="0" compatLnSpc="1">
              <a:prstTxWarp prst="textNoShape">
                <a:avLst/>
              </a:prstTxWarp>
            </a:bodyPr>
            <a:lstStyle/>
            <a:p>
              <a:pPr algn="ctr" defTabSz="755414">
                <a:defRPr/>
              </a:pPr>
              <a:endParaRPr lang="en-US" sz="1428" kern="0" spc="-124">
                <a:latin typeface="Segoe Light" pitchFamily="34" charset="0"/>
              </a:endParaRPr>
            </a:p>
          </p:txBody>
        </p:sp>
        <p:sp>
          <p:nvSpPr>
            <p:cNvPr id="138" name="Freeform 44"/>
            <p:cNvSpPr>
              <a:spLocks/>
            </p:cNvSpPr>
            <p:nvPr/>
          </p:nvSpPr>
          <p:spPr bwMode="auto">
            <a:xfrm rot="21222739">
              <a:off x="3531250" y="3400575"/>
              <a:ext cx="102304" cy="113290"/>
            </a:xfrm>
            <a:custGeom>
              <a:avLst/>
              <a:gdLst>
                <a:gd name="T0" fmla="*/ 75 w 221"/>
                <a:gd name="T1" fmla="*/ 0 h 244"/>
                <a:gd name="T2" fmla="*/ 91 w 221"/>
                <a:gd name="T3" fmla="*/ 4 h 244"/>
                <a:gd name="T4" fmla="*/ 102 w 221"/>
                <a:gd name="T5" fmla="*/ 10 h 244"/>
                <a:gd name="T6" fmla="*/ 112 w 221"/>
                <a:gd name="T7" fmla="*/ 15 h 244"/>
                <a:gd name="T8" fmla="*/ 125 w 221"/>
                <a:gd name="T9" fmla="*/ 19 h 244"/>
                <a:gd name="T10" fmla="*/ 135 w 221"/>
                <a:gd name="T11" fmla="*/ 17 h 244"/>
                <a:gd name="T12" fmla="*/ 146 w 221"/>
                <a:gd name="T13" fmla="*/ 13 h 244"/>
                <a:gd name="T14" fmla="*/ 160 w 221"/>
                <a:gd name="T15" fmla="*/ 10 h 244"/>
                <a:gd name="T16" fmla="*/ 180 w 221"/>
                <a:gd name="T17" fmla="*/ 9 h 244"/>
                <a:gd name="T18" fmla="*/ 196 w 221"/>
                <a:gd name="T19" fmla="*/ 14 h 244"/>
                <a:gd name="T20" fmla="*/ 209 w 221"/>
                <a:gd name="T21" fmla="*/ 24 h 244"/>
                <a:gd name="T22" fmla="*/ 217 w 221"/>
                <a:gd name="T23" fmla="*/ 34 h 244"/>
                <a:gd name="T24" fmla="*/ 221 w 221"/>
                <a:gd name="T25" fmla="*/ 41 h 244"/>
                <a:gd name="T26" fmla="*/ 210 w 221"/>
                <a:gd name="T27" fmla="*/ 47 h 244"/>
                <a:gd name="T28" fmla="*/ 196 w 221"/>
                <a:gd name="T29" fmla="*/ 60 h 244"/>
                <a:gd name="T30" fmla="*/ 182 w 221"/>
                <a:gd name="T31" fmla="*/ 79 h 244"/>
                <a:gd name="T32" fmla="*/ 175 w 221"/>
                <a:gd name="T33" fmla="*/ 106 h 244"/>
                <a:gd name="T34" fmla="*/ 179 w 221"/>
                <a:gd name="T35" fmla="*/ 134 h 244"/>
                <a:gd name="T36" fmla="*/ 192 w 221"/>
                <a:gd name="T37" fmla="*/ 154 h 244"/>
                <a:gd name="T38" fmla="*/ 205 w 221"/>
                <a:gd name="T39" fmla="*/ 167 h 244"/>
                <a:gd name="T40" fmla="*/ 213 w 221"/>
                <a:gd name="T41" fmla="*/ 173 h 244"/>
                <a:gd name="T42" fmla="*/ 205 w 221"/>
                <a:gd name="T43" fmla="*/ 188 h 244"/>
                <a:gd name="T44" fmla="*/ 189 w 221"/>
                <a:gd name="T45" fmla="*/ 212 h 244"/>
                <a:gd name="T46" fmla="*/ 168 w 221"/>
                <a:gd name="T47" fmla="*/ 235 h 244"/>
                <a:gd name="T48" fmla="*/ 149 w 221"/>
                <a:gd name="T49" fmla="*/ 243 h 244"/>
                <a:gd name="T50" fmla="*/ 135 w 221"/>
                <a:gd name="T51" fmla="*/ 239 h 244"/>
                <a:gd name="T52" fmla="*/ 125 w 221"/>
                <a:gd name="T53" fmla="*/ 233 h 244"/>
                <a:gd name="T54" fmla="*/ 116 w 221"/>
                <a:gd name="T55" fmla="*/ 227 h 244"/>
                <a:gd name="T56" fmla="*/ 103 w 221"/>
                <a:gd name="T57" fmla="*/ 223 h 244"/>
                <a:gd name="T58" fmla="*/ 87 w 221"/>
                <a:gd name="T59" fmla="*/ 223 h 244"/>
                <a:gd name="T60" fmla="*/ 76 w 221"/>
                <a:gd name="T61" fmla="*/ 226 h 244"/>
                <a:gd name="T62" fmla="*/ 66 w 221"/>
                <a:gd name="T63" fmla="*/ 230 h 244"/>
                <a:gd name="T64" fmla="*/ 56 w 221"/>
                <a:gd name="T65" fmla="*/ 231 h 244"/>
                <a:gd name="T66" fmla="*/ 43 w 221"/>
                <a:gd name="T67" fmla="*/ 225 h 244"/>
                <a:gd name="T68" fmla="*/ 32 w 221"/>
                <a:gd name="T69" fmla="*/ 214 h 244"/>
                <a:gd name="T70" fmla="*/ 20 w 221"/>
                <a:gd name="T71" fmla="*/ 195 h 244"/>
                <a:gd name="T72" fmla="*/ 10 w 221"/>
                <a:gd name="T73" fmla="*/ 171 h 244"/>
                <a:gd name="T74" fmla="*/ 3 w 221"/>
                <a:gd name="T75" fmla="*/ 142 h 244"/>
                <a:gd name="T76" fmla="*/ 0 w 221"/>
                <a:gd name="T77" fmla="*/ 112 h 244"/>
                <a:gd name="T78" fmla="*/ 2 w 221"/>
                <a:gd name="T79" fmla="*/ 83 h 244"/>
                <a:gd name="T80" fmla="*/ 9 w 221"/>
                <a:gd name="T81" fmla="*/ 55 h 244"/>
                <a:gd name="T82" fmla="*/ 21 w 221"/>
                <a:gd name="T83" fmla="*/ 32 h 244"/>
                <a:gd name="T84" fmla="*/ 38 w 221"/>
                <a:gd name="T85" fmla="*/ 15 h 244"/>
                <a:gd name="T86" fmla="*/ 56 w 221"/>
                <a:gd name="T87" fmla="*/ 4 h 244"/>
                <a:gd name="T88" fmla="*/ 75 w 221"/>
                <a:gd name="T8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1" h="244">
                  <a:moveTo>
                    <a:pt x="75" y="0"/>
                  </a:moveTo>
                  <a:cubicBezTo>
                    <a:pt x="81" y="1"/>
                    <a:pt x="86" y="2"/>
                    <a:pt x="91" y="4"/>
                  </a:cubicBezTo>
                  <a:cubicBezTo>
                    <a:pt x="95" y="6"/>
                    <a:pt x="99" y="8"/>
                    <a:pt x="102" y="10"/>
                  </a:cubicBezTo>
                  <a:cubicBezTo>
                    <a:pt x="106" y="12"/>
                    <a:pt x="109" y="14"/>
                    <a:pt x="112" y="15"/>
                  </a:cubicBezTo>
                  <a:cubicBezTo>
                    <a:pt x="116" y="17"/>
                    <a:pt x="120" y="18"/>
                    <a:pt x="125" y="19"/>
                  </a:cubicBezTo>
                  <a:cubicBezTo>
                    <a:pt x="128" y="19"/>
                    <a:pt x="132" y="18"/>
                    <a:pt x="135" y="17"/>
                  </a:cubicBezTo>
                  <a:cubicBezTo>
                    <a:pt x="139" y="16"/>
                    <a:pt x="142" y="15"/>
                    <a:pt x="146" y="13"/>
                  </a:cubicBezTo>
                  <a:cubicBezTo>
                    <a:pt x="150" y="12"/>
                    <a:pt x="155" y="11"/>
                    <a:pt x="160" y="10"/>
                  </a:cubicBezTo>
                  <a:cubicBezTo>
                    <a:pt x="166" y="9"/>
                    <a:pt x="172" y="9"/>
                    <a:pt x="180" y="9"/>
                  </a:cubicBezTo>
                  <a:cubicBezTo>
                    <a:pt x="186" y="10"/>
                    <a:pt x="192" y="12"/>
                    <a:pt x="196" y="14"/>
                  </a:cubicBezTo>
                  <a:cubicBezTo>
                    <a:pt x="201" y="17"/>
                    <a:pt x="205" y="20"/>
                    <a:pt x="209" y="24"/>
                  </a:cubicBezTo>
                  <a:cubicBezTo>
                    <a:pt x="212" y="27"/>
                    <a:pt x="215" y="31"/>
                    <a:pt x="217" y="34"/>
                  </a:cubicBezTo>
                  <a:cubicBezTo>
                    <a:pt x="219" y="37"/>
                    <a:pt x="220" y="39"/>
                    <a:pt x="221" y="41"/>
                  </a:cubicBezTo>
                  <a:cubicBezTo>
                    <a:pt x="218" y="42"/>
                    <a:pt x="215" y="44"/>
                    <a:pt x="210" y="47"/>
                  </a:cubicBezTo>
                  <a:cubicBezTo>
                    <a:pt x="206" y="51"/>
                    <a:pt x="201" y="55"/>
                    <a:pt x="196" y="60"/>
                  </a:cubicBezTo>
                  <a:cubicBezTo>
                    <a:pt x="191" y="65"/>
                    <a:pt x="186" y="72"/>
                    <a:pt x="182" y="79"/>
                  </a:cubicBezTo>
                  <a:cubicBezTo>
                    <a:pt x="179" y="87"/>
                    <a:pt x="176" y="96"/>
                    <a:pt x="175" y="106"/>
                  </a:cubicBezTo>
                  <a:cubicBezTo>
                    <a:pt x="174" y="116"/>
                    <a:pt x="176" y="126"/>
                    <a:pt x="179" y="134"/>
                  </a:cubicBezTo>
                  <a:cubicBezTo>
                    <a:pt x="182" y="142"/>
                    <a:pt x="187" y="149"/>
                    <a:pt x="192" y="154"/>
                  </a:cubicBezTo>
                  <a:cubicBezTo>
                    <a:pt x="196" y="160"/>
                    <a:pt x="201" y="164"/>
                    <a:pt x="205" y="167"/>
                  </a:cubicBezTo>
                  <a:cubicBezTo>
                    <a:pt x="209" y="171"/>
                    <a:pt x="212" y="172"/>
                    <a:pt x="213" y="173"/>
                  </a:cubicBezTo>
                  <a:cubicBezTo>
                    <a:pt x="212" y="175"/>
                    <a:pt x="209" y="180"/>
                    <a:pt x="205" y="188"/>
                  </a:cubicBezTo>
                  <a:cubicBezTo>
                    <a:pt x="201" y="195"/>
                    <a:pt x="195" y="204"/>
                    <a:pt x="189" y="212"/>
                  </a:cubicBezTo>
                  <a:cubicBezTo>
                    <a:pt x="182" y="221"/>
                    <a:pt x="175" y="229"/>
                    <a:pt x="168" y="235"/>
                  </a:cubicBezTo>
                  <a:cubicBezTo>
                    <a:pt x="161" y="240"/>
                    <a:pt x="155" y="244"/>
                    <a:pt x="149" y="243"/>
                  </a:cubicBezTo>
                  <a:cubicBezTo>
                    <a:pt x="143" y="242"/>
                    <a:pt x="138" y="240"/>
                    <a:pt x="135" y="239"/>
                  </a:cubicBezTo>
                  <a:cubicBezTo>
                    <a:pt x="131" y="237"/>
                    <a:pt x="128" y="235"/>
                    <a:pt x="125" y="233"/>
                  </a:cubicBezTo>
                  <a:cubicBezTo>
                    <a:pt x="122" y="231"/>
                    <a:pt x="120" y="228"/>
                    <a:pt x="116" y="227"/>
                  </a:cubicBezTo>
                  <a:cubicBezTo>
                    <a:pt x="113" y="225"/>
                    <a:pt x="108" y="223"/>
                    <a:pt x="103" y="223"/>
                  </a:cubicBezTo>
                  <a:cubicBezTo>
                    <a:pt x="97" y="222"/>
                    <a:pt x="92" y="222"/>
                    <a:pt x="87" y="223"/>
                  </a:cubicBezTo>
                  <a:cubicBezTo>
                    <a:pt x="83" y="224"/>
                    <a:pt x="79" y="225"/>
                    <a:pt x="76" y="226"/>
                  </a:cubicBezTo>
                  <a:cubicBezTo>
                    <a:pt x="72" y="227"/>
                    <a:pt x="69" y="229"/>
                    <a:pt x="66" y="230"/>
                  </a:cubicBezTo>
                  <a:cubicBezTo>
                    <a:pt x="62" y="231"/>
                    <a:pt x="59" y="231"/>
                    <a:pt x="56" y="231"/>
                  </a:cubicBezTo>
                  <a:cubicBezTo>
                    <a:pt x="52" y="230"/>
                    <a:pt x="47" y="228"/>
                    <a:pt x="43" y="225"/>
                  </a:cubicBezTo>
                  <a:cubicBezTo>
                    <a:pt x="39" y="223"/>
                    <a:pt x="35" y="219"/>
                    <a:pt x="32" y="214"/>
                  </a:cubicBezTo>
                  <a:cubicBezTo>
                    <a:pt x="28" y="209"/>
                    <a:pt x="24" y="202"/>
                    <a:pt x="20" y="195"/>
                  </a:cubicBezTo>
                  <a:cubicBezTo>
                    <a:pt x="17" y="188"/>
                    <a:pt x="13" y="180"/>
                    <a:pt x="10" y="171"/>
                  </a:cubicBezTo>
                  <a:cubicBezTo>
                    <a:pt x="7" y="162"/>
                    <a:pt x="4" y="152"/>
                    <a:pt x="3" y="142"/>
                  </a:cubicBezTo>
                  <a:cubicBezTo>
                    <a:pt x="1" y="132"/>
                    <a:pt x="0" y="122"/>
                    <a:pt x="0" y="112"/>
                  </a:cubicBezTo>
                  <a:cubicBezTo>
                    <a:pt x="0" y="102"/>
                    <a:pt x="1" y="92"/>
                    <a:pt x="2" y="83"/>
                  </a:cubicBezTo>
                  <a:cubicBezTo>
                    <a:pt x="4" y="73"/>
                    <a:pt x="6" y="64"/>
                    <a:pt x="9" y="55"/>
                  </a:cubicBezTo>
                  <a:cubicBezTo>
                    <a:pt x="12" y="47"/>
                    <a:pt x="16" y="39"/>
                    <a:pt x="21" y="32"/>
                  </a:cubicBezTo>
                  <a:cubicBezTo>
                    <a:pt x="26" y="26"/>
                    <a:pt x="31" y="20"/>
                    <a:pt x="38" y="15"/>
                  </a:cubicBezTo>
                  <a:cubicBezTo>
                    <a:pt x="44" y="10"/>
                    <a:pt x="50" y="6"/>
                    <a:pt x="56" y="4"/>
                  </a:cubicBezTo>
                  <a:cubicBezTo>
                    <a:pt x="63" y="1"/>
                    <a:pt x="69" y="0"/>
                    <a:pt x="75" y="0"/>
                  </a:cubicBezTo>
                  <a:close/>
                </a:path>
              </a:pathLst>
            </a:custGeom>
            <a:solidFill>
              <a:schemeClr val="tx1"/>
            </a:solidFill>
            <a:ln>
              <a:noFill/>
            </a:ln>
          </p:spPr>
          <p:txBody>
            <a:bodyPr vert="horz" wrap="square" lIns="95117" tIns="47558" rIns="95117" bIns="47558" numCol="1" anchor="t" anchorCtr="0" compatLnSpc="1">
              <a:prstTxWarp prst="textNoShape">
                <a:avLst/>
              </a:prstTxWarp>
            </a:bodyPr>
            <a:lstStyle/>
            <a:p>
              <a:pPr defTabSz="951156"/>
              <a:endParaRPr lang="en-US" sz="1873"/>
            </a:p>
          </p:txBody>
        </p:sp>
      </p:grpSp>
      <p:sp>
        <p:nvSpPr>
          <p:cNvPr id="139" name="Rectangle 138"/>
          <p:cNvSpPr/>
          <p:nvPr/>
        </p:nvSpPr>
        <p:spPr>
          <a:xfrm>
            <a:off x="434491" y="3534443"/>
            <a:ext cx="1690305" cy="997695"/>
          </a:xfrm>
          <a:prstGeom prst="rect">
            <a:avLst/>
          </a:prstGeom>
          <a:noFill/>
          <a:ln>
            <a:solidFill>
              <a:schemeClr val="tx2">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140" name="TextBox 139"/>
          <p:cNvSpPr txBox="1"/>
          <p:nvPr/>
        </p:nvSpPr>
        <p:spPr>
          <a:xfrm>
            <a:off x="1341894" y="5858203"/>
            <a:ext cx="980887"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Home</a:t>
            </a:r>
          </a:p>
        </p:txBody>
      </p:sp>
      <p:cxnSp>
        <p:nvCxnSpPr>
          <p:cNvPr id="150" name="Straight Connector 149"/>
          <p:cNvCxnSpPr/>
          <p:nvPr/>
        </p:nvCxnSpPr>
        <p:spPr>
          <a:xfrm flipV="1">
            <a:off x="1731842" y="2863319"/>
            <a:ext cx="6161183" cy="2636079"/>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a:endCxn id="84" idx="16"/>
          </p:cNvCxnSpPr>
          <p:nvPr/>
        </p:nvCxnSpPr>
        <p:spPr>
          <a:xfrm flipV="1">
            <a:off x="1704511" y="4056893"/>
            <a:ext cx="5290356" cy="1485037"/>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790986" y="5278551"/>
            <a:ext cx="913525" cy="740352"/>
            <a:chOff x="3692077" y="5936512"/>
            <a:chExt cx="913525" cy="740352"/>
          </a:xfrm>
        </p:grpSpPr>
        <p:grpSp>
          <p:nvGrpSpPr>
            <p:cNvPr id="22" name="Group 21"/>
            <p:cNvGrpSpPr/>
            <p:nvPr/>
          </p:nvGrpSpPr>
          <p:grpSpPr>
            <a:xfrm>
              <a:off x="3692077" y="5936512"/>
              <a:ext cx="913525" cy="740352"/>
              <a:chOff x="3692077" y="5936512"/>
              <a:chExt cx="913525" cy="740352"/>
            </a:xfrm>
          </p:grpSpPr>
          <p:sp>
            <p:nvSpPr>
              <p:cNvPr id="17" name="Rectangle 16"/>
              <p:cNvSpPr/>
              <p:nvPr/>
            </p:nvSpPr>
            <p:spPr bwMode="auto">
              <a:xfrm>
                <a:off x="3692077" y="5942986"/>
                <a:ext cx="898158" cy="732913"/>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56" name="Freeform 107"/>
              <p:cNvSpPr>
                <a:spLocks noEditPoints="1"/>
              </p:cNvSpPr>
              <p:nvPr/>
            </p:nvSpPr>
            <p:spPr bwMode="auto">
              <a:xfrm>
                <a:off x="3692077" y="5936512"/>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2">
                  <a:lumMod val="60000"/>
                  <a:lumOff val="40000"/>
                </a:schemeClr>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grpSp>
        <p:pic>
          <p:nvPicPr>
            <p:cNvPr id="148" name="Picture 2"/>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747665" y="5989214"/>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60" name="Picture 3"/>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25543" y="5377582"/>
            <a:ext cx="330971" cy="498499"/>
          </a:xfrm>
          <a:prstGeom prst="rect">
            <a:avLst/>
          </a:prstGeom>
          <a:blipFill dpi="0" rotWithShape="1">
            <a:blip r:embed="rId5">
              <a:duotone>
                <a:prstClr val="black"/>
                <a:schemeClr val="tx1">
                  <a:tint val="45000"/>
                  <a:satMod val="400000"/>
                </a:schemeClr>
              </a:duotone>
              <a:alphaModFix amt="95000"/>
            </a:blip>
            <a:srcRect/>
            <a:stretch>
              <a:fillRect/>
            </a:stretch>
          </a:blipFill>
          <a:ln w="55000" cap="flat" cmpd="thickThin" algn="ctr">
            <a:noFill/>
            <a:prstDash val="solid"/>
            <a:headEnd type="none" w="med" len="med"/>
            <a:tailEnd type="none" w="med" len="med"/>
          </a:ln>
          <a:effectLst/>
        </p:spPr>
      </p:pic>
      <p:grpSp>
        <p:nvGrpSpPr>
          <p:cNvPr id="161" name="Group 160"/>
          <p:cNvGrpSpPr/>
          <p:nvPr/>
        </p:nvGrpSpPr>
        <p:grpSpPr>
          <a:xfrm>
            <a:off x="6643679" y="5149367"/>
            <a:ext cx="913525" cy="740352"/>
            <a:chOff x="3692077" y="5936512"/>
            <a:chExt cx="913525" cy="740352"/>
          </a:xfrm>
        </p:grpSpPr>
        <p:grpSp>
          <p:nvGrpSpPr>
            <p:cNvPr id="162" name="Group 161"/>
            <p:cNvGrpSpPr/>
            <p:nvPr/>
          </p:nvGrpSpPr>
          <p:grpSpPr>
            <a:xfrm>
              <a:off x="3692077" y="5936512"/>
              <a:ext cx="913525" cy="740352"/>
              <a:chOff x="3692077" y="5936512"/>
              <a:chExt cx="913525" cy="740352"/>
            </a:xfrm>
          </p:grpSpPr>
          <p:sp>
            <p:nvSpPr>
              <p:cNvPr id="164" name="Rectangle 163"/>
              <p:cNvSpPr/>
              <p:nvPr/>
            </p:nvSpPr>
            <p:spPr bwMode="auto">
              <a:xfrm>
                <a:off x="3692077" y="5942986"/>
                <a:ext cx="898158" cy="732913"/>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65" name="Freeform 107"/>
              <p:cNvSpPr>
                <a:spLocks noEditPoints="1"/>
              </p:cNvSpPr>
              <p:nvPr/>
            </p:nvSpPr>
            <p:spPr bwMode="auto">
              <a:xfrm>
                <a:off x="3692077" y="5936512"/>
                <a:ext cx="913525" cy="740352"/>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chemeClr val="bg2">
                  <a:lumMod val="60000"/>
                  <a:lumOff val="40000"/>
                </a:schemeClr>
              </a:solidFill>
              <a:extLst/>
            </p:spPr>
            <p:txBody>
              <a:bodyPr vert="horz" wrap="square" lIns="118357" tIns="59178" rIns="118357" bIns="59178" numCol="1" anchor="t" anchorCtr="0" compatLnSpc="1">
                <a:prstTxWarp prst="textNoShape">
                  <a:avLst/>
                </a:prstTxWarp>
              </a:bodyPr>
              <a:lstStyle/>
              <a:p>
                <a:pPr defTabSz="932597">
                  <a:defRPr/>
                </a:pPr>
                <a:endParaRPr lang="en-US" sz="1836" dirty="0"/>
              </a:p>
            </p:txBody>
          </p:sp>
        </p:grpSp>
        <p:pic>
          <p:nvPicPr>
            <p:cNvPr id="163" name="Picture 2"/>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3747665" y="5989214"/>
              <a:ext cx="793746" cy="5186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166" name="Straight Connector 165"/>
          <p:cNvCxnSpPr/>
          <p:nvPr/>
        </p:nvCxnSpPr>
        <p:spPr>
          <a:xfrm flipH="1" flipV="1">
            <a:off x="1877819" y="2700269"/>
            <a:ext cx="5045252" cy="2425985"/>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nvCxnSpPr>
        <p:spPr>
          <a:xfrm flipV="1">
            <a:off x="6947309" y="2864285"/>
            <a:ext cx="998677" cy="2261969"/>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flipV="1">
            <a:off x="6923071" y="4556992"/>
            <a:ext cx="71796" cy="569262"/>
          </a:xfrm>
          <a:prstGeom prst="line">
            <a:avLst/>
          </a:prstGeom>
          <a:ln w="25400" cap="rnd" cmpd="sng">
            <a:solidFill>
              <a:srgbClr val="0070C0"/>
            </a:solidFill>
            <a:prstDash val="sysDot"/>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9" name="Rectangle 178"/>
          <p:cNvSpPr/>
          <p:nvPr/>
        </p:nvSpPr>
        <p:spPr bwMode="auto">
          <a:xfrm>
            <a:off x="167650" y="5969424"/>
            <a:ext cx="5129318" cy="898811"/>
          </a:xfrm>
          <a:prstGeom prst="rect">
            <a:avLst/>
          </a:prstGeom>
          <a:solidFill>
            <a:schemeClr val="accent1">
              <a:lumMod val="60000"/>
              <a:lumOff val="40000"/>
            </a:schemeClr>
          </a:solidFill>
          <a:ln>
            <a:solidFill>
              <a:srgbClr val="FFFF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pc="-50" dirty="0">
                <a:solidFill>
                  <a:schemeClr val="bg1"/>
                </a:solidFill>
              </a:rPr>
              <a:t>Access to company resources, from anywhere from any device</a:t>
            </a:r>
          </a:p>
        </p:txBody>
      </p:sp>
      <p:sp>
        <p:nvSpPr>
          <p:cNvPr id="180" name="Title 2"/>
          <p:cNvSpPr txBox="1">
            <a:spLocks/>
          </p:cNvSpPr>
          <p:nvPr/>
        </p:nvSpPr>
        <p:spPr>
          <a:xfrm>
            <a:off x="274320" y="296897"/>
            <a:ext cx="11889564" cy="917575"/>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Identity and access: End user value</a:t>
            </a:r>
            <a:endParaRPr lang="en-US" dirty="0"/>
          </a:p>
        </p:txBody>
      </p:sp>
    </p:spTree>
    <p:extLst>
      <p:ext uri="{BB962C8B-B14F-4D97-AF65-F5344CB8AC3E}">
        <p14:creationId xmlns:p14="http://schemas.microsoft.com/office/powerpoint/2010/main" val="25817949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6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xit" presetSubtype="0" fill="hold" grpId="1" nodeType="clickEffect">
                                  <p:stCondLst>
                                    <p:cond delay="0"/>
                                  </p:stCondLst>
                                  <p:childTnLst>
                                    <p:set>
                                      <p:cBhvr>
                                        <p:cTn id="24" dur="1" fill="hold">
                                          <p:stCondLst>
                                            <p:cond delay="0"/>
                                          </p:stCondLst>
                                        </p:cTn>
                                        <p:tgtEl>
                                          <p:spTgt spid="135"/>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39"/>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136"/>
                                        </p:tgtEl>
                                        <p:attrNameLst>
                                          <p:attrName>style.visibility</p:attrName>
                                        </p:attrNameLst>
                                      </p:cBhvr>
                                      <p:to>
                                        <p:strVal val="hidden"/>
                                      </p:to>
                                    </p:set>
                                  </p:childTnLst>
                                </p:cTn>
                              </p:par>
                              <p:par>
                                <p:cTn id="29" presetID="1" presetClass="exit" presetSubtype="0" fill="hold" nodeType="withEffect">
                                  <p:stCondLst>
                                    <p:cond delay="0"/>
                                  </p:stCondLst>
                                  <p:childTnLst>
                                    <p:set>
                                      <p:cBhvr>
                                        <p:cTn id="30" dur="1" fill="hold">
                                          <p:stCondLst>
                                            <p:cond delay="0"/>
                                          </p:stCondLst>
                                        </p:cTn>
                                        <p:tgtEl>
                                          <p:spTgt spid="77"/>
                                        </p:tgtEl>
                                        <p:attrNameLst>
                                          <p:attrName>style.visibility</p:attrName>
                                        </p:attrNameLst>
                                      </p:cBhvr>
                                      <p:to>
                                        <p:strVal val="hidden"/>
                                      </p:to>
                                    </p:set>
                                  </p:childTnLst>
                                </p:cTn>
                              </p:par>
                              <p:par>
                                <p:cTn id="31" presetID="1" presetClass="exit" presetSubtype="0" fill="hold" nodeType="withEffect">
                                  <p:stCondLst>
                                    <p:cond delay="0"/>
                                  </p:stCondLst>
                                  <p:childTnLst>
                                    <p:set>
                                      <p:cBhvr>
                                        <p:cTn id="32" dur="1" fill="hold">
                                          <p:stCondLst>
                                            <p:cond delay="0"/>
                                          </p:stCondLst>
                                        </p:cTn>
                                        <p:tgtEl>
                                          <p:spTgt spid="131"/>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132"/>
                                        </p:tgtEl>
                                        <p:attrNameLst>
                                          <p:attrName>style.visibility</p:attrName>
                                        </p:attrNameLst>
                                      </p:cBhvr>
                                      <p:to>
                                        <p:strVal val="hidden"/>
                                      </p:to>
                                    </p:set>
                                  </p:childTnLst>
                                </p:cTn>
                              </p:par>
                              <p:par>
                                <p:cTn id="35" presetID="42" presetClass="path" presetSubtype="0" accel="50000" decel="50000" fill="hold" nodeType="withEffect">
                                  <p:stCondLst>
                                    <p:cond delay="0"/>
                                  </p:stCondLst>
                                  <p:childTnLst>
                                    <p:animMotion origin="layout" path="M 0 0 L 0 0.25 E" pathEditMode="relative" ptsTypes="">
                                      <p:cBhvr>
                                        <p:cTn id="36" dur="2000" fill="hold"/>
                                        <p:tgtEl>
                                          <p:spTgt spid="362"/>
                                        </p:tgtEl>
                                        <p:attrNameLst>
                                          <p:attrName>ppt_x</p:attrName>
                                          <p:attrName>ppt_y</p:attrName>
                                        </p:attrNameLst>
                                      </p:cBhvr>
                                    </p:animMotion>
                                  </p:childTnLst>
                                </p:cTn>
                              </p:par>
                              <p:par>
                                <p:cTn id="37" presetID="1" presetClass="entr" presetSubtype="0" fill="hold" grpId="0" nodeType="withEffect">
                                  <p:stCondLst>
                                    <p:cond delay="0"/>
                                  </p:stCondLst>
                                  <p:childTnLst>
                                    <p:set>
                                      <p:cBhvr>
                                        <p:cTn id="38" dur="1" fill="hold">
                                          <p:stCondLst>
                                            <p:cond delay="0"/>
                                          </p:stCondLst>
                                        </p:cTn>
                                        <p:tgtEl>
                                          <p:spTgt spid="14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3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8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86"/>
                                        </p:tgtEl>
                                        <p:attrNameLst>
                                          <p:attrName>style.visibility</p:attrName>
                                        </p:attrNameLst>
                                      </p:cBhvr>
                                      <p:to>
                                        <p:strVal val="hidden"/>
                                      </p:to>
                                    </p:set>
                                  </p:childTnLst>
                                </p:cTn>
                              </p:par>
                              <p:par>
                                <p:cTn id="55" presetID="1" presetClass="exit" presetSubtype="0" fill="hold" nodeType="withEffect">
                                  <p:stCondLst>
                                    <p:cond delay="0"/>
                                  </p:stCondLst>
                                  <p:childTnLst>
                                    <p:set>
                                      <p:cBhvr>
                                        <p:cTn id="56" dur="1" fill="hold">
                                          <p:stCondLst>
                                            <p:cond delay="0"/>
                                          </p:stCondLst>
                                        </p:cTn>
                                        <p:tgtEl>
                                          <p:spTgt spid="150"/>
                                        </p:tgtEl>
                                        <p:attrNameLst>
                                          <p:attrName>style.visibility</p:attrName>
                                        </p:attrNameLst>
                                      </p:cBhvr>
                                      <p:to>
                                        <p:strVal val="hidden"/>
                                      </p:to>
                                    </p:set>
                                  </p:childTnLst>
                                </p:cTn>
                              </p:par>
                              <p:par>
                                <p:cTn id="57" presetID="1" presetClass="exit" presetSubtype="0" fill="hold" nodeType="withEffect">
                                  <p:stCondLst>
                                    <p:cond delay="0"/>
                                  </p:stCondLst>
                                  <p:childTnLst>
                                    <p:set>
                                      <p:cBhvr>
                                        <p:cTn id="58" dur="1" fill="hold">
                                          <p:stCondLst>
                                            <p:cond delay="0"/>
                                          </p:stCondLst>
                                        </p:cTn>
                                        <p:tgtEl>
                                          <p:spTgt spid="151"/>
                                        </p:tgtEl>
                                        <p:attrNameLst>
                                          <p:attrName>style.visibility</p:attrName>
                                        </p:attrNameLst>
                                      </p:cBhvr>
                                      <p:to>
                                        <p:strVal val="hidden"/>
                                      </p:to>
                                    </p:set>
                                  </p:childTnLst>
                                </p:cTn>
                              </p:par>
                              <p:par>
                                <p:cTn id="59" presetID="1" presetClass="exit" presetSubtype="0" fill="hold" grpId="1" nodeType="withEffect">
                                  <p:stCondLst>
                                    <p:cond delay="0"/>
                                  </p:stCondLst>
                                  <p:childTnLst>
                                    <p:set>
                                      <p:cBhvr>
                                        <p:cTn id="60" dur="1" fill="hold">
                                          <p:stCondLst>
                                            <p:cond delay="0"/>
                                          </p:stCondLst>
                                        </p:cTn>
                                        <p:tgtEl>
                                          <p:spTgt spid="133"/>
                                        </p:tgtEl>
                                        <p:attrNameLst>
                                          <p:attrName>style.visibility</p:attrName>
                                        </p:attrNameLst>
                                      </p:cBhvr>
                                      <p:to>
                                        <p:strVal val="hidden"/>
                                      </p:to>
                                    </p:set>
                                  </p:childTnLst>
                                </p:cTn>
                              </p:par>
                              <p:par>
                                <p:cTn id="61" presetID="1" presetClass="exit" presetSubtype="0" fill="hold" nodeType="withEffect">
                                  <p:stCondLst>
                                    <p:cond delay="0"/>
                                  </p:stCondLst>
                                  <p:childTnLst>
                                    <p:set>
                                      <p:cBhvr>
                                        <p:cTn id="62" dur="1" fill="hold">
                                          <p:stCondLst>
                                            <p:cond delay="0"/>
                                          </p:stCondLst>
                                        </p:cTn>
                                        <p:tgtEl>
                                          <p:spTgt spid="23"/>
                                        </p:tgtEl>
                                        <p:attrNameLst>
                                          <p:attrName>style.visibility</p:attrName>
                                        </p:attrNameLst>
                                      </p:cBhvr>
                                      <p:to>
                                        <p:strVal val="hidden"/>
                                      </p:to>
                                    </p:set>
                                  </p:childTnLst>
                                </p:cTn>
                              </p:par>
                              <p:par>
                                <p:cTn id="63" presetID="1" presetClass="exit" presetSubtype="0" fill="hold" nodeType="withEffect">
                                  <p:stCondLst>
                                    <p:cond delay="0"/>
                                  </p:stCondLst>
                                  <p:childTnLst>
                                    <p:set>
                                      <p:cBhvr>
                                        <p:cTn id="64" dur="1" fill="hold">
                                          <p:stCondLst>
                                            <p:cond delay="0"/>
                                          </p:stCondLst>
                                        </p:cTn>
                                        <p:tgtEl>
                                          <p:spTgt spid="362"/>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140"/>
                                        </p:tgtEl>
                                        <p:attrNameLst>
                                          <p:attrName>style.visibility</p:attrName>
                                        </p:attrNameLst>
                                      </p:cBhvr>
                                      <p:to>
                                        <p:strVal val="hidden"/>
                                      </p:to>
                                    </p:set>
                                  </p:childTnLst>
                                </p:cTn>
                              </p:par>
                              <p:par>
                                <p:cTn id="67" presetID="1" presetClass="entr" presetSubtype="0" fill="hold" nodeType="withEffect">
                                  <p:stCondLst>
                                    <p:cond delay="0"/>
                                  </p:stCondLst>
                                  <p:childTnLst>
                                    <p:set>
                                      <p:cBhvr>
                                        <p:cTn id="68" dur="1" fill="hold">
                                          <p:stCondLst>
                                            <p:cond delay="0"/>
                                          </p:stCondLst>
                                        </p:cTn>
                                        <p:tgtEl>
                                          <p:spTgt spid="160"/>
                                        </p:tgtEl>
                                        <p:attrNameLst>
                                          <p:attrName>style.visibility</p:attrName>
                                        </p:attrNameLst>
                                      </p:cBhvr>
                                      <p:to>
                                        <p:strVal val="visible"/>
                                      </p:to>
                                    </p:set>
                                  </p:childTnLst>
                                </p:cTn>
                              </p:par>
                              <p:par>
                                <p:cTn id="69" presetID="63" presetClass="path" presetSubtype="0" accel="50000" decel="50000" fill="hold" nodeType="withEffect">
                                  <p:stCondLst>
                                    <p:cond delay="0"/>
                                  </p:stCondLst>
                                  <p:childTnLst>
                                    <p:animMotion origin="layout" path="M 4.6796E-6 2.30595E-6 L 0.46949 -0.0025 " pathEditMode="relative" rAng="0" ptsTypes="AA">
                                      <p:cBhvr>
                                        <p:cTn id="70" dur="2000" fill="hold"/>
                                        <p:tgtEl>
                                          <p:spTgt spid="160"/>
                                        </p:tgtEl>
                                        <p:attrNameLst>
                                          <p:attrName>ppt_x</p:attrName>
                                          <p:attrName>ppt_y</p:attrName>
                                        </p:attrNameLst>
                                      </p:cBhvr>
                                      <p:rCtr x="23475" y="-136"/>
                                    </p:animMotion>
                                  </p:childTnLst>
                                </p:cTn>
                              </p:par>
                              <p:par>
                                <p:cTn id="71" presetID="1" presetClass="entr" presetSubtype="0" fill="hold" nodeType="withEffect">
                                  <p:stCondLst>
                                    <p:cond delay="0"/>
                                  </p:stCondLst>
                                  <p:childTnLst>
                                    <p:set>
                                      <p:cBhvr>
                                        <p:cTn id="72" dur="1" fill="hold">
                                          <p:stCondLst>
                                            <p:cond delay="0"/>
                                          </p:stCondLst>
                                        </p:cTn>
                                        <p:tgtEl>
                                          <p:spTgt spid="161"/>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166"/>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168"/>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70"/>
                                        </p:tgtEl>
                                        <p:attrNameLst>
                                          <p:attrName>style.visibility</p:attrName>
                                        </p:attrNameLst>
                                      </p:cBhvr>
                                      <p:to>
                                        <p:strVal val="visible"/>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grpId="0" nodeType="clickEffect">
                                  <p:stCondLst>
                                    <p:cond delay="0"/>
                                  </p:stCondLst>
                                  <p:childTnLst>
                                    <p:set>
                                      <p:cBhvr>
                                        <p:cTn id="84"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3" grpId="0" animBg="1"/>
      <p:bldP spid="133" grpId="1" animBg="1"/>
      <p:bldP spid="135" grpId="0"/>
      <p:bldP spid="135" grpId="1"/>
      <p:bldP spid="139" grpId="0" animBg="1"/>
      <p:bldP spid="139" grpId="1" animBg="1"/>
      <p:bldP spid="140" grpId="0"/>
      <p:bldP spid="140" grpId="1"/>
      <p:bldP spid="17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8</a:t>
            </a:fld>
            <a:endParaRPr dirty="0">
              <a:gradFill>
                <a:gsLst>
                  <a:gs pos="0">
                    <a:srgbClr val="505050"/>
                  </a:gs>
                  <a:gs pos="100000">
                    <a:srgbClr val="505050"/>
                  </a:gs>
                </a:gsLst>
                <a:lin ang="5400000" scaled="0"/>
              </a:gradFill>
            </a:endParaRPr>
          </a:p>
        </p:txBody>
      </p:sp>
      <p:grpSp>
        <p:nvGrpSpPr>
          <p:cNvPr id="412" name="Group 411"/>
          <p:cNvGrpSpPr/>
          <p:nvPr/>
        </p:nvGrpSpPr>
        <p:grpSpPr>
          <a:xfrm>
            <a:off x="8820989" y="4628163"/>
            <a:ext cx="1943660" cy="1477131"/>
            <a:chOff x="3435182" y="5042873"/>
            <a:chExt cx="1943660" cy="1477131"/>
          </a:xfrm>
        </p:grpSpPr>
        <p:sp>
          <p:nvSpPr>
            <p:cNvPr id="413" name="Oval 412"/>
            <p:cNvSpPr/>
            <p:nvPr>
              <p:custDataLst>
                <p:tags r:id="rId1"/>
              </p:custDataLst>
            </p:nvPr>
          </p:nvSpPr>
          <p:spPr bwMode="auto">
            <a:xfrm>
              <a:off x="3435182" y="5042873"/>
              <a:ext cx="1943660" cy="1477131"/>
            </a:xfrm>
            <a:prstGeom prst="ellipse">
              <a:avLst/>
            </a:prstGeom>
            <a:solidFill>
              <a:srgbClr val="0070C0"/>
            </a:solidFill>
            <a:ln w="19050" cap="flat" cmpd="sng" algn="ctr">
              <a:solidFill>
                <a:srgbClr val="0070C0"/>
              </a:solidFill>
              <a:prstDash val="solid"/>
              <a:headEnd type="none" w="med" len="med"/>
              <a:tailEnd type="none" w="med" len="med"/>
            </a:ln>
            <a:effectLst/>
          </p:spPr>
          <p:txBody>
            <a:bodyPr vert="horz" wrap="square" lIns="114143" tIns="57071" rIns="114143" bIns="57071" numCol="1" rtlCol="0" anchor="ctr" anchorCtr="0" compatLnSpc="1">
              <a:prstTxWarp prst="textNoShape">
                <a:avLst/>
              </a:prstTxWarp>
            </a:bodyPr>
            <a:lstStyle/>
            <a:p>
              <a:pPr algn="ctr" defTabSz="1141187" fontAlgn="base">
                <a:spcBef>
                  <a:spcPct val="0"/>
                </a:spcBef>
                <a:spcAft>
                  <a:spcPct val="0"/>
                </a:spcAft>
                <a:defRPr/>
              </a:pPr>
              <a:endParaRPr lang="en-US" sz="2809" kern="0" dirty="0">
                <a:solidFill>
                  <a:schemeClr val="accent1">
                    <a:lumMod val="60000"/>
                    <a:lumOff val="40000"/>
                  </a:schemeClr>
                </a:solidFill>
              </a:endParaRPr>
            </a:p>
          </p:txBody>
        </p:sp>
        <p:sp>
          <p:nvSpPr>
            <p:cNvPr id="414" name="Rectangle 413"/>
            <p:cNvSpPr/>
            <p:nvPr/>
          </p:nvSpPr>
          <p:spPr>
            <a:xfrm>
              <a:off x="4097758" y="6076294"/>
              <a:ext cx="1029997" cy="196284"/>
            </a:xfrm>
            <a:prstGeom prst="rect">
              <a:avLst/>
            </a:prstGeom>
            <a:ln>
              <a:noFill/>
            </a:ln>
          </p:spPr>
          <p:txBody>
            <a:bodyPr wrap="none" lIns="0" tIns="0" rIns="0" bIns="0" anchor="ctr">
              <a:spAutoFit/>
            </a:bodyPr>
            <a:lstStyle/>
            <a:p>
              <a:pPr algn="ctr" defTabSz="1140797" fontAlgn="base">
                <a:spcBef>
                  <a:spcPts val="1498"/>
                </a:spcBef>
                <a:spcAft>
                  <a:spcPct val="0"/>
                </a:spcAft>
              </a:pPr>
              <a:r>
                <a:rPr lang="en-US" sz="1122" dirty="0">
                  <a:ln>
                    <a:solidFill>
                      <a:srgbClr val="FFFFFF">
                        <a:alpha val="0"/>
                      </a:srgbClr>
                    </a:solidFill>
                  </a:ln>
                  <a:solidFill>
                    <a:srgbClr val="FFFFFF"/>
                  </a:solidFill>
                  <a:latin typeface="Segoe"/>
                </a:rPr>
                <a:t>Active Directory</a:t>
              </a:r>
            </a:p>
          </p:txBody>
        </p:sp>
        <p:pic>
          <p:nvPicPr>
            <p:cNvPr id="416" name="Picture 4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23474" y="5795665"/>
              <a:ext cx="1601430" cy="446655"/>
            </a:xfrm>
            <a:prstGeom prst="rect">
              <a:avLst/>
            </a:prstGeom>
          </p:spPr>
        </p:pic>
        <p:pic>
          <p:nvPicPr>
            <p:cNvPr id="417" name="Picture 4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sp>
        <p:nvSpPr>
          <p:cNvPr id="467" name="Freeform 466"/>
          <p:cNvSpPr>
            <a:spLocks/>
          </p:cNvSpPr>
          <p:nvPr/>
        </p:nvSpPr>
        <p:spPr bwMode="auto">
          <a:xfrm>
            <a:off x="1143023" y="1138356"/>
            <a:ext cx="3152998" cy="1563559"/>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4" name="Group 3"/>
          <p:cNvGrpSpPr/>
          <p:nvPr/>
        </p:nvGrpSpPr>
        <p:grpSpPr>
          <a:xfrm>
            <a:off x="7807024" y="3743721"/>
            <a:ext cx="1434026" cy="926437"/>
            <a:chOff x="8938130" y="4466059"/>
            <a:chExt cx="1434026" cy="926437"/>
          </a:xfrm>
        </p:grpSpPr>
        <p:grpSp>
          <p:nvGrpSpPr>
            <p:cNvPr id="360" name="Group 359"/>
            <p:cNvGrpSpPr>
              <a:grpSpLocks noChangeAspect="1"/>
            </p:cNvGrpSpPr>
            <p:nvPr/>
          </p:nvGrpSpPr>
          <p:grpSpPr>
            <a:xfrm>
              <a:off x="9810311" y="4466059"/>
              <a:ext cx="561845" cy="926436"/>
              <a:chOff x="8665724" y="2355872"/>
              <a:chExt cx="819243" cy="1350866"/>
            </a:xfrm>
          </p:grpSpPr>
          <p:grpSp>
            <p:nvGrpSpPr>
              <p:cNvPr id="378" name="Group 377"/>
              <p:cNvGrpSpPr/>
              <p:nvPr/>
            </p:nvGrpSpPr>
            <p:grpSpPr>
              <a:xfrm>
                <a:off x="8665724" y="2445237"/>
                <a:ext cx="819243" cy="1261501"/>
                <a:chOff x="9378404" y="3512012"/>
                <a:chExt cx="681012" cy="1048648"/>
              </a:xfrm>
            </p:grpSpPr>
            <p:sp>
              <p:nvSpPr>
                <p:cNvPr id="380" name="Rectangle 379"/>
                <p:cNvSpPr/>
                <p:nvPr/>
              </p:nvSpPr>
              <p:spPr>
                <a:xfrm>
                  <a:off x="9512833" y="4332318"/>
                  <a:ext cx="546583" cy="228342"/>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endParaRPr lang="en-US" dirty="0">
                      <a:solidFill>
                        <a:srgbClr val="505050"/>
                      </a:solidFill>
                    </a:endParaRPr>
                  </a:p>
                </p:txBody>
              </p:sp>
            </p:grpSp>
          </p:grpSp>
          <p:pic>
            <p:nvPicPr>
              <p:cNvPr id="379" name="Picture 37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43468" y="2355872"/>
                <a:ext cx="723204" cy="1010842"/>
              </a:xfrm>
              <a:prstGeom prst="rect">
                <a:avLst/>
              </a:prstGeom>
            </p:spPr>
          </p:pic>
        </p:grpSp>
        <p:grpSp>
          <p:nvGrpSpPr>
            <p:cNvPr id="361" name="Group 360"/>
            <p:cNvGrpSpPr>
              <a:grpSpLocks noChangeAspect="1"/>
            </p:cNvGrpSpPr>
            <p:nvPr/>
          </p:nvGrpSpPr>
          <p:grpSpPr>
            <a:xfrm>
              <a:off x="8938130" y="4487632"/>
              <a:ext cx="832929" cy="904864"/>
              <a:chOff x="9929358" y="3977955"/>
              <a:chExt cx="1214520" cy="1319410"/>
            </a:xfrm>
          </p:grpSpPr>
          <p:sp>
            <p:nvSpPr>
              <p:cNvPr id="376" name="Rectangle 375"/>
              <p:cNvSpPr/>
              <p:nvPr/>
            </p:nvSpPr>
            <p:spPr>
              <a:xfrm>
                <a:off x="9929358" y="5022675"/>
                <a:ext cx="1214520" cy="274690"/>
              </a:xfrm>
              <a:prstGeom prst="rect">
                <a:avLst/>
              </a:prstGeom>
              <a:solidFill>
                <a:schemeClr val="tx1"/>
              </a:solidFill>
              <a:ln>
                <a:solidFill>
                  <a:schemeClr val="accent1"/>
                </a:solid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bg1"/>
                    </a:solidFill>
                    <a:latin typeface="Segoe"/>
                  </a:rPr>
                  <a:t>LOB Apps</a:t>
                </a:r>
                <a:endParaRPr lang="en-US" sz="1224" dirty="0">
                  <a:ln>
                    <a:solidFill>
                      <a:srgbClr val="FFFFFF">
                        <a:alpha val="0"/>
                      </a:srgbClr>
                    </a:solidFill>
                  </a:ln>
                  <a:solidFill>
                    <a:schemeClr val="bg1"/>
                  </a:solidFill>
                  <a:latin typeface="Segoe"/>
                </a:endParaRPr>
              </a:p>
            </p:txBody>
          </p:sp>
          <p:sp>
            <p:nvSpPr>
              <p:cNvPr id="377" name="Freeform 27"/>
              <p:cNvSpPr>
                <a:spLocks noEditPoints="1"/>
              </p:cNvSpPr>
              <p:nvPr/>
            </p:nvSpPr>
            <p:spPr bwMode="auto">
              <a:xfrm>
                <a:off x="10187846" y="3977955"/>
                <a:ext cx="712103" cy="962346"/>
              </a:xfrm>
              <a:custGeom>
                <a:avLst/>
                <a:gdLst>
                  <a:gd name="T0" fmla="*/ 621 w 621"/>
                  <a:gd name="T1" fmla="*/ 496 h 840"/>
                  <a:gd name="T2" fmla="*/ 621 w 621"/>
                  <a:gd name="T3" fmla="*/ 748 h 840"/>
                  <a:gd name="T4" fmla="*/ 310 w 621"/>
                  <a:gd name="T5" fmla="*/ 840 h 840"/>
                  <a:gd name="T6" fmla="*/ 0 w 621"/>
                  <a:gd name="T7" fmla="*/ 748 h 840"/>
                  <a:gd name="T8" fmla="*/ 0 w 621"/>
                  <a:gd name="T9" fmla="*/ 496 h 840"/>
                  <a:gd name="T10" fmla="*/ 310 w 621"/>
                  <a:gd name="T11" fmla="*/ 554 h 840"/>
                  <a:gd name="T12" fmla="*/ 621 w 621"/>
                  <a:gd name="T13" fmla="*/ 496 h 840"/>
                  <a:gd name="T14" fmla="*/ 273 w 621"/>
                  <a:gd name="T15" fmla="*/ 364 h 840"/>
                  <a:gd name="T16" fmla="*/ 348 w 621"/>
                  <a:gd name="T17" fmla="*/ 364 h 840"/>
                  <a:gd name="T18" fmla="*/ 502 w 621"/>
                  <a:gd name="T19" fmla="*/ 198 h 840"/>
                  <a:gd name="T20" fmla="*/ 485 w 621"/>
                  <a:gd name="T21" fmla="*/ 159 h 840"/>
                  <a:gd name="T22" fmla="*/ 405 w 621"/>
                  <a:gd name="T23" fmla="*/ 159 h 840"/>
                  <a:gd name="T24" fmla="*/ 405 w 621"/>
                  <a:gd name="T25" fmla="*/ 54 h 840"/>
                  <a:gd name="T26" fmla="*/ 351 w 621"/>
                  <a:gd name="T27" fmla="*/ 0 h 840"/>
                  <a:gd name="T28" fmla="*/ 269 w 621"/>
                  <a:gd name="T29" fmla="*/ 0 h 840"/>
                  <a:gd name="T30" fmla="*/ 215 w 621"/>
                  <a:gd name="T31" fmla="*/ 54 h 840"/>
                  <a:gd name="T32" fmla="*/ 215 w 621"/>
                  <a:gd name="T33" fmla="*/ 159 h 840"/>
                  <a:gd name="T34" fmla="*/ 136 w 621"/>
                  <a:gd name="T35" fmla="*/ 159 h 840"/>
                  <a:gd name="T36" fmla="*/ 118 w 621"/>
                  <a:gd name="T37" fmla="*/ 198 h 840"/>
                  <a:gd name="T38" fmla="*/ 273 w 621"/>
                  <a:gd name="T39" fmla="*/ 364 h 840"/>
                  <a:gd name="T40" fmla="*/ 273 w 621"/>
                  <a:gd name="T41" fmla="*/ 364 h 840"/>
                  <a:gd name="T42" fmla="*/ 435 w 621"/>
                  <a:gd name="T43" fmla="*/ 362 h 840"/>
                  <a:gd name="T44" fmla="*/ 375 w 621"/>
                  <a:gd name="T45" fmla="*/ 411 h 840"/>
                  <a:gd name="T46" fmla="*/ 310 w 621"/>
                  <a:gd name="T47" fmla="*/ 433 h 840"/>
                  <a:gd name="T48" fmla="*/ 245 w 621"/>
                  <a:gd name="T49" fmla="*/ 411 h 840"/>
                  <a:gd name="T50" fmla="*/ 185 w 621"/>
                  <a:gd name="T51" fmla="*/ 362 h 840"/>
                  <a:gd name="T52" fmla="*/ 0 w 621"/>
                  <a:gd name="T53" fmla="*/ 427 h 840"/>
                  <a:gd name="T54" fmla="*/ 310 w 621"/>
                  <a:gd name="T55" fmla="*/ 499 h 840"/>
                  <a:gd name="T56" fmla="*/ 621 w 621"/>
                  <a:gd name="T57" fmla="*/ 427 h 840"/>
                  <a:gd name="T58" fmla="*/ 435 w 621"/>
                  <a:gd name="T59" fmla="*/ 362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1" h="840">
                    <a:moveTo>
                      <a:pt x="621" y="496"/>
                    </a:moveTo>
                    <a:cubicBezTo>
                      <a:pt x="621" y="748"/>
                      <a:pt x="621" y="748"/>
                      <a:pt x="621" y="748"/>
                    </a:cubicBezTo>
                    <a:cubicBezTo>
                      <a:pt x="621" y="799"/>
                      <a:pt x="482" y="840"/>
                      <a:pt x="310" y="840"/>
                    </a:cubicBezTo>
                    <a:cubicBezTo>
                      <a:pt x="138" y="840"/>
                      <a:pt x="0" y="799"/>
                      <a:pt x="0" y="748"/>
                    </a:cubicBezTo>
                    <a:cubicBezTo>
                      <a:pt x="0" y="496"/>
                      <a:pt x="0" y="496"/>
                      <a:pt x="0" y="496"/>
                    </a:cubicBezTo>
                    <a:cubicBezTo>
                      <a:pt x="99" y="550"/>
                      <a:pt x="265" y="554"/>
                      <a:pt x="310" y="554"/>
                    </a:cubicBezTo>
                    <a:cubicBezTo>
                      <a:pt x="355" y="554"/>
                      <a:pt x="521" y="550"/>
                      <a:pt x="621" y="496"/>
                    </a:cubicBezTo>
                    <a:close/>
                    <a:moveTo>
                      <a:pt x="273" y="364"/>
                    </a:moveTo>
                    <a:cubicBezTo>
                      <a:pt x="294" y="386"/>
                      <a:pt x="327" y="386"/>
                      <a:pt x="348" y="364"/>
                    </a:cubicBezTo>
                    <a:cubicBezTo>
                      <a:pt x="502" y="198"/>
                      <a:pt x="502" y="198"/>
                      <a:pt x="502" y="198"/>
                    </a:cubicBezTo>
                    <a:cubicBezTo>
                      <a:pt x="522" y="177"/>
                      <a:pt x="515" y="159"/>
                      <a:pt x="485" y="159"/>
                    </a:cubicBezTo>
                    <a:cubicBezTo>
                      <a:pt x="405" y="159"/>
                      <a:pt x="405" y="159"/>
                      <a:pt x="405" y="159"/>
                    </a:cubicBezTo>
                    <a:cubicBezTo>
                      <a:pt x="405" y="54"/>
                      <a:pt x="405" y="54"/>
                      <a:pt x="405" y="54"/>
                    </a:cubicBezTo>
                    <a:cubicBezTo>
                      <a:pt x="405" y="25"/>
                      <a:pt x="380" y="0"/>
                      <a:pt x="351" y="0"/>
                    </a:cubicBezTo>
                    <a:cubicBezTo>
                      <a:pt x="269" y="0"/>
                      <a:pt x="269" y="0"/>
                      <a:pt x="269" y="0"/>
                    </a:cubicBezTo>
                    <a:cubicBezTo>
                      <a:pt x="240" y="0"/>
                      <a:pt x="215" y="25"/>
                      <a:pt x="215" y="54"/>
                    </a:cubicBezTo>
                    <a:cubicBezTo>
                      <a:pt x="215" y="159"/>
                      <a:pt x="215" y="159"/>
                      <a:pt x="215" y="159"/>
                    </a:cubicBezTo>
                    <a:cubicBezTo>
                      <a:pt x="136" y="159"/>
                      <a:pt x="136" y="159"/>
                      <a:pt x="136" y="159"/>
                    </a:cubicBezTo>
                    <a:cubicBezTo>
                      <a:pt x="105" y="159"/>
                      <a:pt x="98" y="177"/>
                      <a:pt x="118" y="198"/>
                    </a:cubicBezTo>
                    <a:cubicBezTo>
                      <a:pt x="273" y="364"/>
                      <a:pt x="273" y="364"/>
                      <a:pt x="273" y="364"/>
                    </a:cubicBezTo>
                    <a:cubicBezTo>
                      <a:pt x="273" y="364"/>
                      <a:pt x="273" y="364"/>
                      <a:pt x="273" y="364"/>
                    </a:cubicBezTo>
                    <a:close/>
                    <a:moveTo>
                      <a:pt x="435" y="362"/>
                    </a:moveTo>
                    <a:cubicBezTo>
                      <a:pt x="375" y="411"/>
                      <a:pt x="375" y="411"/>
                      <a:pt x="375" y="411"/>
                    </a:cubicBezTo>
                    <a:cubicBezTo>
                      <a:pt x="358" y="426"/>
                      <a:pt x="335" y="433"/>
                      <a:pt x="310" y="433"/>
                    </a:cubicBezTo>
                    <a:cubicBezTo>
                      <a:pt x="285" y="433"/>
                      <a:pt x="263" y="426"/>
                      <a:pt x="245" y="411"/>
                    </a:cubicBezTo>
                    <a:cubicBezTo>
                      <a:pt x="185" y="362"/>
                      <a:pt x="185" y="362"/>
                      <a:pt x="185" y="362"/>
                    </a:cubicBezTo>
                    <a:cubicBezTo>
                      <a:pt x="75" y="373"/>
                      <a:pt x="0" y="398"/>
                      <a:pt x="0" y="427"/>
                    </a:cubicBezTo>
                    <a:cubicBezTo>
                      <a:pt x="0" y="467"/>
                      <a:pt x="138" y="499"/>
                      <a:pt x="310" y="499"/>
                    </a:cubicBezTo>
                    <a:cubicBezTo>
                      <a:pt x="482" y="499"/>
                      <a:pt x="621" y="467"/>
                      <a:pt x="621" y="427"/>
                    </a:cubicBezTo>
                    <a:cubicBezTo>
                      <a:pt x="621" y="398"/>
                      <a:pt x="545" y="373"/>
                      <a:pt x="435" y="362"/>
                    </a:cubicBezTo>
                    <a:close/>
                  </a:path>
                </a:pathLst>
              </a:custGeom>
              <a:solidFill>
                <a:srgbClr val="FFFFFF"/>
              </a:solidFill>
              <a:ln w="28575" cap="flat">
                <a:solidFill>
                  <a:srgbClr val="FF8C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grpSp>
      <p:grpSp>
        <p:nvGrpSpPr>
          <p:cNvPr id="366" name="Group 365"/>
          <p:cNvGrpSpPr>
            <a:grpSpLocks noChangeAspect="1"/>
          </p:cNvGrpSpPr>
          <p:nvPr/>
        </p:nvGrpSpPr>
        <p:grpSpPr>
          <a:xfrm>
            <a:off x="1788201" y="1709361"/>
            <a:ext cx="833840" cy="887624"/>
            <a:chOff x="8956177" y="3970370"/>
            <a:chExt cx="1215849" cy="1294273"/>
          </a:xfrm>
          <a:solidFill>
            <a:schemeClr val="bg2">
              <a:lumMod val="20000"/>
              <a:lumOff val="80000"/>
            </a:schemeClr>
          </a:solidFill>
        </p:grpSpPr>
        <p:sp>
          <p:nvSpPr>
            <p:cNvPr id="374" name="Rectangle 373"/>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err="1" smtClean="0">
                  <a:ln>
                    <a:solidFill>
                      <a:srgbClr val="FFFFFF">
                        <a:alpha val="0"/>
                      </a:srgbClr>
                    </a:solidFill>
                  </a:ln>
                  <a:solidFill>
                    <a:schemeClr val="tx2">
                      <a:lumMod val="40000"/>
                      <a:lumOff val="60000"/>
                    </a:schemeClr>
                  </a:solidFill>
                  <a:latin typeface="Segoe"/>
                </a:rPr>
                <a:t>SaaS</a:t>
              </a:r>
              <a:r>
                <a:rPr lang="en-US" sz="1224" dirty="0" smtClean="0">
                  <a:ln>
                    <a:solidFill>
                      <a:srgbClr val="FFFFFF">
                        <a:alpha val="0"/>
                      </a:srgbClr>
                    </a:solidFill>
                  </a:ln>
                  <a:solidFill>
                    <a:schemeClr val="tx2">
                      <a:lumMod val="40000"/>
                      <a:lumOff val="60000"/>
                    </a:schemeClr>
                  </a:solidFill>
                  <a:latin typeface="Segoe"/>
                </a:rPr>
                <a:t> App</a:t>
              </a:r>
              <a:endParaRPr lang="en-US" sz="1224" dirty="0">
                <a:ln>
                  <a:solidFill>
                    <a:srgbClr val="FFFFFF">
                      <a:alpha val="0"/>
                    </a:srgbClr>
                  </a:solidFill>
                </a:ln>
                <a:solidFill>
                  <a:schemeClr val="tx2">
                    <a:lumMod val="40000"/>
                    <a:lumOff val="60000"/>
                  </a:schemeClr>
                </a:solidFill>
                <a:latin typeface="Segoe"/>
              </a:endParaRP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0" name="Group 79"/>
          <p:cNvGrpSpPr>
            <a:grpSpLocks noChangeAspect="1"/>
          </p:cNvGrpSpPr>
          <p:nvPr/>
        </p:nvGrpSpPr>
        <p:grpSpPr>
          <a:xfrm>
            <a:off x="6857692" y="3789173"/>
            <a:ext cx="833840" cy="887624"/>
            <a:chOff x="8956177" y="3970370"/>
            <a:chExt cx="1215849" cy="1294273"/>
          </a:xfrm>
        </p:grpSpPr>
        <p:sp>
          <p:nvSpPr>
            <p:cNvPr id="81" name="Rectangle 80"/>
            <p:cNvSpPr>
              <a:spLocks noChangeAspect="1"/>
            </p:cNvSpPr>
            <p:nvPr/>
          </p:nvSpPr>
          <p:spPr>
            <a:xfrm>
              <a:off x="8956177" y="4983196"/>
              <a:ext cx="1215849" cy="281447"/>
            </a:xfrm>
            <a:prstGeom prst="rect">
              <a:avLst/>
            </a:prstGeom>
            <a:solidFill>
              <a:schemeClr val="tx1"/>
            </a:solidFill>
            <a:ln>
              <a:noFill/>
            </a:ln>
          </p:spPr>
          <p:txBody>
            <a:bodyPr wrap="square" lIns="0" tIns="0" rIns="0" bIns="0" anchor="ctr">
              <a:spAutoFit/>
            </a:bodyPr>
            <a:lstStyle/>
            <a:p>
              <a:pPr algn="ctr" defTabSz="1118323" fontAlgn="base">
                <a:spcAft>
                  <a:spcPct val="0"/>
                </a:spcAft>
              </a:pPr>
              <a:r>
                <a:rPr lang="en-US" sz="1224" dirty="0">
                  <a:ln>
                    <a:solidFill>
                      <a:srgbClr val="FFFFFF">
                        <a:alpha val="0"/>
                      </a:srgbClr>
                    </a:solidFill>
                  </a:ln>
                  <a:solidFill>
                    <a:schemeClr val="bg1"/>
                  </a:solidFill>
                  <a:latin typeface="Segoe"/>
                </a:rPr>
                <a:t>Web Apps</a:t>
              </a:r>
            </a:p>
          </p:txBody>
        </p:sp>
        <p:sp>
          <p:nvSpPr>
            <p:cNvPr id="84"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87" name="Rectangle 86"/>
          <p:cNvSpPr/>
          <p:nvPr/>
        </p:nvSpPr>
        <p:spPr>
          <a:xfrm>
            <a:off x="6218238" y="3627389"/>
            <a:ext cx="4596903" cy="2621135"/>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1" name="Rectangle 90"/>
          <p:cNvSpPr/>
          <p:nvPr/>
        </p:nvSpPr>
        <p:spPr>
          <a:xfrm>
            <a:off x="292505" y="1028583"/>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7" name="TextBox 6"/>
          <p:cNvSpPr txBox="1"/>
          <p:nvPr/>
        </p:nvSpPr>
        <p:spPr>
          <a:xfrm>
            <a:off x="3370521" y="2700283"/>
            <a:ext cx="1573044"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Public Cloud</a:t>
            </a:r>
          </a:p>
        </p:txBody>
      </p:sp>
      <p:sp>
        <p:nvSpPr>
          <p:cNvPr id="97" name="Rectangle 96"/>
          <p:cNvSpPr/>
          <p:nvPr/>
        </p:nvSpPr>
        <p:spPr>
          <a:xfrm>
            <a:off x="6184771" y="1023155"/>
            <a:ext cx="4630370" cy="2177317"/>
          </a:xfrm>
          <a:prstGeom prst="rect">
            <a:avLst/>
          </a:prstGeom>
          <a:noFill/>
          <a:ln>
            <a:solidFill>
              <a:schemeClr val="accent1">
                <a:lumMod val="60000"/>
                <a:lumOff val="40000"/>
              </a:schemeClr>
            </a:solidFill>
            <a:prstDash val="dash"/>
          </a:ln>
        </p:spPr>
        <p:style>
          <a:lnRef idx="1">
            <a:schemeClr val="accent1"/>
          </a:lnRef>
          <a:fillRef idx="3">
            <a:schemeClr val="accent1"/>
          </a:fillRef>
          <a:effectRef idx="2">
            <a:schemeClr val="accent1"/>
          </a:effectRef>
          <a:fontRef idx="minor">
            <a:schemeClr val="lt1"/>
          </a:fontRef>
        </p:style>
        <p:txBody>
          <a:bodyPr anchor="b"/>
          <a:lstStyle/>
          <a:p>
            <a:pPr algn="ctr" defTabSz="932597">
              <a:defRPr/>
            </a:pPr>
            <a:endParaRPr lang="en-US" sz="1836" dirty="0">
              <a:solidFill>
                <a:srgbClr val="FFFFFF"/>
              </a:solidFill>
            </a:endParaRPr>
          </a:p>
        </p:txBody>
      </p:sp>
      <p:sp>
        <p:nvSpPr>
          <p:cNvPr id="98" name="TextBox 97"/>
          <p:cNvSpPr txBox="1"/>
          <p:nvPr/>
        </p:nvSpPr>
        <p:spPr>
          <a:xfrm>
            <a:off x="8895710" y="26948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Microsoft Cloud</a:t>
            </a:r>
          </a:p>
        </p:txBody>
      </p:sp>
      <p:sp>
        <p:nvSpPr>
          <p:cNvPr id="100" name="Freeform 99"/>
          <p:cNvSpPr>
            <a:spLocks noChangeAspect="1"/>
          </p:cNvSpPr>
          <p:nvPr/>
        </p:nvSpPr>
        <p:spPr bwMode="auto">
          <a:xfrm>
            <a:off x="7100442" y="1143953"/>
            <a:ext cx="3197874" cy="1639173"/>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solidFill>
            <a:srgbClr val="0070C0"/>
          </a:solidFill>
          <a:ln w="19050" cap="flat" cmpd="sng" algn="ctr">
            <a:solidFill>
              <a:schemeClr val="bg1"/>
            </a:solidFill>
            <a:prstDash val="solid"/>
            <a:headEnd type="none" w="med" len="med"/>
            <a:tailEnd type="none" w="med" len="med"/>
          </a:ln>
          <a:effectLst/>
          <a:extLst/>
        </p:spPr>
        <p:txBody>
          <a:bodyPr vert="horz" wrap="square" lIns="114263" tIns="0" rIns="114263" bIns="57131"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398" fontAlgn="base">
              <a:spcBef>
                <a:spcPct val="0"/>
              </a:spcBef>
              <a:spcAft>
                <a:spcPct val="0"/>
              </a:spcAft>
              <a:defRPr/>
            </a:pPr>
            <a:endParaRPr lang="en-US" sz="1938" b="1" kern="0" dirty="0">
              <a:solidFill>
                <a:srgbClr val="505050"/>
              </a:solidFill>
              <a:latin typeface="Segoe" pitchFamily="34" charset="0"/>
            </a:endParaRPr>
          </a:p>
        </p:txBody>
      </p:sp>
      <p:grpSp>
        <p:nvGrpSpPr>
          <p:cNvPr id="101" name="Group 100"/>
          <p:cNvGrpSpPr/>
          <p:nvPr/>
        </p:nvGrpSpPr>
        <p:grpSpPr>
          <a:xfrm>
            <a:off x="9121268" y="1311246"/>
            <a:ext cx="802333" cy="529844"/>
            <a:chOff x="4095890" y="3325492"/>
            <a:chExt cx="802333" cy="529844"/>
          </a:xfrm>
        </p:grpSpPr>
        <p:sp>
          <p:nvSpPr>
            <p:cNvPr id="104" name="Freeform 103"/>
            <p:cNvSpPr>
              <a:spLocks noChangeAspect="1"/>
            </p:cNvSpPr>
            <p:nvPr/>
          </p:nvSpPr>
          <p:spPr bwMode="auto">
            <a:xfrm>
              <a:off x="4095890" y="3325494"/>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5" name="Freeform 104"/>
            <p:cNvSpPr>
              <a:spLocks noChangeAspect="1"/>
            </p:cNvSpPr>
            <p:nvPr/>
          </p:nvSpPr>
          <p:spPr bwMode="auto">
            <a:xfrm flipH="1">
              <a:off x="4497083" y="3325492"/>
              <a:ext cx="401140" cy="52984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rgbClr val="FFFFFF"/>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6" name="Oval 105"/>
            <p:cNvSpPr>
              <a:spLocks noChangeAspect="1" noChangeArrowheads="1"/>
            </p:cNvSpPr>
            <p:nvPr/>
          </p:nvSpPr>
          <p:spPr bwMode="auto">
            <a:xfrm>
              <a:off x="4395727" y="3453834"/>
              <a:ext cx="75936" cy="70021"/>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7" name="Oval 106"/>
            <p:cNvSpPr>
              <a:spLocks noChangeAspect="1" noChangeArrowheads="1"/>
            </p:cNvSpPr>
            <p:nvPr/>
          </p:nvSpPr>
          <p:spPr bwMode="auto">
            <a:xfrm flipH="1">
              <a:off x="4519932" y="3453848"/>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8" name="Oval 107"/>
            <p:cNvSpPr>
              <a:spLocks noChangeAspect="1" noChangeArrowheads="1"/>
            </p:cNvSpPr>
            <p:nvPr/>
          </p:nvSpPr>
          <p:spPr bwMode="auto">
            <a:xfrm>
              <a:off x="4395727" y="3707453"/>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09" name="Oval 108"/>
            <p:cNvSpPr>
              <a:spLocks noChangeAspect="1" noChangeArrowheads="1"/>
            </p:cNvSpPr>
            <p:nvPr/>
          </p:nvSpPr>
          <p:spPr bwMode="auto">
            <a:xfrm flipH="1">
              <a:off x="4519932" y="3707467"/>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0" name="Oval 109"/>
            <p:cNvSpPr>
              <a:spLocks noChangeAspect="1" noChangeArrowheads="1"/>
            </p:cNvSpPr>
            <p:nvPr/>
          </p:nvSpPr>
          <p:spPr bwMode="auto">
            <a:xfrm flipH="1">
              <a:off x="4624703"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1" name="Oval 110"/>
            <p:cNvSpPr>
              <a:spLocks noChangeAspect="1" noChangeArrowheads="1"/>
            </p:cNvSpPr>
            <p:nvPr/>
          </p:nvSpPr>
          <p:spPr bwMode="auto">
            <a:xfrm>
              <a:off x="4292530" y="368922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2" name="Oval 111"/>
            <p:cNvSpPr>
              <a:spLocks noChangeAspect="1" noChangeArrowheads="1"/>
            </p:cNvSpPr>
            <p:nvPr/>
          </p:nvSpPr>
          <p:spPr bwMode="auto">
            <a:xfrm flipH="1">
              <a:off x="472947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3" name="Oval 112"/>
            <p:cNvSpPr>
              <a:spLocks noChangeAspect="1" noChangeArrowheads="1"/>
            </p:cNvSpPr>
            <p:nvPr/>
          </p:nvSpPr>
          <p:spPr bwMode="auto">
            <a:xfrm flipH="1">
              <a:off x="4189334" y="3677364"/>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sp>
          <p:nvSpPr>
            <p:cNvPr id="114" name="Arc 113"/>
            <p:cNvSpPr/>
            <p:nvPr/>
          </p:nvSpPr>
          <p:spPr>
            <a:xfrm rot="5012506">
              <a:off x="4401070"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5" name="Arc 114"/>
            <p:cNvSpPr/>
            <p:nvPr/>
          </p:nvSpPr>
          <p:spPr>
            <a:xfrm rot="16587494" flipH="1">
              <a:off x="4444687" y="3575638"/>
              <a:ext cx="151066" cy="145075"/>
            </a:xfrm>
            <a:prstGeom prst="arc">
              <a:avLst>
                <a:gd name="adj1" fmla="val 16200000"/>
                <a:gd name="adj2" fmla="val 814800"/>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sp>
          <p:nvSpPr>
            <p:cNvPr id="116" name="Arc 115"/>
            <p:cNvSpPr/>
            <p:nvPr/>
          </p:nvSpPr>
          <p:spPr>
            <a:xfrm rot="7395384">
              <a:off x="4414927" y="3402642"/>
              <a:ext cx="115444" cy="145075"/>
            </a:xfrm>
            <a:prstGeom prst="arc">
              <a:avLst>
                <a:gd name="adj1" fmla="val 16200000"/>
                <a:gd name="adj2" fmla="val 21459126"/>
              </a:avLst>
            </a:prstGeom>
            <a:noFill/>
            <a:ln w="9525" cap="flat" cmpd="sng" algn="ctr">
              <a:solidFill>
                <a:srgbClr val="0070C0"/>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dirty="0">
                <a:ln>
                  <a:solidFill>
                    <a:srgbClr val="FFFFFF">
                      <a:alpha val="0"/>
                    </a:srgbClr>
                  </a:solidFill>
                </a:ln>
                <a:solidFill>
                  <a:srgbClr val="292929"/>
                </a:solidFill>
                <a:latin typeface="Segoe UI"/>
              </a:endParaRPr>
            </a:p>
          </p:txBody>
        </p:sp>
        <p:cxnSp>
          <p:nvCxnSpPr>
            <p:cNvPr id="117" name="Straight Connector 116"/>
            <p:cNvCxnSpPr>
              <a:stCxn id="106" idx="4"/>
              <a:endCxn id="108" idx="0"/>
            </p:cNvCxnSpPr>
            <p:nvPr/>
          </p:nvCxnSpPr>
          <p:spPr>
            <a:xfrm>
              <a:off x="4433694" y="3523856"/>
              <a:ext cx="0" cy="183597"/>
            </a:xfrm>
            <a:prstGeom prst="line">
              <a:avLst/>
            </a:prstGeom>
            <a:noFill/>
            <a:ln w="9525" cap="flat" cmpd="sng" algn="ctr">
              <a:solidFill>
                <a:srgbClr val="0070C0"/>
              </a:solidFill>
              <a:prstDash val="solid"/>
            </a:ln>
            <a:effectLst/>
          </p:spPr>
        </p:cxnSp>
        <p:sp>
          <p:nvSpPr>
            <p:cNvPr id="118" name="Oval 117"/>
            <p:cNvSpPr>
              <a:spLocks noChangeAspect="1" noChangeArrowheads="1"/>
            </p:cNvSpPr>
            <p:nvPr/>
          </p:nvSpPr>
          <p:spPr bwMode="auto">
            <a:xfrm>
              <a:off x="4395727" y="357178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19" name="Straight Connector 118"/>
            <p:cNvCxnSpPr>
              <a:stCxn id="107" idx="4"/>
              <a:endCxn id="109" idx="0"/>
            </p:cNvCxnSpPr>
            <p:nvPr/>
          </p:nvCxnSpPr>
          <p:spPr>
            <a:xfrm>
              <a:off x="4557899" y="3523870"/>
              <a:ext cx="0" cy="183597"/>
            </a:xfrm>
            <a:prstGeom prst="line">
              <a:avLst/>
            </a:prstGeom>
            <a:noFill/>
            <a:ln w="9525" cap="flat" cmpd="sng" algn="ctr">
              <a:solidFill>
                <a:srgbClr val="0070C0"/>
              </a:solidFill>
              <a:prstDash val="solid"/>
            </a:ln>
            <a:effectLst/>
          </p:spPr>
        </p:cxnSp>
        <p:sp>
          <p:nvSpPr>
            <p:cNvPr id="120" name="Oval 119"/>
            <p:cNvSpPr>
              <a:spLocks noChangeAspect="1" noChangeArrowheads="1"/>
            </p:cNvSpPr>
            <p:nvPr/>
          </p:nvSpPr>
          <p:spPr bwMode="auto">
            <a:xfrm flipH="1">
              <a:off x="4519931" y="3571800"/>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1" name="Straight Connector 120"/>
            <p:cNvCxnSpPr>
              <a:stCxn id="107" idx="3"/>
              <a:endCxn id="112" idx="7"/>
            </p:cNvCxnSpPr>
            <p:nvPr/>
          </p:nvCxnSpPr>
          <p:spPr>
            <a:xfrm>
              <a:off x="4584747" y="3513615"/>
              <a:ext cx="155848" cy="174003"/>
            </a:xfrm>
            <a:prstGeom prst="line">
              <a:avLst/>
            </a:prstGeom>
            <a:noFill/>
            <a:ln w="9525" cap="flat" cmpd="sng" algn="ctr">
              <a:solidFill>
                <a:srgbClr val="0070C0"/>
              </a:solidFill>
              <a:prstDash val="solid"/>
            </a:ln>
            <a:effectLst/>
          </p:spPr>
        </p:cxnSp>
        <p:sp>
          <p:nvSpPr>
            <p:cNvPr id="122" name="Oval 121"/>
            <p:cNvSpPr>
              <a:spLocks noChangeAspect="1" noChangeArrowheads="1"/>
            </p:cNvSpPr>
            <p:nvPr/>
          </p:nvSpPr>
          <p:spPr bwMode="auto">
            <a:xfrm flipH="1">
              <a:off x="4624703" y="3565606"/>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3" name="Straight Connector 122"/>
            <p:cNvCxnSpPr>
              <a:stCxn id="106" idx="3"/>
              <a:endCxn id="113" idx="1"/>
            </p:cNvCxnSpPr>
            <p:nvPr/>
          </p:nvCxnSpPr>
          <p:spPr>
            <a:xfrm flipH="1">
              <a:off x="4254148" y="3513602"/>
              <a:ext cx="152699" cy="174016"/>
            </a:xfrm>
            <a:prstGeom prst="line">
              <a:avLst/>
            </a:prstGeom>
            <a:noFill/>
            <a:ln w="9525" cap="flat" cmpd="sng" algn="ctr">
              <a:solidFill>
                <a:srgbClr val="0070C0"/>
              </a:solidFill>
              <a:prstDash val="solid"/>
            </a:ln>
            <a:effectLst/>
          </p:spPr>
        </p:cxnSp>
        <p:sp>
          <p:nvSpPr>
            <p:cNvPr id="124" name="Oval 123"/>
            <p:cNvSpPr>
              <a:spLocks noChangeAspect="1" noChangeArrowheads="1"/>
            </p:cNvSpPr>
            <p:nvPr/>
          </p:nvSpPr>
          <p:spPr bwMode="auto">
            <a:xfrm>
              <a:off x="4296461" y="3565599"/>
              <a:ext cx="75935" cy="70022"/>
            </a:xfrm>
            <a:prstGeom prst="ellipse">
              <a:avLst/>
            </a:prstGeom>
            <a:solidFill>
              <a:srgbClr val="0070C0"/>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rgbClr val="FFFFFF">
                      <a:alpha val="0"/>
                    </a:srgbClr>
                  </a:solidFill>
                </a:ln>
                <a:solidFill>
                  <a:srgbClr val="292929"/>
                </a:solidFill>
                <a:latin typeface="Segoe UI"/>
              </a:endParaRPr>
            </a:p>
          </p:txBody>
        </p:sp>
        <p:cxnSp>
          <p:nvCxnSpPr>
            <p:cNvPr id="125" name="Straight Connector 124"/>
            <p:cNvCxnSpPr>
              <a:stCxn id="118" idx="3"/>
              <a:endCxn id="111" idx="7"/>
            </p:cNvCxnSpPr>
            <p:nvPr/>
          </p:nvCxnSpPr>
          <p:spPr>
            <a:xfrm flipH="1">
              <a:off x="4357345" y="3631553"/>
              <a:ext cx="49502" cy="67921"/>
            </a:xfrm>
            <a:prstGeom prst="line">
              <a:avLst/>
            </a:prstGeom>
            <a:noFill/>
            <a:ln w="9525" cap="flat" cmpd="sng" algn="ctr">
              <a:solidFill>
                <a:srgbClr val="0070C0"/>
              </a:solidFill>
              <a:prstDash val="solid"/>
            </a:ln>
            <a:effectLst/>
          </p:spPr>
        </p:cxnSp>
        <p:cxnSp>
          <p:nvCxnSpPr>
            <p:cNvPr id="126" name="Straight Connector 125"/>
            <p:cNvCxnSpPr>
              <a:stCxn id="120" idx="3"/>
              <a:endCxn id="110" idx="7"/>
            </p:cNvCxnSpPr>
            <p:nvPr/>
          </p:nvCxnSpPr>
          <p:spPr>
            <a:xfrm>
              <a:off x="4584747" y="3631567"/>
              <a:ext cx="51077" cy="67907"/>
            </a:xfrm>
            <a:prstGeom prst="line">
              <a:avLst/>
            </a:prstGeom>
            <a:noFill/>
            <a:ln w="9525" cap="flat" cmpd="sng" algn="ctr">
              <a:solidFill>
                <a:srgbClr val="0070C0"/>
              </a:solidFill>
              <a:prstDash val="solid"/>
            </a:ln>
            <a:effectLst/>
          </p:spPr>
        </p:cxnSp>
      </p:grpSp>
      <p:sp>
        <p:nvSpPr>
          <p:cNvPr id="102" name="Rectangle 101"/>
          <p:cNvSpPr/>
          <p:nvPr/>
        </p:nvSpPr>
        <p:spPr>
          <a:xfrm>
            <a:off x="8971462" y="2046346"/>
            <a:ext cx="1299564" cy="215444"/>
          </a:xfrm>
          <a:prstGeom prst="rect">
            <a:avLst/>
          </a:prstGeom>
          <a:ln>
            <a:noFill/>
          </a:ln>
        </p:spPr>
        <p:txBody>
          <a:bodyPr wrap="square" lIns="0" tIns="0" rIns="0" bIns="0" anchor="ctr">
            <a:spAutoFit/>
          </a:bodyPr>
          <a:lstStyle/>
          <a:p>
            <a:pPr algn="ctr" defTabSz="1118538" fontAlgn="base">
              <a:spcAft>
                <a:spcPct val="0"/>
              </a:spcAft>
            </a:pPr>
            <a:r>
              <a:rPr lang="en-US" sz="1400" dirty="0" smtClean="0">
                <a:ln>
                  <a:solidFill>
                    <a:srgbClr val="FFFFFF">
                      <a:alpha val="0"/>
                    </a:srgbClr>
                  </a:solidFill>
                </a:ln>
                <a:solidFill>
                  <a:srgbClr val="FFFFFF"/>
                </a:solidFill>
                <a:latin typeface="Segoe"/>
              </a:rPr>
              <a:t>Active Directory</a:t>
            </a:r>
            <a:endParaRPr lang="en-US" sz="1400" dirty="0">
              <a:ln>
                <a:solidFill>
                  <a:srgbClr val="FFFFFF">
                    <a:alpha val="0"/>
                  </a:srgbClr>
                </a:solidFill>
              </a:ln>
              <a:solidFill>
                <a:srgbClr val="FFFFFF"/>
              </a:solidFill>
              <a:latin typeface="Segoe"/>
            </a:endParaRPr>
          </a:p>
        </p:txBody>
      </p:sp>
      <p:pic>
        <p:nvPicPr>
          <p:cNvPr id="103" name="Picture 10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70899" y="1714990"/>
            <a:ext cx="1776346" cy="427852"/>
          </a:xfrm>
          <a:prstGeom prst="rect">
            <a:avLst/>
          </a:prstGeom>
        </p:spPr>
      </p:pic>
      <p:grpSp>
        <p:nvGrpSpPr>
          <p:cNvPr id="127" name="Group 126"/>
          <p:cNvGrpSpPr>
            <a:grpSpLocks noChangeAspect="1"/>
          </p:cNvGrpSpPr>
          <p:nvPr/>
        </p:nvGrpSpPr>
        <p:grpSpPr>
          <a:xfrm>
            <a:off x="7791852" y="1729720"/>
            <a:ext cx="833840" cy="887624"/>
            <a:chOff x="8956177" y="3970370"/>
            <a:chExt cx="1215849" cy="1294273"/>
          </a:xfrm>
          <a:solidFill>
            <a:schemeClr val="bg2">
              <a:lumMod val="20000"/>
              <a:lumOff val="80000"/>
            </a:schemeClr>
          </a:solidFill>
        </p:grpSpPr>
        <p:sp>
          <p:nvSpPr>
            <p:cNvPr id="128" name="Rectangle 127"/>
            <p:cNvSpPr>
              <a:spLocks noChangeAspect="1"/>
            </p:cNvSpPr>
            <p:nvPr/>
          </p:nvSpPr>
          <p:spPr>
            <a:xfrm>
              <a:off x="8956177" y="4983196"/>
              <a:ext cx="1215849" cy="281447"/>
            </a:xfrm>
            <a:prstGeom prst="rect">
              <a:avLst/>
            </a:prstGeom>
            <a:grpFill/>
            <a:ln>
              <a:noFill/>
            </a:ln>
          </p:spPr>
          <p:txBody>
            <a:bodyPr wrap="square" lIns="0" tIns="0" rIns="0" bIns="0" anchor="ctr">
              <a:spAutoFit/>
            </a:bodyPr>
            <a:lstStyle/>
            <a:p>
              <a:pPr algn="ctr" defTabSz="1118323" fontAlgn="base">
                <a:spcAft>
                  <a:spcPct val="0"/>
                </a:spcAft>
              </a:pPr>
              <a:r>
                <a:rPr lang="en-US" sz="1224" dirty="0" smtClean="0">
                  <a:ln>
                    <a:solidFill>
                      <a:srgbClr val="FFFFFF">
                        <a:alpha val="0"/>
                      </a:srgbClr>
                    </a:solidFill>
                  </a:ln>
                  <a:solidFill>
                    <a:schemeClr val="tx2">
                      <a:lumMod val="40000"/>
                      <a:lumOff val="60000"/>
                    </a:schemeClr>
                  </a:solidFill>
                  <a:latin typeface="Segoe"/>
                </a:rPr>
                <a:t>SharePoint</a:t>
              </a:r>
              <a:endParaRPr lang="en-US" sz="1224" dirty="0">
                <a:ln>
                  <a:solidFill>
                    <a:srgbClr val="FFFFFF">
                      <a:alpha val="0"/>
                    </a:srgbClr>
                  </a:solidFill>
                </a:ln>
                <a:solidFill>
                  <a:schemeClr val="tx2">
                    <a:lumMod val="40000"/>
                    <a:lumOff val="60000"/>
                  </a:schemeClr>
                </a:solidFill>
                <a:latin typeface="Segoe"/>
              </a:endParaRPr>
            </a:p>
          </p:txBody>
        </p:sp>
        <p:sp>
          <p:nvSpPr>
            <p:cNvPr id="129"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130" name="TextBox 129"/>
          <p:cNvSpPr txBox="1"/>
          <p:nvPr/>
        </p:nvSpPr>
        <p:spPr>
          <a:xfrm>
            <a:off x="6184771" y="5765555"/>
            <a:ext cx="1940121" cy="544765"/>
          </a:xfrm>
          <a:prstGeom prst="rect">
            <a:avLst/>
          </a:prstGeom>
          <a:noFill/>
        </p:spPr>
        <p:txBody>
          <a:bodyPr wrap="square" lIns="182880" tIns="146304" rIns="182880" bIns="146304" rtlCol="0">
            <a:spAutoFit/>
          </a:bodyPr>
          <a:lstStyle/>
          <a:p>
            <a:pPr>
              <a:lnSpc>
                <a:spcPct val="90000"/>
              </a:lnSpc>
            </a:pPr>
            <a:r>
              <a:rPr lang="en-US" spc="-50" dirty="0" smtClean="0">
                <a:gradFill>
                  <a:gsLst>
                    <a:gs pos="2917">
                      <a:schemeClr val="tx1"/>
                    </a:gs>
                    <a:gs pos="30000">
                      <a:schemeClr val="tx1"/>
                    </a:gs>
                  </a:gsLst>
                  <a:lin ang="5400000" scaled="0"/>
                </a:gradFill>
              </a:rPr>
              <a:t>On-premises</a:t>
            </a:r>
          </a:p>
        </p:txBody>
      </p:sp>
      <p:sp>
        <p:nvSpPr>
          <p:cNvPr id="179" name="Rectangle 178"/>
          <p:cNvSpPr/>
          <p:nvPr/>
        </p:nvSpPr>
        <p:spPr bwMode="auto">
          <a:xfrm>
            <a:off x="154863" y="5926771"/>
            <a:ext cx="5129318" cy="898811"/>
          </a:xfrm>
          <a:prstGeom prst="rect">
            <a:avLst/>
          </a:prstGeom>
          <a:solidFill>
            <a:schemeClr val="accent1">
              <a:lumMod val="60000"/>
              <a:lumOff val="40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a:p>
            <a:pPr algn="ctr" defTabSz="932290" fontAlgn="base">
              <a:spcBef>
                <a:spcPct val="0"/>
              </a:spcBef>
              <a:spcAft>
                <a:spcPct val="0"/>
              </a:spcAft>
            </a:pPr>
            <a:r>
              <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Manage company risk by allowing access only when certain criteria is met</a:t>
            </a:r>
          </a:p>
          <a:p>
            <a:pPr algn="ctr" defTabSz="932290" fontAlgn="base">
              <a:spcBef>
                <a:spcPct val="0"/>
              </a:spcBef>
              <a:spcAft>
                <a:spcPct val="0"/>
              </a:spcAft>
            </a:pPr>
            <a:r>
              <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rPr>
              <a:t>Allow IT to publish on-premises resources at edge</a:t>
            </a:r>
          </a:p>
        </p:txBody>
      </p:sp>
      <p:sp>
        <p:nvSpPr>
          <p:cNvPr id="93" name="Rectangle 92"/>
          <p:cNvSpPr/>
          <p:nvPr/>
        </p:nvSpPr>
        <p:spPr bwMode="auto">
          <a:xfrm>
            <a:off x="332333" y="2692578"/>
            <a:ext cx="2851410" cy="9719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anose="020B0502040204020203" pitchFamily="34" charset="0"/>
                <a:ea typeface="Segoe UI" panose="020B0502040204020203" pitchFamily="34" charset="0"/>
                <a:cs typeface="Segoe UI" panose="020B0502040204020203" pitchFamily="34" charset="0"/>
              </a:rPr>
              <a:t>Allow access from specific users, when accessing from devices known to me</a:t>
            </a:r>
          </a:p>
        </p:txBody>
      </p:sp>
      <p:pic>
        <p:nvPicPr>
          <p:cNvPr id="94" name="Picture 9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75272" y="2110206"/>
            <a:ext cx="432418" cy="700396"/>
          </a:xfrm>
          <a:prstGeom prst="rect">
            <a:avLst/>
          </a:prstGeom>
        </p:spPr>
      </p:pic>
      <p:sp>
        <p:nvSpPr>
          <p:cNvPr id="95" name="Rectangle 94"/>
          <p:cNvSpPr/>
          <p:nvPr/>
        </p:nvSpPr>
        <p:spPr bwMode="auto">
          <a:xfrm>
            <a:off x="4929751" y="1100341"/>
            <a:ext cx="2851410" cy="9719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ow access from specific users, only when they are on-premises</a:t>
            </a:r>
          </a:p>
        </p:txBody>
      </p:sp>
      <p:pic>
        <p:nvPicPr>
          <p:cNvPr id="96" name="Picture 9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76265" y="1464293"/>
            <a:ext cx="432418" cy="700396"/>
          </a:xfrm>
          <a:prstGeom prst="rect">
            <a:avLst/>
          </a:prstGeom>
        </p:spPr>
      </p:pic>
      <p:sp>
        <p:nvSpPr>
          <p:cNvPr id="99" name="Rectangle 98"/>
          <p:cNvSpPr/>
          <p:nvPr/>
        </p:nvSpPr>
        <p:spPr bwMode="auto">
          <a:xfrm>
            <a:off x="2907350" y="3942776"/>
            <a:ext cx="3296393" cy="1187677"/>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 access to on-premises resources needs to be pre-authenticated</a:t>
            </a:r>
            <a:r>
              <a:rPr lang="en-US" sz="1836" spc="-51" dirty="0" smtClean="0">
                <a:solidFill>
                  <a:schemeClr val="bg1"/>
                </a:solidFill>
                <a:latin typeface="Segoe UI" pitchFamily="34" charset="0"/>
                <a:ea typeface="Segoe UI" pitchFamily="34" charset="0"/>
                <a:cs typeface="Segoe UI" pitchFamily="34" charset="0"/>
              </a:rPr>
              <a:t>: only </a:t>
            </a:r>
            <a:r>
              <a:rPr lang="en-US" sz="1836" spc="-51" dirty="0">
                <a:solidFill>
                  <a:schemeClr val="bg1"/>
                </a:solidFill>
                <a:latin typeface="Segoe UI" pitchFamily="34" charset="0"/>
                <a:ea typeface="Segoe UI" pitchFamily="34" charset="0"/>
                <a:cs typeface="Segoe UI" pitchFamily="34" charset="0"/>
              </a:rPr>
              <a:t>known users from known devices allowed</a:t>
            </a:r>
          </a:p>
        </p:txBody>
      </p:sp>
      <p:pic>
        <p:nvPicPr>
          <p:cNvPr id="134" name="Picture 13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12694" y="4411176"/>
            <a:ext cx="432418" cy="700396"/>
          </a:xfrm>
          <a:prstGeom prst="rect">
            <a:avLst/>
          </a:prstGeom>
        </p:spPr>
      </p:pic>
      <p:sp>
        <p:nvSpPr>
          <p:cNvPr id="142" name="Rectangle 141"/>
          <p:cNvSpPr/>
          <p:nvPr/>
        </p:nvSpPr>
        <p:spPr bwMode="auto">
          <a:xfrm>
            <a:off x="7522894" y="3191095"/>
            <a:ext cx="3719658" cy="96027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r>
              <a:rPr lang="en-US" sz="1836" spc="-51" dirty="0">
                <a:solidFill>
                  <a:schemeClr val="bg1"/>
                </a:solidFill>
                <a:latin typeface="Segoe UI" pitchFamily="34" charset="0"/>
                <a:ea typeface="Segoe UI" pitchFamily="34" charset="0"/>
                <a:cs typeface="Segoe UI" pitchFamily="34" charset="0"/>
              </a:rPr>
              <a:t>Allow access from anywhere, from known devices. Require another additional factor on access</a:t>
            </a:r>
          </a:p>
        </p:txBody>
      </p:sp>
      <p:pic>
        <p:nvPicPr>
          <p:cNvPr id="141" name="Picture 14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20459" y="3624416"/>
            <a:ext cx="432418" cy="700396"/>
          </a:xfrm>
          <a:prstGeom prst="rect">
            <a:avLst/>
          </a:prstGeom>
        </p:spPr>
      </p:pic>
      <p:sp>
        <p:nvSpPr>
          <p:cNvPr id="143" name="Title 2"/>
          <p:cNvSpPr txBox="1">
            <a:spLocks/>
          </p:cNvSpPr>
          <p:nvPr/>
        </p:nvSpPr>
        <p:spPr>
          <a:xfrm>
            <a:off x="274320" y="296897"/>
            <a:ext cx="11889564" cy="932563"/>
          </a:xfrm>
          <a:prstGeom prst="rect">
            <a:avLst/>
          </a:prstGeom>
        </p:spPr>
        <p:txBody>
          <a:bodyPr vert="horz" wrap="square" lIns="146304" tIns="91440" rIns="146304" bIns="91440" rtlCol="0" anchor="t">
            <a:sp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Identity and access: IT admin value</a:t>
            </a:r>
            <a:endParaRPr lang="en-US" dirty="0"/>
          </a:p>
        </p:txBody>
      </p:sp>
    </p:spTree>
    <p:extLst>
      <p:ext uri="{BB962C8B-B14F-4D97-AF65-F5344CB8AC3E}">
        <p14:creationId xmlns:p14="http://schemas.microsoft.com/office/powerpoint/2010/main" val="34828278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animBg="1"/>
      <p:bldP spid="93" grpId="0" animBg="1"/>
      <p:bldP spid="95" grpId="0" animBg="1"/>
      <p:bldP spid="99" grpId="0" animBg="1"/>
      <p:bldP spid="14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531949" y="1533028"/>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AD </a:t>
            </a:r>
            <a:r>
              <a:rPr lang="en-US" sz="2040">
                <a:solidFill>
                  <a:srgbClr val="FFFFFF">
                    <a:alpha val="98824"/>
                  </a:srgbClr>
                </a:solidFill>
                <a:ea typeface="Segoe UI" pitchFamily="34" charset="0"/>
                <a:cs typeface="Segoe UI" pitchFamily="34" charset="0"/>
              </a:rPr>
              <a:t>Workplace Join</a:t>
            </a:r>
            <a:endParaRPr lang="en-US" sz="2040" dirty="0">
              <a:solidFill>
                <a:srgbClr val="FFFFFF">
                  <a:alpha val="98824"/>
                </a:srgbClr>
              </a:solidFill>
              <a:ea typeface="Segoe UI" pitchFamily="34" charset="0"/>
              <a:cs typeface="Segoe UI" pitchFamily="34" charset="0"/>
            </a:endParaRPr>
          </a:p>
        </p:txBody>
      </p:sp>
      <p:sp>
        <p:nvSpPr>
          <p:cNvPr id="11" name="Rectangle 10"/>
          <p:cNvSpPr/>
          <p:nvPr/>
        </p:nvSpPr>
        <p:spPr bwMode="auto">
          <a:xfrm>
            <a:off x="3912986" y="1533028"/>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Users join their device to their </a:t>
            </a:r>
            <a:r>
              <a:rPr lang="en-US" sz="1632" dirty="0" smtClean="0">
                <a:solidFill>
                  <a:schemeClr val="dk1"/>
                </a:solidFill>
              </a:rPr>
              <a:t>workplace, </a:t>
            </a:r>
            <a:r>
              <a:rPr lang="en-US" sz="1632" dirty="0">
                <a:solidFill>
                  <a:schemeClr val="dk1"/>
                </a:solidFill>
              </a:rPr>
              <a:t>making the device known to the company’s Active Directory</a:t>
            </a:r>
          </a:p>
        </p:txBody>
      </p:sp>
      <p:sp>
        <p:nvSpPr>
          <p:cNvPr id="25" name="Rectangle 24"/>
          <p:cNvSpPr/>
          <p:nvPr/>
        </p:nvSpPr>
        <p:spPr bwMode="auto">
          <a:xfrm>
            <a:off x="531949" y="2316954"/>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Single Sign On (SSO)</a:t>
            </a:r>
          </a:p>
        </p:txBody>
      </p:sp>
      <p:sp>
        <p:nvSpPr>
          <p:cNvPr id="26" name="Rectangle 25"/>
          <p:cNvSpPr/>
          <p:nvPr/>
        </p:nvSpPr>
        <p:spPr bwMode="auto">
          <a:xfrm>
            <a:off x="3912986" y="2316954"/>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r>
              <a:rPr lang="es-CO" sz="1632" dirty="0" err="1">
                <a:solidFill>
                  <a:schemeClr val="dk1"/>
                </a:solidFill>
              </a:rPr>
              <a:t>Users</a:t>
            </a:r>
            <a:r>
              <a:rPr lang="es-CO" sz="1632" dirty="0">
                <a:solidFill>
                  <a:schemeClr val="dk1"/>
                </a:solidFill>
              </a:rPr>
              <a:t> </a:t>
            </a:r>
            <a:r>
              <a:rPr lang="es-CO" sz="1632" dirty="0" err="1">
                <a:solidFill>
                  <a:schemeClr val="dk1"/>
                </a:solidFill>
              </a:rPr>
              <a:t>sign</a:t>
            </a:r>
            <a:r>
              <a:rPr lang="es-CO" sz="1632" dirty="0">
                <a:solidFill>
                  <a:schemeClr val="dk1"/>
                </a:solidFill>
              </a:rPr>
              <a:t>-in once </a:t>
            </a:r>
            <a:r>
              <a:rPr lang="en-US" sz="1632" dirty="0">
                <a:solidFill>
                  <a:schemeClr val="dk1"/>
                </a:solidFill>
              </a:rPr>
              <a:t>to their company from any application and are not </a:t>
            </a:r>
            <a:r>
              <a:rPr lang="en-US" sz="1632" dirty="0" smtClean="0">
                <a:solidFill>
                  <a:schemeClr val="dk1"/>
                </a:solidFill>
              </a:rPr>
              <a:t>prompted </a:t>
            </a:r>
            <a:r>
              <a:rPr lang="en-US" sz="1632" dirty="0">
                <a:solidFill>
                  <a:schemeClr val="dk1"/>
                </a:solidFill>
              </a:rPr>
              <a:t>for credentials by every company application when using </a:t>
            </a:r>
            <a:r>
              <a:rPr lang="en-US" sz="1632" dirty="0" smtClean="0">
                <a:solidFill>
                  <a:schemeClr val="dk1"/>
                </a:solidFill>
              </a:rPr>
              <a:t>workplace joined devices</a:t>
            </a:r>
            <a:r>
              <a:rPr lang="en-US" sz="1632" dirty="0">
                <a:solidFill>
                  <a:schemeClr val="dk1"/>
                </a:solidFill>
              </a:rPr>
              <a:t>.</a:t>
            </a:r>
          </a:p>
        </p:txBody>
      </p:sp>
      <p:sp>
        <p:nvSpPr>
          <p:cNvPr id="27" name="Rectangle 26"/>
          <p:cNvSpPr/>
          <p:nvPr/>
        </p:nvSpPr>
        <p:spPr bwMode="auto">
          <a:xfrm>
            <a:off x="533568" y="3100881"/>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a:solidFill>
                  <a:srgbClr val="FFFFFF">
                    <a:alpha val="98824"/>
                  </a:srgbClr>
                </a:solidFill>
                <a:ea typeface="Segoe UI" pitchFamily="34" charset="0"/>
                <a:cs typeface="Segoe UI" pitchFamily="34" charset="0"/>
              </a:rPr>
              <a:t>Work From Anywhere</a:t>
            </a:r>
            <a:endParaRPr lang="en-US" sz="2040" dirty="0">
              <a:solidFill>
                <a:srgbClr val="FFFFFF">
                  <a:alpha val="98824"/>
                </a:srgbClr>
              </a:solidFill>
              <a:ea typeface="Segoe UI" pitchFamily="34" charset="0"/>
              <a:cs typeface="Segoe UI" pitchFamily="34" charset="0"/>
            </a:endParaRPr>
          </a:p>
        </p:txBody>
      </p:sp>
      <p:sp>
        <p:nvSpPr>
          <p:cNvPr id="28" name="Rectangle 27"/>
          <p:cNvSpPr/>
          <p:nvPr/>
        </p:nvSpPr>
        <p:spPr bwMode="auto">
          <a:xfrm>
            <a:off x="3914605" y="3100881"/>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enable users to work from anywhere while adhering to their IT governance policies around risk management</a:t>
            </a:r>
          </a:p>
        </p:txBody>
      </p:sp>
      <p:sp>
        <p:nvSpPr>
          <p:cNvPr id="29" name="Rectangle 28"/>
          <p:cNvSpPr/>
          <p:nvPr/>
        </p:nvSpPr>
        <p:spPr bwMode="auto">
          <a:xfrm>
            <a:off x="547359" y="3884807"/>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uthentication </a:t>
            </a:r>
          </a:p>
        </p:txBody>
      </p:sp>
      <p:sp>
        <p:nvSpPr>
          <p:cNvPr id="30" name="Rectangle 29"/>
          <p:cNvSpPr/>
          <p:nvPr/>
        </p:nvSpPr>
        <p:spPr bwMode="auto">
          <a:xfrm>
            <a:off x="3928396" y="3884807"/>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require additional factors of authentication when business critical resources are accessed or when there is perceived </a:t>
            </a:r>
            <a:r>
              <a:rPr lang="en-US" sz="1632" dirty="0" smtClean="0">
                <a:solidFill>
                  <a:schemeClr val="dk1"/>
                </a:solidFill>
              </a:rPr>
              <a:t>risk</a:t>
            </a:r>
            <a:endParaRPr lang="en-US" sz="1632" dirty="0">
              <a:solidFill>
                <a:schemeClr val="dk1"/>
              </a:solidFill>
            </a:endParaRPr>
          </a:p>
        </p:txBody>
      </p:sp>
      <p:sp>
        <p:nvSpPr>
          <p:cNvPr id="31" name="Rectangle 30"/>
          <p:cNvSpPr/>
          <p:nvPr/>
        </p:nvSpPr>
        <p:spPr bwMode="auto">
          <a:xfrm>
            <a:off x="547359" y="4668733"/>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t>
            </a:r>
            <a:endParaRPr lang="en-US" sz="2040" dirty="0" smtClean="0">
              <a:solidFill>
                <a:srgbClr val="FFFFFF">
                  <a:alpha val="98824"/>
                </a:srgbClr>
              </a:solidFill>
              <a:ea typeface="Segoe UI" pitchFamily="34" charset="0"/>
              <a:cs typeface="Segoe UI" pitchFamily="34" charset="0"/>
            </a:endParaRPr>
          </a:p>
          <a:p>
            <a:pPr algn="ctr" defTabSz="932056"/>
            <a:r>
              <a:rPr lang="en-US" sz="2040" dirty="0" smtClean="0">
                <a:solidFill>
                  <a:srgbClr val="FFFFFF">
                    <a:alpha val="98824"/>
                  </a:srgbClr>
                </a:solidFill>
                <a:ea typeface="Segoe UI" pitchFamily="34" charset="0"/>
                <a:cs typeface="Segoe UI" pitchFamily="34" charset="0"/>
              </a:rPr>
              <a:t>Access Control</a:t>
            </a:r>
            <a:endParaRPr lang="en-US" sz="2040" dirty="0">
              <a:solidFill>
                <a:srgbClr val="FFFFFF">
                  <a:alpha val="98824"/>
                </a:srgbClr>
              </a:solidFill>
              <a:ea typeface="Segoe UI" pitchFamily="34" charset="0"/>
              <a:cs typeface="Segoe UI" pitchFamily="34" charset="0"/>
            </a:endParaRPr>
          </a:p>
        </p:txBody>
      </p:sp>
      <p:sp>
        <p:nvSpPr>
          <p:cNvPr id="32" name="Rectangle 31"/>
          <p:cNvSpPr/>
          <p:nvPr/>
        </p:nvSpPr>
        <p:spPr bwMode="auto">
          <a:xfrm>
            <a:off x="3928396" y="4668733"/>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set conditional access control to resources based on four core pivots: the user, the device used, the user’s network location and use of additional </a:t>
            </a:r>
            <a:r>
              <a:rPr lang="en-US" sz="1632" dirty="0" err="1">
                <a:solidFill>
                  <a:schemeClr val="dk1"/>
                </a:solidFill>
              </a:rPr>
              <a:t>auth</a:t>
            </a:r>
            <a:r>
              <a:rPr lang="en-US" sz="1632" dirty="0">
                <a:solidFill>
                  <a:schemeClr val="dk1"/>
                </a:solidFill>
              </a:rPr>
              <a:t> factors</a:t>
            </a:r>
          </a:p>
        </p:txBody>
      </p:sp>
      <p:sp>
        <p:nvSpPr>
          <p:cNvPr id="33" name="Rectangle 32"/>
          <p:cNvSpPr/>
          <p:nvPr/>
        </p:nvSpPr>
        <p:spPr bwMode="auto">
          <a:xfrm>
            <a:off x="549146" y="5452660"/>
            <a:ext cx="3255796" cy="632231"/>
          </a:xfrm>
          <a:prstGeom prst="rect">
            <a:avLst/>
          </a:prstGeom>
          <a:solidFill>
            <a:schemeClr val="bg2">
              <a:lumMod val="75000"/>
              <a:lumOff val="25000"/>
            </a:schemeClr>
          </a:soli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smtClean="0">
                <a:solidFill>
                  <a:srgbClr val="FFFFFF">
                    <a:alpha val="98824"/>
                  </a:srgbClr>
                </a:solidFill>
                <a:ea typeface="Segoe UI" pitchFamily="34" charset="0"/>
                <a:cs typeface="Segoe UI" pitchFamily="34" charset="0"/>
              </a:rPr>
              <a:t>AD Authentication Library</a:t>
            </a:r>
            <a:endParaRPr lang="en-US" sz="2040" dirty="0">
              <a:solidFill>
                <a:srgbClr val="FFFFFF">
                  <a:alpha val="98824"/>
                </a:srgbClr>
              </a:solidFill>
              <a:ea typeface="Segoe UI" pitchFamily="34" charset="0"/>
              <a:cs typeface="Segoe UI" pitchFamily="34" charset="0"/>
            </a:endParaRPr>
          </a:p>
        </p:txBody>
      </p:sp>
      <p:sp>
        <p:nvSpPr>
          <p:cNvPr id="34" name="Rectangle 33"/>
          <p:cNvSpPr/>
          <p:nvPr/>
        </p:nvSpPr>
        <p:spPr bwMode="auto">
          <a:xfrm>
            <a:off x="3930183" y="5452660"/>
            <a:ext cx="7986960" cy="632231"/>
          </a:xfrm>
          <a:prstGeom prst="rect">
            <a:avLst/>
          </a:prstGeom>
          <a:gradFill>
            <a:gsLst>
              <a:gs pos="0">
                <a:schemeClr val="bg2">
                  <a:lumMod val="25000"/>
                  <a:lumOff val="75000"/>
                </a:schemeClr>
              </a:gs>
              <a:gs pos="35000">
                <a:schemeClr val="bg2">
                  <a:lumMod val="10000"/>
                  <a:lumOff val="90000"/>
                </a:schemeClr>
              </a:gs>
              <a:gs pos="100000">
                <a:schemeClr val="bg2">
                  <a:lumMod val="25000"/>
                  <a:lumOff val="75000"/>
                </a:schemeClr>
              </a:gs>
            </a:gsLst>
            <a:lin ang="16200000" scaled="1"/>
          </a:gradFill>
          <a:ln>
            <a:headEnd type="none" w="med" len="med"/>
            <a:tailEnd type="none" w="med" len="med"/>
          </a:ln>
        </p:spPr>
        <p:style>
          <a:lnRef idx="2">
            <a:schemeClr val="dk1">
              <a:shade val="50000"/>
            </a:schemeClr>
          </a:lnRef>
          <a:fillRef idx="1">
            <a:schemeClr val="dk1"/>
          </a:fillRef>
          <a:effectRef idx="0">
            <a:schemeClr val="dk1"/>
          </a:effectRef>
          <a:fontRef idx="minor">
            <a:schemeClr val="lt1"/>
          </a:fontRef>
        </p:style>
        <p:txBody>
          <a:bodyPr vert="horz" wrap="square" lIns="93232" tIns="46617" rIns="93232" bIns="46617" numCol="1" rtlCol="0" anchor="ctr" anchorCtr="0" compatLnSpc="1">
            <a:prstTxWarp prst="textNoShape">
              <a:avLst/>
            </a:prstTxWarp>
          </a:bodyPr>
          <a:lstStyle/>
          <a:p>
            <a:pPr defTabSz="932290"/>
            <a:r>
              <a:rPr lang="en-US" sz="1632" dirty="0">
                <a:solidFill>
                  <a:schemeClr val="dk1"/>
                </a:solidFill>
              </a:rPr>
              <a:t>ISVs build enterprise apps that delivery SSO and allow enterprises to set the access control policies based on user, device and network location, and MFA</a:t>
            </a:r>
            <a:endParaRPr lang="en-US" sz="1632" dirty="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Identity </a:t>
            </a:r>
            <a:r>
              <a:rPr lang="en-US" dirty="0" smtClean="0"/>
              <a:t>capabilities for BYOD </a:t>
            </a:r>
            <a:endParaRPr lang="en-US" dirty="0"/>
          </a:p>
        </p:txBody>
      </p:sp>
    </p:spTree>
    <p:extLst>
      <p:ext uri="{BB962C8B-B14F-4D97-AF65-F5344CB8AC3E}">
        <p14:creationId xmlns:p14="http://schemas.microsoft.com/office/powerpoint/2010/main" val="13278925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6" grpId="0" animBg="1"/>
      <p:bldP spid="28" grpId="0" animBg="1"/>
      <p:bldP spid="30" grpId="0" animBg="1"/>
      <p:bldP spid="32" grpId="0" animBg="1"/>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Speaker_PPT_Template [Read-Only]" id="{D83EA0C2-FBF2-4235-B1BA-90ED667122C8}" vid="{70F21668-9E2E-43D5-A051-27BD42FDE030}"/>
    </a:ext>
  </a:extLst>
</a:theme>
</file>

<file path=ppt/theme/theme2.xml><?xml version="1.0" encoding="utf-8"?>
<a:theme xmlns:a="http://schemas.openxmlformats.org/drawingml/2006/main" name="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1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2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300 Access and Information Protection Product v3a - working version.pptx" id="{547A460E-7C93-4FEF-B0D7-A9B988031AB2}" vid="{005B3C43-1BAA-4807-B0AA-07A0AA4AEF97}"/>
    </a:ext>
  </a:extLst>
</a:theme>
</file>

<file path=ppt/theme/theme5.xml><?xml version="1.0" encoding="utf-8"?>
<a:theme xmlns:a="http://schemas.openxmlformats.org/drawingml/2006/main" name="1_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_v2" id="{F51C50AF-AC66-4E79-A179-3081896FEB3D}" vid="{CA6DDBD2-BB00-4691-8518-8D879BE0A009}"/>
    </a:ext>
  </a:extLst>
</a:theme>
</file>

<file path=ppt/theme/theme6.xml><?xml version="1.0" encoding="utf-8"?>
<a:theme xmlns:a="http://schemas.openxmlformats.org/drawingml/2006/main" name="EntClientBOMDark">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2.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3.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ppt/theme/themeOverride4.xml><?xml version="1.0" encoding="utf-8"?>
<a:themeOverride xmlns:a="http://schemas.openxmlformats.org/drawingml/2006/main">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7C5AE4250179645BBB489C2FC661E43" ma:contentTypeVersion="0" ma:contentTypeDescription="Create a new document." ma:contentTypeScope="" ma:versionID="c3f4f8b8c7c48f4b33707dbcd397e047">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44D80AA6-E215-4F0A-8A5D-FFD885199F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5156</TotalTime>
  <Words>3477</Words>
  <Application>Microsoft Office PowerPoint</Application>
  <PresentationFormat>Custom</PresentationFormat>
  <Paragraphs>297</Paragraphs>
  <Slides>23</Slides>
  <Notes>18</Notes>
  <HiddenSlides>0</HiddenSlides>
  <MMClips>0</MMClips>
  <ScaleCrop>false</ScaleCrop>
  <HeadingPairs>
    <vt:vector size="6" baseType="variant">
      <vt:variant>
        <vt:lpstr>Fonts Used</vt:lpstr>
      </vt:variant>
      <vt:variant>
        <vt:i4>10</vt:i4>
      </vt:variant>
      <vt:variant>
        <vt:lpstr>Theme</vt:lpstr>
      </vt:variant>
      <vt:variant>
        <vt:i4>6</vt:i4>
      </vt:variant>
      <vt:variant>
        <vt:lpstr>Slide Titles</vt:lpstr>
      </vt:variant>
      <vt:variant>
        <vt:i4>23</vt:i4>
      </vt:variant>
    </vt:vector>
  </HeadingPairs>
  <TitlesOfParts>
    <vt:vector size="39" baseType="lpstr">
      <vt:lpstr>Wingdings</vt:lpstr>
      <vt:lpstr>Calibri</vt:lpstr>
      <vt:lpstr>Arial</vt:lpstr>
      <vt:lpstr>ＭＳ Ｐゴシック</vt:lpstr>
      <vt:lpstr>Segoe</vt:lpstr>
      <vt:lpstr>Times New Roman</vt:lpstr>
      <vt:lpstr>Segoe UI Light</vt:lpstr>
      <vt:lpstr>Segoe UI</vt:lpstr>
      <vt:lpstr>Segoe Light</vt:lpstr>
      <vt:lpstr>Consolas</vt:lpstr>
      <vt:lpstr>TechEd_2013_Template_r09</vt:lpstr>
      <vt:lpstr>3-30070_Windows_Server_Management_Marketing_Template_16x9</vt:lpstr>
      <vt:lpstr>1_3-30070_Windows_Server_Management_Marketing_Template_16x9</vt:lpstr>
      <vt:lpstr>2_3-30070_Windows_Server_Management_Marketing_Template_16x9</vt:lpstr>
      <vt:lpstr>1_TechEd_2013_Template_r09</vt:lpstr>
      <vt:lpstr>EntClientBOMDark</vt:lpstr>
      <vt:lpstr>PowerPoint Presentation</vt:lpstr>
      <vt:lpstr>Active Directory enables user productivity and IT risk management strategies across a variety of devices</vt:lpstr>
      <vt:lpstr>PowerPoint Presentation</vt:lpstr>
      <vt:lpstr>PowerPoint Presentation</vt:lpstr>
      <vt:lpstr>Enabling IT to empower users</vt:lpstr>
      <vt:lpstr>Scenarios enabled by Active Directory</vt:lpstr>
      <vt:lpstr>PowerPoint Presentation</vt:lpstr>
      <vt:lpstr>PowerPoint Presentation</vt:lpstr>
      <vt:lpstr>Identity capabilities for BYOD </vt:lpstr>
      <vt:lpstr>Demo</vt:lpstr>
      <vt:lpstr>Demo Environment</vt:lpstr>
      <vt:lpstr>Increasing the value in Active Directory Federation Services</vt:lpstr>
      <vt:lpstr>Workplace Join</vt:lpstr>
      <vt:lpstr>Expanding device support</vt:lpstr>
      <vt:lpstr>Enabling work from anywhere</vt:lpstr>
      <vt:lpstr>Web Application Proxy</vt:lpstr>
      <vt:lpstr>Demo</vt:lpstr>
      <vt:lpstr>IT risk management with conditional access</vt:lpstr>
      <vt:lpstr>Questions?</vt:lpstr>
      <vt:lpstr>Related content</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204: Active Directory enables user productivity and IT risk management strategies across a variety of devices</dc:title>
  <dc:subject>TechEd 2013</dc:subject>
  <dc:creator>Samuel Devasahayam</dc:creator>
  <cp:keywords>TechEd 2013</cp:keywords>
  <dc:description>Template by: Jordan Cayabyab, Artitudes Design, Inc.
Formatting by: Priscila Mandryk, Silver Fox Productions, Inc.
Audience Type: Internal/External</dc:description>
  <cp:lastModifiedBy>Shows</cp:lastModifiedBy>
  <cp:revision>112</cp:revision>
  <dcterms:created xsi:type="dcterms:W3CDTF">2013-05-06T21:29:14Z</dcterms:created>
  <dcterms:modified xsi:type="dcterms:W3CDTF">2013-06-27T09:3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C5AE4250179645BBB489C2FC661E43</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